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2.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3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4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embeddings/oleObject5.bin" ContentType="application/vnd.openxmlformats-officedocument.oleObject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embeddings/oleObject6.bin" ContentType="application/vnd.openxmlformats-officedocument.oleObject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embeddings/oleObject7.bin" ContentType="application/vnd.openxmlformats-officedocument.oleObject"/>
  <Override PartName="/ppt/tags/tag59.xml" ContentType="application/vnd.openxmlformats-officedocument.presentationml.tags+xml"/>
  <Override PartName="/ppt/embeddings/oleObject8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739" r:id="rId1"/>
  </p:sldMasterIdLst>
  <p:notesMasterIdLst>
    <p:notesMasterId r:id="rId21"/>
  </p:notesMasterIdLst>
  <p:handoutMasterIdLst>
    <p:handoutMasterId r:id="rId22"/>
  </p:handoutMasterIdLst>
  <p:sldIdLst>
    <p:sldId id="266" r:id="rId2"/>
    <p:sldId id="344" r:id="rId3"/>
    <p:sldId id="317" r:id="rId4"/>
    <p:sldId id="347" r:id="rId5"/>
    <p:sldId id="348" r:id="rId6"/>
    <p:sldId id="353" r:id="rId7"/>
    <p:sldId id="354" r:id="rId8"/>
    <p:sldId id="350" r:id="rId9"/>
    <p:sldId id="355" r:id="rId10"/>
    <p:sldId id="357" r:id="rId11"/>
    <p:sldId id="362" r:id="rId12"/>
    <p:sldId id="358" r:id="rId13"/>
    <p:sldId id="363" r:id="rId14"/>
    <p:sldId id="372" r:id="rId15"/>
    <p:sldId id="365" r:id="rId16"/>
    <p:sldId id="366" r:id="rId17"/>
    <p:sldId id="367" r:id="rId18"/>
    <p:sldId id="368" r:id="rId19"/>
    <p:sldId id="261" r:id="rId20"/>
  </p:sldIdLst>
  <p:sldSz cx="12192000" cy="6858000"/>
  <p:notesSz cx="7099300" cy="10234613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EAB0"/>
    <a:srgbClr val="FFA3A3"/>
    <a:srgbClr val="8F6024"/>
    <a:srgbClr val="FFAB40"/>
    <a:srgbClr val="8F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948" autoAdjust="0"/>
    <p:restoredTop sz="95604" autoAdjust="0"/>
  </p:normalViewPr>
  <p:slideViewPr>
    <p:cSldViewPr snapToGrid="0" snapToObjects="1">
      <p:cViewPr>
        <p:scale>
          <a:sx n="100" d="100"/>
          <a:sy n="100" d="100"/>
        </p:scale>
        <p:origin x="-1424" y="-5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-3468" y="-114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notesMaster" Target="notesMasters/notesMaster1.xml"/><Relationship Id="rId22" Type="http://schemas.openxmlformats.org/officeDocument/2006/relationships/handoutMaster" Target="handoutMasters/handoutMaster1.xml"/><Relationship Id="rId23" Type="http://schemas.openxmlformats.org/officeDocument/2006/relationships/printerSettings" Target="printerSettings/printerSettings1.bin"/><Relationship Id="rId24" Type="http://schemas.openxmlformats.org/officeDocument/2006/relationships/tags" Target="tags/tag1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698" cy="512388"/>
          </a:xfrm>
          <a:prstGeom prst="rect">
            <a:avLst/>
          </a:prstGeom>
        </p:spPr>
        <p:txBody>
          <a:bodyPr vert="horz" lIns="95259" tIns="47630" rIns="95259" bIns="47630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0931" y="0"/>
            <a:ext cx="3076698" cy="512388"/>
          </a:xfrm>
          <a:prstGeom prst="rect">
            <a:avLst/>
          </a:prstGeom>
        </p:spPr>
        <p:txBody>
          <a:bodyPr vert="horz" lIns="95259" tIns="47630" rIns="95259" bIns="47630" rtlCol="0"/>
          <a:lstStyle>
            <a:lvl1pPr algn="r">
              <a:defRPr sz="1400"/>
            </a:lvl1pPr>
          </a:lstStyle>
          <a:p>
            <a:fld id="{B1F6FCDC-B0B8-4243-8340-DCE9AB0F745C}" type="datetimeFigureOut">
              <a:rPr lang="en-US" smtClean="0"/>
              <a:t>23/03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0584"/>
            <a:ext cx="3076698" cy="512388"/>
          </a:xfrm>
          <a:prstGeom prst="rect">
            <a:avLst/>
          </a:prstGeom>
        </p:spPr>
        <p:txBody>
          <a:bodyPr vert="horz" lIns="95259" tIns="47630" rIns="95259" bIns="47630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0931" y="9720584"/>
            <a:ext cx="3076698" cy="512388"/>
          </a:xfrm>
          <a:prstGeom prst="rect">
            <a:avLst/>
          </a:prstGeom>
        </p:spPr>
        <p:txBody>
          <a:bodyPr vert="horz" lIns="95259" tIns="47630" rIns="95259" bIns="47630" rtlCol="0" anchor="b"/>
          <a:lstStyle>
            <a:lvl1pPr algn="r">
              <a:defRPr sz="1400"/>
            </a:lvl1pPr>
          </a:lstStyle>
          <a:p>
            <a:fld id="{BBC2DC86-18DF-44F7-B539-BDC8A3E373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9248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698" cy="512388"/>
          </a:xfrm>
          <a:prstGeom prst="rect">
            <a:avLst/>
          </a:prstGeom>
        </p:spPr>
        <p:txBody>
          <a:bodyPr vert="horz" lIns="95259" tIns="47630" rIns="95259" bIns="47630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0931" y="0"/>
            <a:ext cx="3076698" cy="512388"/>
          </a:xfrm>
          <a:prstGeom prst="rect">
            <a:avLst/>
          </a:prstGeom>
        </p:spPr>
        <p:txBody>
          <a:bodyPr vert="horz" lIns="95259" tIns="47630" rIns="95259" bIns="47630" rtlCol="0"/>
          <a:lstStyle>
            <a:lvl1pPr algn="r">
              <a:defRPr sz="1400"/>
            </a:lvl1pPr>
          </a:lstStyle>
          <a:p>
            <a:fld id="{F71EE390-10CE-4C12-BFE9-10F0F0610028}" type="datetimeFigureOut">
              <a:rPr lang="en-US" smtClean="0"/>
              <a:t>23/03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7938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59" tIns="47630" rIns="95259" bIns="4763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65" y="4925163"/>
            <a:ext cx="5678772" cy="4030124"/>
          </a:xfrm>
          <a:prstGeom prst="rect">
            <a:avLst/>
          </a:prstGeom>
        </p:spPr>
        <p:txBody>
          <a:bodyPr vert="horz" lIns="95259" tIns="47630" rIns="95259" bIns="4763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2226"/>
            <a:ext cx="3076698" cy="512388"/>
          </a:xfrm>
          <a:prstGeom prst="rect">
            <a:avLst/>
          </a:prstGeom>
        </p:spPr>
        <p:txBody>
          <a:bodyPr vert="horz" lIns="95259" tIns="47630" rIns="95259" bIns="47630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0931" y="9722226"/>
            <a:ext cx="3076698" cy="512388"/>
          </a:xfrm>
          <a:prstGeom prst="rect">
            <a:avLst/>
          </a:prstGeom>
        </p:spPr>
        <p:txBody>
          <a:bodyPr vert="horz" lIns="95259" tIns="47630" rIns="95259" bIns="47630" rtlCol="0" anchor="b"/>
          <a:lstStyle>
            <a:lvl1pPr algn="r">
              <a:defRPr sz="1400"/>
            </a:lvl1pPr>
          </a:lstStyle>
          <a:p>
            <a:fld id="{E54DB440-DF5C-4EE8-AE08-456F556243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008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6" Type="http://schemas.openxmlformats.org/officeDocument/2006/relationships/image" Target="../media/image5.png"/><Relationship Id="rId1" Type="http://schemas.openxmlformats.org/officeDocument/2006/relationships/vmlDrawing" Target="../drawings/vmlDrawing3.vml"/><Relationship Id="rId2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4.bin"/><Relationship Id="rId8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tags" Target="../tags/tag16.xml"/><Relationship Id="rId5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2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tags" Target="../tags/tag21.xml"/><Relationship Id="rId5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1" Type="http://schemas.openxmlformats.org/officeDocument/2006/relationships/tags" Target="../tags/tag18.xml"/><Relationship Id="rId2" Type="http://schemas.openxmlformats.org/officeDocument/2006/relationships/tags" Target="../tags/tag1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tags" Target="../tags/tag24.xml"/><Relationship Id="rId3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tags" Target="../tags/tag26.xml"/><Relationship Id="rId3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818B0E8-B14C-4724-8395-23A13BB5A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9681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93" name="think-cell Slide" r:id="rId6" imgW="441" imgH="441" progId="TCLayout.ActiveDocument.1">
                  <p:embed/>
                </p:oleObj>
              </mc:Choice>
              <mc:Fallback>
                <p:oleObj name="think-cell Slide" r:id="rId6" imgW="441" imgH="4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250" y="510364"/>
            <a:ext cx="2304000" cy="74789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428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20927" y="989280"/>
            <a:ext cx="9009929" cy="1223925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250" y="510364"/>
            <a:ext cx="2304000" cy="74789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246411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7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1087900" y="2820427"/>
            <a:ext cx="8513300" cy="484748"/>
          </a:xfrm>
        </p:spPr>
        <p:txBody>
          <a:bodyPr wrap="square" lIns="0" tIns="0" rIns="0" bIns="0" anchor="t" anchorCtr="0">
            <a:spAutoFit/>
          </a:bodyPr>
          <a:lstStyle>
            <a:lvl1pPr marL="650648" indent="-650648" algn="l">
              <a:tabLst>
                <a:tab pos="652757" algn="l"/>
                <a:tab pos="1001645" algn="l"/>
              </a:tabLst>
              <a:defRPr sz="3500">
                <a:latin typeface="+mj-lt"/>
                <a:sym typeface="+mn-lt"/>
              </a:defRPr>
            </a:lvl1pPr>
          </a:lstStyle>
          <a:p>
            <a:r>
              <a:rPr lang="en-US" dirty="0"/>
              <a:t>A.   Click to edit text</a:t>
            </a:r>
            <a:endParaRPr lang="de-DE" dirty="0"/>
          </a:p>
        </p:txBody>
      </p:sp>
      <p:sp>
        <p:nvSpPr>
          <p:cNvPr id="10" name="Shape 13">
            <a:extLst>
              <a:ext uri="{FF2B5EF4-FFF2-40B4-BE49-F238E27FC236}">
                <a16:creationId xmlns:a16="http://schemas.microsoft.com/office/drawing/2014/main" xmlns="" id="{69C393C9-40A1-4CD1-9A88-E48477A32DD5}"/>
              </a:ext>
            </a:extLst>
          </p:cNvPr>
          <p:cNvSpPr/>
          <p:nvPr userDrawn="1"/>
        </p:nvSpPr>
        <p:spPr>
          <a:xfrm>
            <a:off x="-1" y="0"/>
            <a:ext cx="12192001" cy="11476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60959" rIns="60959" anchor="ctr"/>
          <a:lstStyle/>
          <a:p>
            <a:endParaRPr sz="2400"/>
          </a:p>
        </p:txBody>
      </p:sp>
      <p:pic>
        <p:nvPicPr>
          <p:cNvPr id="11" name="image6.png">
            <a:extLst>
              <a:ext uri="{FF2B5EF4-FFF2-40B4-BE49-F238E27FC236}">
                <a16:creationId xmlns:a16="http://schemas.microsoft.com/office/drawing/2014/main" xmlns="" id="{2F8D040C-1F4C-4551-A7DF-CB036DC7C06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1575" y="534375"/>
            <a:ext cx="3491585" cy="333223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17">
            <a:extLst>
              <a:ext uri="{FF2B5EF4-FFF2-40B4-BE49-F238E27FC236}">
                <a16:creationId xmlns:a16="http://schemas.microsoft.com/office/drawing/2014/main" xmlns="" id="{58617E9A-0CCE-4C39-94F9-F0EF92A869FD}"/>
              </a:ext>
            </a:extLst>
          </p:cNvPr>
          <p:cNvSpPr/>
          <p:nvPr userDrawn="1"/>
        </p:nvSpPr>
        <p:spPr>
          <a:xfrm>
            <a:off x="984732" y="458257"/>
            <a:ext cx="1211870" cy="0"/>
          </a:xfrm>
          <a:prstGeom prst="line">
            <a:avLst/>
          </a:prstGeom>
          <a:ln w="6350">
            <a:solidFill>
              <a:srgbClr val="000000"/>
            </a:solidFill>
          </a:ln>
        </p:spPr>
        <p:txBody>
          <a:bodyPr lIns="60959" rIns="60959"/>
          <a:lstStyle/>
          <a:p>
            <a:endParaRPr sz="2400"/>
          </a:p>
        </p:txBody>
      </p:sp>
      <p:sp>
        <p:nvSpPr>
          <p:cNvPr id="17" name="Shape 18">
            <a:extLst>
              <a:ext uri="{FF2B5EF4-FFF2-40B4-BE49-F238E27FC236}">
                <a16:creationId xmlns:a16="http://schemas.microsoft.com/office/drawing/2014/main" xmlns="" id="{751EBBCF-90BD-4801-9E36-FAEE8AD955CF}"/>
              </a:ext>
            </a:extLst>
          </p:cNvPr>
          <p:cNvSpPr/>
          <p:nvPr userDrawn="1"/>
        </p:nvSpPr>
        <p:spPr>
          <a:xfrm>
            <a:off x="979398" y="621832"/>
            <a:ext cx="7043338" cy="293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>
              <a:defRPr sz="1600" b="1"/>
            </a:pPr>
            <a:r>
              <a:rPr sz="2100" dirty="0">
                <a:latin typeface="+mn-lt"/>
              </a:rPr>
              <a:t>Digital Cities </a:t>
            </a:r>
            <a:r>
              <a:rPr sz="2100" dirty="0">
                <a:solidFill>
                  <a:schemeClr val="accent3">
                    <a:lumOff val="22941"/>
                  </a:schemeClr>
                </a:solidFill>
                <a:latin typeface="+mn-lt"/>
              </a:rPr>
              <a:t>Challenge</a:t>
            </a:r>
            <a:r>
              <a:rPr sz="2100" dirty="0"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1203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E53B5C90-7E8B-4E05-91DF-D53888746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333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16" name="think-cell Slide" r:id="rId7" imgW="441" imgH="441" progId="TCLayout.ActiveDocument.1">
                  <p:embed/>
                </p:oleObj>
              </mc:Choice>
              <mc:Fallback>
                <p:oleObj name="think-cell Slide" r:id="rId7" imgW="441" imgH="4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E8C960BF-461A-4BC4-9EF2-BB3EBAC79BC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0" name="Type of document"/>
          <p:cNvSpPr>
            <a:spLocks noGrp="1"/>
          </p:cNvSpPr>
          <p:nvPr>
            <p:ph type="body" sz="quarter" idx="18" hasCustomPrompt="1"/>
          </p:nvPr>
        </p:nvSpPr>
        <p:spPr>
          <a:xfrm>
            <a:off x="1062038" y="4567619"/>
            <a:ext cx="10067925" cy="581698"/>
          </a:xfrm>
        </p:spPr>
        <p:txBody>
          <a:bodyPr wrap="square" lIns="0" tIns="0" rIns="0" anchor="t" anchorCtr="0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buClrTx/>
              <a:defRPr sz="2700">
                <a:solidFill>
                  <a:schemeClr val="lt1">
                    <a:lumMod val="100000"/>
                  </a:schemeClr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Type of document</a:t>
            </a:r>
            <a:br>
              <a:rPr lang="en-US" dirty="0"/>
            </a:br>
            <a:r>
              <a:rPr lang="en-US" dirty="0"/>
              <a:t>(max. two lines)</a:t>
            </a:r>
          </a:p>
        </p:txBody>
      </p:sp>
      <p:sp>
        <p:nvSpPr>
          <p:cNvPr id="3" name="Location, date"/>
          <p:cNvSpPr>
            <a:spLocks noGrp="1"/>
          </p:cNvSpPr>
          <p:nvPr>
            <p:ph type="body" sz="quarter" idx="16" hasCustomPrompt="1"/>
          </p:nvPr>
        </p:nvSpPr>
        <p:spPr>
          <a:xfrm>
            <a:off x="1062038" y="6408876"/>
            <a:ext cx="10067925" cy="207749"/>
          </a:xfrm>
        </p:spPr>
        <p:txBody>
          <a:bodyPr wrap="square" lIns="0" tIns="0" rIns="0" anchor="b" anchorCtr="0">
            <a:spAutoFit/>
          </a:bodyPr>
          <a:lstStyle>
            <a:lvl1pPr marL="0" marR="0" indent="0" algn="ctr" defTabSz="11254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500" baseline="0">
                <a:solidFill>
                  <a:schemeClr val="bg1"/>
                </a:solidFill>
                <a:latin typeface="+mn-lt"/>
                <a:sym typeface="+mn-lt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1062038" y="2387670"/>
            <a:ext cx="10067925" cy="1994392"/>
          </a:xfrm>
        </p:spPr>
        <p:txBody>
          <a:bodyPr wrap="square" lIns="0" tIns="0" rIns="0" bIns="0" anchor="b" anchorCtr="0">
            <a:spAutoFit/>
          </a:bodyPr>
          <a:lstStyle>
            <a:lvl1pPr algn="ctr">
              <a:defRPr sz="7200" baseline="0">
                <a:latin typeface="+mj-lt"/>
                <a:sym typeface="+mn-lt"/>
              </a:defRPr>
            </a:lvl1pPr>
          </a:lstStyle>
          <a:p>
            <a:r>
              <a:rPr lang="en-US" dirty="0"/>
              <a:t>Project name or document title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77" y="6886575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600" noProof="0" dirty="0">
              <a:latin typeface="+mn-lt"/>
              <a:sym typeface="+mn-lt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2820927" y="989280"/>
            <a:ext cx="9009929" cy="3029547"/>
          </a:xfrm>
        </p:spPr>
        <p:txBody>
          <a:bodyPr>
            <a:spAutoFit/>
          </a:bodyPr>
          <a:lstStyle>
            <a:lvl1pPr marL="443088" indent="-443088">
              <a:spcBef>
                <a:spcPts val="2462"/>
              </a:spcBef>
              <a:tabLst>
                <a:tab pos="10508047" algn="r"/>
              </a:tabLst>
              <a:defRPr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886176" indent="-443088">
              <a:spcBef>
                <a:spcPts val="738"/>
              </a:spcBef>
              <a:buNone/>
              <a:tabLst>
                <a:tab pos="10508047" algn="r"/>
              </a:tabLst>
              <a:defRPr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1550808" indent="-664632">
              <a:spcBef>
                <a:spcPts val="0"/>
              </a:spcBef>
              <a:buNone/>
              <a:tabLst>
                <a:tab pos="10508047" algn="r"/>
              </a:tabLst>
              <a:defRPr>
                <a:solidFill>
                  <a:schemeClr val="tx1"/>
                </a:solidFill>
                <a:latin typeface="+mn-lt"/>
                <a:sym typeface="+mn-lt"/>
              </a:defRPr>
            </a:lvl3pPr>
            <a:lvl4pPr marL="1545532" indent="-658463">
              <a:buNone/>
              <a:tabLst>
                <a:tab pos="10488508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.	xxx	xx</a:t>
            </a:r>
          </a:p>
          <a:p>
            <a:pPr lvl="0"/>
            <a:r>
              <a:rPr lang="en-US" dirty="0"/>
              <a:t>B.	xxx	xx</a:t>
            </a:r>
          </a:p>
          <a:p>
            <a:pPr lvl="1"/>
            <a:r>
              <a:rPr lang="en-US" dirty="0"/>
              <a:t>1.	xxx	xx</a:t>
            </a:r>
          </a:p>
          <a:p>
            <a:pPr lvl="1"/>
            <a:r>
              <a:rPr lang="en-US" dirty="0"/>
              <a:t>2.	xxx	xx</a:t>
            </a:r>
          </a:p>
          <a:p>
            <a:pPr lvl="2"/>
            <a:r>
              <a:rPr lang="en-US" dirty="0"/>
              <a:t>2.1	xxx	xx</a:t>
            </a:r>
          </a:p>
          <a:p>
            <a:pPr lvl="2"/>
            <a:r>
              <a:rPr lang="en-US" dirty="0"/>
              <a:t>2.2	xxx	xx</a:t>
            </a:r>
          </a:p>
          <a:p>
            <a:pPr lvl="0"/>
            <a:r>
              <a:rPr lang="en-US" dirty="0"/>
              <a:t>C.	xxx	xx</a:t>
            </a:r>
          </a:p>
          <a:p>
            <a:pPr lvl="1"/>
            <a:r>
              <a:rPr lang="en-US" dirty="0"/>
              <a:t>1.	xxx	xx</a:t>
            </a:r>
          </a:p>
          <a:p>
            <a:pPr lvl="2"/>
            <a:r>
              <a:rPr lang="en-US" dirty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5250" y="510364"/>
            <a:ext cx="11665606" cy="3739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defTabSz="1125444" eaLnBrk="1" latinLnBrk="0" hangingPunct="1">
              <a:lnSpc>
                <a:spcPct val="90000"/>
              </a:lnSpc>
              <a:buNone/>
              <a:defRPr lang="en-US" sz="2700" b="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pPr lvl="0">
              <a:tabLst>
                <a:tab pos="10858500" algn="l"/>
              </a:tabLst>
            </a:pPr>
            <a:r>
              <a:rPr lang="en-US" altLang="de-DE" noProof="1">
                <a:sym typeface="+mn-lt"/>
              </a:rPr>
              <a:t>Contents	</a:t>
            </a:r>
            <a:r>
              <a:rPr lang="en-US" altLang="de-DE" noProof="1">
                <a:solidFill>
                  <a:schemeClr val="accent2"/>
                </a:solidFill>
                <a:sym typeface="+mn-lt"/>
              </a:rPr>
              <a:t>Pag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618341" y="510364"/>
            <a:ext cx="974769" cy="30053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r" defTabSz="1125444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/>
              <a:defRPr lang="en-US" sz="2585" b="0" kern="1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r>
              <a:rPr lang="en-US" noProof="1"/>
              <a:t> 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1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5" name="Position Lines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592042" y="6886575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600" noProof="0" dirty="0">
              <a:latin typeface="+mn-lt"/>
              <a:sym typeface="+mn-lt"/>
            </a:endParaRPr>
          </a:p>
        </p:txBody>
      </p:sp>
      <p:sp>
        <p:nvSpPr>
          <p:cNvPr id="8" name="Position Lines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6592042" y="6886575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600" noProof="0" dirty="0">
              <a:latin typeface="+mn-lt"/>
              <a:sym typeface="+mn-lt"/>
            </a:endParaRPr>
          </a:p>
        </p:txBody>
      </p:sp>
      <p:sp>
        <p:nvSpPr>
          <p:cNvPr id="7" name="Position Lines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6592042" y="6886575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1600" noProof="0" dirty="0">
              <a:latin typeface="+mn-lt"/>
              <a:sym typeface="+mn-lt"/>
            </a:endParaRPr>
          </a:p>
        </p:txBody>
      </p:sp>
      <p:pic>
        <p:nvPicPr>
          <p:cNvPr id="9" name="image2.png">
            <a:extLst>
              <a:ext uri="{FF2B5EF4-FFF2-40B4-BE49-F238E27FC236}">
                <a16:creationId xmlns:a16="http://schemas.microsoft.com/office/drawing/2014/main" xmlns="" id="{D41F02F8-7A15-4904-89BE-3B56C96281D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92533"/>
            <a:ext cx="12192000" cy="526546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324774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5117"/>
            <a:ext cx="30458" cy="3783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46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3783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46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19479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2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1.emf"/><Relationship Id="rId14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7719018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5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Drawing grid" hidden="1"/>
          <p:cNvGrpSpPr/>
          <p:nvPr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cxnSp>
          <p:nvCxnSpPr>
            <p:cNvPr id="66" name="!!!Do not delete!!!" hidden="1"/>
            <p:cNvCxnSpPr>
              <a:cxnSpLocks/>
            </p:cNvCxnSpPr>
            <p:nvPr userDrawn="1"/>
          </p:nvCxnSpPr>
          <p:spPr>
            <a:xfrm>
              <a:off x="0" y="392109"/>
              <a:ext cx="990600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 hidden="1"/>
            <p:cNvCxnSpPr/>
            <p:nvPr/>
          </p:nvCxnSpPr>
          <p:spPr>
            <a:xfrm>
              <a:off x="2292004" y="0"/>
              <a:ext cx="0" cy="685800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!!!Do not delete!!!" hidden="1"/>
            <p:cNvCxnSpPr>
              <a:cxnSpLocks/>
            </p:cNvCxnSpPr>
            <p:nvPr/>
          </p:nvCxnSpPr>
          <p:spPr>
            <a:xfrm>
              <a:off x="2637278" y="0"/>
              <a:ext cx="0" cy="392109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!!!Do not delete!!!" hidden="1"/>
            <p:cNvCxnSpPr/>
            <p:nvPr/>
          </p:nvCxnSpPr>
          <p:spPr>
            <a:xfrm>
              <a:off x="9612571" y="0"/>
              <a:ext cx="0" cy="685800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!!!Do not delete!!!" hidden="1"/>
            <p:cNvCxnSpPr/>
            <p:nvPr/>
          </p:nvCxnSpPr>
          <p:spPr>
            <a:xfrm>
              <a:off x="0" y="117789"/>
              <a:ext cx="990600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!!!Do not delete!!!" hidden="1"/>
            <p:cNvCxnSpPr/>
            <p:nvPr/>
          </p:nvCxnSpPr>
          <p:spPr>
            <a:xfrm>
              <a:off x="0" y="6418800"/>
              <a:ext cx="990600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!!!Do not delete!!!" hidden="1"/>
            <p:cNvCxnSpPr>
              <a:cxnSpLocks/>
            </p:cNvCxnSpPr>
            <p:nvPr/>
          </p:nvCxnSpPr>
          <p:spPr>
            <a:xfrm>
              <a:off x="2140532" y="6708775"/>
              <a:ext cx="7765468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!!!Do not delete!!!" hidden="1"/>
            <p:cNvCxnSpPr>
              <a:cxnSpLocks/>
            </p:cNvCxnSpPr>
            <p:nvPr/>
          </p:nvCxnSpPr>
          <p:spPr>
            <a:xfrm>
              <a:off x="2140532" y="989280"/>
              <a:ext cx="757973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!!!Do not delete!!!" hidden="1"/>
            <p:cNvCxnSpPr>
              <a:cxnSpLocks/>
            </p:cNvCxnSpPr>
            <p:nvPr userDrawn="1"/>
          </p:nvCxnSpPr>
          <p:spPr>
            <a:xfrm>
              <a:off x="0" y="506571"/>
              <a:ext cx="9906000" cy="0"/>
            </a:xfrm>
            <a:prstGeom prst="line">
              <a:avLst/>
            </a:prstGeom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 hidden="1"/>
            <p:cNvSpPr>
              <a:spLocks/>
            </p:cNvSpPr>
            <p:nvPr userDrawn="1"/>
          </p:nvSpPr>
          <p:spPr>
            <a:xfrm>
              <a:off x="2292004" y="117789"/>
              <a:ext cx="222300" cy="274320"/>
            </a:xfrm>
            <a:prstGeom prst="rect">
              <a:avLst/>
            </a:prstGeom>
            <a:noFill/>
            <a:ln w="3175" cap="sq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108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92"/>
                </a:spcBef>
              </a:pPr>
              <a:endParaRPr lang="en-US" sz="1846" b="0" dirty="0"/>
            </a:p>
          </p:txBody>
        </p:sp>
      </p:grpSp>
      <p:sp>
        <p:nvSpPr>
          <p:cNvPr id="70" name="Shape 64">
            <a:extLst>
              <a:ext uri="{FF2B5EF4-FFF2-40B4-BE49-F238E27FC236}">
                <a16:creationId xmlns:a16="http://schemas.microsoft.com/office/drawing/2014/main" xmlns="" id="{D1CF6752-24D7-43C1-B158-D37AABFD631E}"/>
              </a:ext>
            </a:extLst>
          </p:cNvPr>
          <p:cNvSpPr/>
          <p:nvPr userDrawn="1"/>
        </p:nvSpPr>
        <p:spPr>
          <a:xfrm>
            <a:off x="0" y="0"/>
            <a:ext cx="26345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rgbClr val="46B48D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pic>
        <p:nvPicPr>
          <p:cNvPr id="71" name="Shape 65" descr="bg1.jpg">
            <a:extLst>
              <a:ext uri="{FF2B5EF4-FFF2-40B4-BE49-F238E27FC236}">
                <a16:creationId xmlns:a16="http://schemas.microsoft.com/office/drawing/2014/main" xmlns="" id="{3298F8F6-CD41-45D0-BFC9-873CD36E18E8}"/>
              </a:ext>
            </a:extLst>
          </p:cNvPr>
          <p:cNvPicPr preferRelativeResize="0"/>
          <p:nvPr userDrawn="1"/>
        </p:nvPicPr>
        <p:blipFill rotWithShape="1">
          <a:blip r:embed="rId1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2634501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!!!Do not delete this text object!!!!_2" hidden="1"/>
          <p:cNvSpPr/>
          <p:nvPr/>
        </p:nvSpPr>
        <p:spPr>
          <a:xfrm>
            <a:off x="12273231" y="57955"/>
            <a:ext cx="39877" cy="324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3000"/>
              </a:lnSpc>
              <a:spcBef>
                <a:spcPts val="369"/>
              </a:spcBef>
            </a:pPr>
            <a:r>
              <a:rPr lang="en-US" sz="246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1</a:t>
            </a:r>
          </a:p>
        </p:txBody>
      </p:sp>
      <p:sp>
        <p:nvSpPr>
          <p:cNvPr id="43" name="!!!Do not delete this text object!!!!" hidden="1"/>
          <p:cNvSpPr txBox="1"/>
          <p:nvPr/>
        </p:nvSpPr>
        <p:spPr>
          <a:xfrm>
            <a:off x="12273232" y="92737"/>
            <a:ext cx="713337" cy="3783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marL="0" marR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  <a:tabLst/>
              <a:defRPr/>
            </a:pPr>
            <a:r>
              <a:rPr lang="en-US" sz="246" b="0" kern="1200" noProof="1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A4_RBSC_PPT– 2013-10_v01 – do not delete this text object! </a:t>
            </a:r>
          </a:p>
        </p:txBody>
      </p:sp>
      <p:sp>
        <p:nvSpPr>
          <p:cNvPr id="52" name="Slide Number"/>
          <p:cNvSpPr txBox="1">
            <a:spLocks noChangeArrowheads="1"/>
          </p:cNvSpPr>
          <p:nvPr/>
        </p:nvSpPr>
        <p:spPr bwMode="auto">
          <a:xfrm>
            <a:off x="11824735" y="6724250"/>
            <a:ext cx="125034" cy="11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800" b="1" i="0" u="none" strike="noStrike" kern="1200" cap="none" spc="0" normalizeH="0" baseline="0" noProof="1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112544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1" i="0" u="none" strike="noStrike" kern="1200" cap="none" spc="0" normalizeH="0" baseline="0" noProof="1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4" name="Doc Code" descr="casecode"/>
          <p:cNvSpPr txBox="1">
            <a:spLocks noChangeArrowheads="1"/>
          </p:cNvSpPr>
          <p:nvPr/>
        </p:nvSpPr>
        <p:spPr bwMode="auto">
          <a:xfrm>
            <a:off x="9695690" y="6724250"/>
            <a:ext cx="2022990" cy="11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900" b="0" smtClean="0"/>
            </a:lvl1pPr>
          </a:lstStyle>
          <a:p>
            <a:pPr marL="0" marR="0" lvl="0" indent="0" algn="r" defTabSz="112544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t>2. Academy seminar #1 - Full pack flow.pptx</a:t>
            </a:r>
          </a:p>
        </p:txBody>
      </p:sp>
      <p:sp>
        <p:nvSpPr>
          <p:cNvPr id="57" name="Source" hidden="1"/>
          <p:cNvSpPr txBox="1"/>
          <p:nvPr/>
        </p:nvSpPr>
        <p:spPr>
          <a:xfrm>
            <a:off x="2820928" y="6724250"/>
            <a:ext cx="538609" cy="11080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800" b="0" dirty="0">
                <a:solidFill>
                  <a:schemeClr val="accent2"/>
                </a:solidFill>
                <a:latin typeface="+mn-lt"/>
                <a:cs typeface="+mn-cs"/>
                <a:sym typeface="+mn-lt"/>
              </a:rPr>
              <a:t>Source: xxx</a:t>
            </a:r>
          </a:p>
        </p:txBody>
      </p:sp>
      <p:sp>
        <p:nvSpPr>
          <p:cNvPr id="56" name="Notes" hidden="1"/>
          <p:cNvSpPr txBox="1"/>
          <p:nvPr/>
        </p:nvSpPr>
        <p:spPr>
          <a:xfrm>
            <a:off x="2820928" y="6464646"/>
            <a:ext cx="307777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900" b="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1) xxx</a:t>
            </a:r>
          </a:p>
        </p:txBody>
      </p:sp>
      <p:grpSp>
        <p:nvGrpSpPr>
          <p:cNvPr id="5" name="Legend" hidden="1"/>
          <p:cNvGrpSpPr/>
          <p:nvPr/>
        </p:nvGrpSpPr>
        <p:grpSpPr>
          <a:xfrm>
            <a:off x="2820927" y="6274875"/>
            <a:ext cx="696422" cy="146050"/>
            <a:chOff x="783382" y="6195259"/>
            <a:chExt cx="565842" cy="146050"/>
          </a:xfrm>
        </p:grpSpPr>
        <p:sp>
          <p:nvSpPr>
            <p:cNvPr id="49" name="LegendIcon"/>
            <p:cNvSpPr/>
            <p:nvPr/>
          </p:nvSpPr>
          <p:spPr>
            <a:xfrm>
              <a:off x="783382" y="6195259"/>
              <a:ext cx="170707" cy="14605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112544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6639" y="6196726"/>
              <a:ext cx="312585" cy="124650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defTabSz="112544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cs typeface="+mn-cs"/>
                  <a:sym typeface="+mn-lt"/>
                </a:rPr>
                <a:t>Legend</a:t>
              </a:r>
            </a:p>
          </p:txBody>
        </p:sp>
      </p:grpSp>
      <p:sp>
        <p:nvSpPr>
          <p:cNvPr id="45" name="Formatted_text" hidden="1"/>
          <p:cNvSpPr txBox="1">
            <a:spLocks/>
          </p:cNvSpPr>
          <p:nvPr/>
        </p:nvSpPr>
        <p:spPr>
          <a:xfrm>
            <a:off x="2820927" y="989280"/>
            <a:ext cx="2436923" cy="93820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300" b="1" dirty="0">
                <a:latin typeface="+mn-lt"/>
                <a:cs typeface="+mn-cs"/>
                <a:sym typeface="+mn-lt"/>
              </a:rPr>
              <a:t>15 Point Text: Level 0</a:t>
            </a:r>
            <a:endParaRPr lang="en-US" sz="1300" b="0" dirty="0">
              <a:latin typeface="+mn-lt"/>
              <a:cs typeface="+mn-cs"/>
              <a:sym typeface="+mn-lt"/>
            </a:endParaRPr>
          </a:p>
          <a:p>
            <a:pPr marL="202554" lvl="1" indent="-202554">
              <a:lnSpc>
                <a:spcPct val="90000"/>
              </a:lnSpc>
              <a:spcBef>
                <a:spcPts val="985"/>
              </a:spcBef>
              <a:buClr>
                <a:schemeClr val="tx1"/>
              </a:buClr>
              <a:buSzPct val="100000"/>
              <a:buFont typeface="Arial Narrow"/>
              <a:buChar char="&gt;"/>
            </a:pPr>
            <a:r>
              <a:rPr lang="en-US" sz="1300" b="0" dirty="0">
                <a:latin typeface="+mn-lt"/>
                <a:cs typeface="+mn-cs"/>
                <a:sym typeface="+mn-lt"/>
              </a:rPr>
              <a:t>Level 1</a:t>
            </a:r>
          </a:p>
          <a:p>
            <a:pPr marL="424098" lvl="2" indent="-205718">
              <a:lnSpc>
                <a:spcPct val="90000"/>
              </a:lnSpc>
              <a:spcBef>
                <a:spcPts val="492"/>
              </a:spcBef>
              <a:buClr>
                <a:schemeClr val="tx1"/>
              </a:buClr>
              <a:buSzPct val="100000"/>
              <a:buFont typeface="Arial Narrow"/>
              <a:buChar char="–"/>
            </a:pPr>
            <a:r>
              <a:rPr lang="en-US" sz="1300" b="0" dirty="0">
                <a:latin typeface="+mn-lt"/>
                <a:cs typeface="+mn-cs"/>
                <a:sym typeface="+mn-lt"/>
              </a:rPr>
              <a:t>Level 2</a:t>
            </a:r>
          </a:p>
          <a:p>
            <a:pPr marL="613993" lvl="3" indent="-177235">
              <a:lnSpc>
                <a:spcPct val="90000"/>
              </a:lnSpc>
              <a:spcBef>
                <a:spcPts val="246"/>
              </a:spcBef>
              <a:buClr>
                <a:schemeClr val="tx1"/>
              </a:buClr>
              <a:buSzPct val="100000"/>
              <a:buFont typeface="Arial Narrow"/>
              <a:buChar char="-"/>
            </a:pPr>
            <a:r>
              <a:rPr lang="en-US" sz="1300" b="0" dirty="0">
                <a:latin typeface="+mn-lt"/>
                <a:cs typeface="+mn-cs"/>
                <a:sym typeface="+mn-lt"/>
              </a:rPr>
              <a:t>Level 3</a:t>
            </a:r>
          </a:p>
        </p:txBody>
      </p:sp>
      <p:sp>
        <p:nvSpPr>
          <p:cNvPr id="51" name="Subtitle" hidden="1"/>
          <p:cNvSpPr txBox="1">
            <a:spLocks/>
          </p:cNvSpPr>
          <p:nvPr/>
        </p:nvSpPr>
        <p:spPr>
          <a:xfrm>
            <a:off x="2820927" y="510364"/>
            <a:ext cx="9009929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900" b="0" dirty="0">
                <a:solidFill>
                  <a:schemeClr val="accent2"/>
                </a:solidFill>
                <a:latin typeface="+mn-lt"/>
                <a:cs typeface="+mn-cs"/>
                <a:sym typeface="+mn-lt"/>
              </a:rPr>
              <a:t>Subtit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20927" y="989280"/>
            <a:ext cx="9009929" cy="12239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165250" y="510364"/>
            <a:ext cx="2304000" cy="747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40" r:id="rId1"/>
    <p:sldLayoutId id="2147484741" r:id="rId2"/>
    <p:sldLayoutId id="2147484742" r:id="rId3"/>
    <p:sldLayoutId id="2147484743" r:id="rId4"/>
    <p:sldLayoutId id="2147484744" r:id="rId5"/>
    <p:sldLayoutId id="2147484745" r:id="rId6"/>
    <p:sldLayoutId id="2147484746" r:id="rId7"/>
    <p:sldLayoutId id="2147484747" r:id="rId8"/>
  </p:sldLayoutIdLst>
  <p:hf sldNum="0" hdr="0" ftr="0" dt="0"/>
  <p:txStyles>
    <p:titleStyle>
      <a:lvl1pPr algn="l" defTabSz="1125444" rtl="0" eaLnBrk="1" latinLnBrk="0" hangingPunct="1">
        <a:lnSpc>
          <a:spcPct val="90000"/>
        </a:lnSpc>
        <a:spcBef>
          <a:spcPct val="0"/>
        </a:spcBef>
        <a:buNone/>
        <a:defRPr lang="en-US" sz="2700" b="0" kern="1200" baseline="0" dirty="0">
          <a:solidFill>
            <a:schemeClr val="bg1"/>
          </a:solidFill>
          <a:latin typeface="+mj-lt"/>
          <a:ea typeface="+mj-ea"/>
          <a:cs typeface="+mj-cs"/>
          <a:sym typeface="+mn-lt"/>
        </a:defRPr>
      </a:lvl1pPr>
    </p:titleStyle>
    <p:bodyStyle>
      <a:lvl1pPr marL="0" indent="0" algn="l" defTabSz="1125444" rtl="0" eaLnBrk="1" latinLnBrk="0" hangingPunct="1">
        <a:lnSpc>
          <a:spcPct val="90000"/>
        </a:lnSpc>
        <a:spcBef>
          <a:spcPts val="0"/>
        </a:spcBef>
        <a:buFont typeface="Arial Narrow" pitchFamily="34" charset="0"/>
        <a:buNone/>
        <a:defRPr lang="en-US" sz="1700" b="0" i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3576" indent="-283576" algn="l" defTabSz="1125444" rtl="0" eaLnBrk="1" latinLnBrk="0" hangingPunct="1">
        <a:lnSpc>
          <a:spcPct val="90000"/>
        </a:lnSpc>
        <a:spcBef>
          <a:spcPts val="1477"/>
        </a:spcBef>
        <a:buFont typeface="Arial Narrow" pitchFamily="34" charset="0"/>
        <a:buChar char="&gt;"/>
        <a:defRPr lang="en-US" sz="17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93738" indent="-288007" algn="l" defTabSz="1125444" rtl="0" eaLnBrk="1" latinLnBrk="0" hangingPunct="1">
        <a:lnSpc>
          <a:spcPct val="90000"/>
        </a:lnSpc>
        <a:spcBef>
          <a:spcPts val="492"/>
        </a:spcBef>
        <a:buFont typeface="Arial Narrow" pitchFamily="34" charset="0"/>
        <a:buChar char="–"/>
        <a:defRPr lang="en-US" sz="17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859591" indent="-248129" algn="l" defTabSz="1125444" rtl="0" eaLnBrk="1" latinLnBrk="0" hangingPunct="1">
        <a:lnSpc>
          <a:spcPct val="90000"/>
        </a:lnSpc>
        <a:spcBef>
          <a:spcPts val="246"/>
        </a:spcBef>
        <a:buFont typeface="Arial Narrow" pitchFamily="34" charset="0"/>
        <a:buChar char="-"/>
        <a:defRPr lang="en-US" sz="1700" b="0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859591" indent="0" algn="l" defTabSz="1125444" rtl="0" eaLnBrk="1" latinLnBrk="0" hangingPunct="1">
        <a:lnSpc>
          <a:spcPct val="93000"/>
        </a:lnSpc>
        <a:spcBef>
          <a:spcPts val="0"/>
        </a:spcBef>
        <a:buFont typeface="Arial Narrow" pitchFamily="34" charset="0"/>
        <a:buNone/>
        <a:defRPr sz="2092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 Narrow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 Narrow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 Narrow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 Narrow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6" Type="http://schemas.openxmlformats.org/officeDocument/2006/relationships/image" Target="../media/image7.jpeg"/><Relationship Id="rId1" Type="http://schemas.openxmlformats.org/officeDocument/2006/relationships/vmlDrawing" Target="../drawings/vmlDrawing5.vml"/><Relationship Id="rId2" Type="http://schemas.openxmlformats.org/officeDocument/2006/relationships/tags" Target="../tags/tag2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tags" Target="../tags/tag37.xml"/><Relationship Id="rId12" Type="http://schemas.openxmlformats.org/officeDocument/2006/relationships/tags" Target="../tags/tag38.xml"/><Relationship Id="rId13" Type="http://schemas.openxmlformats.org/officeDocument/2006/relationships/tags" Target="../tags/tag39.xml"/><Relationship Id="rId14" Type="http://schemas.openxmlformats.org/officeDocument/2006/relationships/tags" Target="../tags/tag40.xml"/><Relationship Id="rId15" Type="http://schemas.openxmlformats.org/officeDocument/2006/relationships/tags" Target="../tags/tag41.xml"/><Relationship Id="rId16" Type="http://schemas.openxmlformats.org/officeDocument/2006/relationships/slideLayout" Target="../slideLayouts/slideLayout1.xml"/><Relationship Id="rId17" Type="http://schemas.openxmlformats.org/officeDocument/2006/relationships/oleObject" Target="../embeddings/oleObject6.bin"/><Relationship Id="rId18" Type="http://schemas.openxmlformats.org/officeDocument/2006/relationships/image" Target="../media/image8.emf"/><Relationship Id="rId1" Type="http://schemas.openxmlformats.org/officeDocument/2006/relationships/vmlDrawing" Target="../drawings/vmlDrawing6.vml"/><Relationship Id="rId2" Type="http://schemas.openxmlformats.org/officeDocument/2006/relationships/tags" Target="../tags/tag28.xml"/><Relationship Id="rId3" Type="http://schemas.openxmlformats.org/officeDocument/2006/relationships/tags" Target="../tags/tag29.xml"/><Relationship Id="rId4" Type="http://schemas.openxmlformats.org/officeDocument/2006/relationships/tags" Target="../tags/tag30.xml"/><Relationship Id="rId5" Type="http://schemas.openxmlformats.org/officeDocument/2006/relationships/tags" Target="../tags/tag31.xml"/><Relationship Id="rId6" Type="http://schemas.openxmlformats.org/officeDocument/2006/relationships/tags" Target="../tags/tag32.xml"/><Relationship Id="rId7" Type="http://schemas.openxmlformats.org/officeDocument/2006/relationships/tags" Target="../tags/tag33.xml"/><Relationship Id="rId8" Type="http://schemas.openxmlformats.org/officeDocument/2006/relationships/tags" Target="../tags/tag34.xml"/><Relationship Id="rId9" Type="http://schemas.openxmlformats.org/officeDocument/2006/relationships/tags" Target="../tags/tag35.xml"/><Relationship Id="rId10" Type="http://schemas.openxmlformats.org/officeDocument/2006/relationships/tags" Target="../tags/tag3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50.xml"/><Relationship Id="rId20" Type="http://schemas.openxmlformats.org/officeDocument/2006/relationships/image" Target="../media/image8.emf"/><Relationship Id="rId21" Type="http://schemas.openxmlformats.org/officeDocument/2006/relationships/image" Target="../media/image10.tiff"/><Relationship Id="rId22" Type="http://schemas.openxmlformats.org/officeDocument/2006/relationships/image" Target="../media/image11.tiff"/><Relationship Id="rId10" Type="http://schemas.openxmlformats.org/officeDocument/2006/relationships/tags" Target="../tags/tag51.xml"/><Relationship Id="rId11" Type="http://schemas.openxmlformats.org/officeDocument/2006/relationships/tags" Target="../tags/tag52.xml"/><Relationship Id="rId12" Type="http://schemas.openxmlformats.org/officeDocument/2006/relationships/tags" Target="../tags/tag53.xml"/><Relationship Id="rId13" Type="http://schemas.openxmlformats.org/officeDocument/2006/relationships/tags" Target="../tags/tag54.xml"/><Relationship Id="rId14" Type="http://schemas.openxmlformats.org/officeDocument/2006/relationships/tags" Target="../tags/tag55.xml"/><Relationship Id="rId15" Type="http://schemas.openxmlformats.org/officeDocument/2006/relationships/tags" Target="../tags/tag56.xml"/><Relationship Id="rId16" Type="http://schemas.openxmlformats.org/officeDocument/2006/relationships/tags" Target="../tags/tag57.xml"/><Relationship Id="rId17" Type="http://schemas.openxmlformats.org/officeDocument/2006/relationships/tags" Target="../tags/tag58.xml"/><Relationship Id="rId18" Type="http://schemas.openxmlformats.org/officeDocument/2006/relationships/slideLayout" Target="../slideLayouts/slideLayout1.xml"/><Relationship Id="rId19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2" Type="http://schemas.openxmlformats.org/officeDocument/2006/relationships/tags" Target="../tags/tag43.xml"/><Relationship Id="rId3" Type="http://schemas.openxmlformats.org/officeDocument/2006/relationships/tags" Target="../tags/tag44.xml"/><Relationship Id="rId4" Type="http://schemas.openxmlformats.org/officeDocument/2006/relationships/tags" Target="../tags/tag45.xml"/><Relationship Id="rId5" Type="http://schemas.openxmlformats.org/officeDocument/2006/relationships/tags" Target="../tags/tag46.xml"/><Relationship Id="rId6" Type="http://schemas.openxmlformats.org/officeDocument/2006/relationships/tags" Target="../tags/tag47.xml"/><Relationship Id="rId7" Type="http://schemas.openxmlformats.org/officeDocument/2006/relationships/tags" Target="../tags/tag48.xml"/><Relationship Id="rId8" Type="http://schemas.openxmlformats.org/officeDocument/2006/relationships/tags" Target="../tags/tag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8.emf"/><Relationship Id="rId1" Type="http://schemas.openxmlformats.org/officeDocument/2006/relationships/vmlDrawing" Target="../drawings/vmlDrawing8.vml"/><Relationship Id="rId2" Type="http://schemas.openxmlformats.org/officeDocument/2006/relationships/tags" Target="../tags/tag5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4" Type="http://schemas.openxmlformats.org/officeDocument/2006/relationships/image" Target="../media/image14.emf"/><Relationship Id="rId5" Type="http://schemas.openxmlformats.org/officeDocument/2006/relationships/image" Target="../media/image15.emf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2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DE283A6-4635-4EFB-8181-B575D1A84A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9951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37" name="think-cell Slide" r:id="rId4" imgW="441" imgH="441" progId="TCLayout.ActiveDocument.1">
                  <p:embed/>
                </p:oleObj>
              </mc:Choice>
              <mc:Fallback>
                <p:oleObj name="think-cell Slide" r:id="rId4" imgW="441" imgH="4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3.jpeg">
            <a:extLst>
              <a:ext uri="{FF2B5EF4-FFF2-40B4-BE49-F238E27FC236}">
                <a16:creationId xmlns:a16="http://schemas.microsoft.com/office/drawing/2014/main" xmlns="" id="{83DB5F22-7813-4ED0-A179-4F9D645A703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Picture Placeholder 1">
            <a:extLst>
              <a:ext uri="{FF2B5EF4-FFF2-40B4-BE49-F238E27FC236}">
                <a16:creationId xmlns:a16="http://schemas.microsoft.com/office/drawing/2014/main" xmlns="" id="{1871E5CB-2963-401E-8C29-A5AF8F326C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32F12A7-D584-4C2A-A3FB-882E4EB17D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2038" y="6090327"/>
            <a:ext cx="10067925" cy="526298"/>
          </a:xfrm>
        </p:spPr>
        <p:txBody>
          <a:bodyPr/>
          <a:lstStyle/>
          <a:p>
            <a:r>
              <a:rPr lang="en-US" sz="1900" dirty="0"/>
              <a:t>Academy  #1: Kick-off Seminar</a:t>
            </a:r>
          </a:p>
          <a:p>
            <a:r>
              <a:rPr lang="en-US" sz="1900" dirty="0"/>
              <a:t>Brussels: 19</a:t>
            </a:r>
            <a:r>
              <a:rPr lang="en-US" sz="1900" baseline="30000" dirty="0"/>
              <a:t>th</a:t>
            </a:r>
            <a:r>
              <a:rPr lang="en-US" sz="1900" dirty="0"/>
              <a:t> – 20</a:t>
            </a:r>
            <a:r>
              <a:rPr lang="en-US" sz="1900" baseline="30000" dirty="0"/>
              <a:t>th</a:t>
            </a:r>
            <a:endParaRPr lang="en-US" sz="19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BCF85FCC-89EE-4A8C-8E09-8519DA66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2038" y="2775468"/>
            <a:ext cx="10067925" cy="1606594"/>
          </a:xfrm>
        </p:spPr>
        <p:txBody>
          <a:bodyPr/>
          <a:lstStyle/>
          <a:p>
            <a:pPr>
              <a:defRPr sz="2000" b="1">
                <a:solidFill>
                  <a:srgbClr val="FFFFFF"/>
                </a:solidFill>
              </a:defRPr>
            </a:pPr>
            <a:r>
              <a:rPr lang="en-US" dirty="0">
                <a:latin typeface="Helvetica" charset="0"/>
                <a:ea typeface="Helvetica" charset="0"/>
                <a:cs typeface="Helvetica" charset="0"/>
              </a:rPr>
              <a:t>The European Commission's Digital Cities</a:t>
            </a:r>
            <a:br>
              <a:rPr lang="en-US" dirty="0">
                <a:latin typeface="Helvetica" charset="0"/>
                <a:ea typeface="Helvetica" charset="0"/>
                <a:cs typeface="Helvetica" charset="0"/>
              </a:rPr>
            </a:br>
            <a:r>
              <a:rPr lang="en-US" sz="9600" dirty="0">
                <a:latin typeface="Helvetica" charset="0"/>
                <a:ea typeface="Helvetica" charset="0"/>
                <a:cs typeface="Helvetica" charset="0"/>
              </a:rPr>
              <a:t>Challen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6022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xmlns="" id="{EB2886F9-DD5D-4539-A3DF-196A61CF7B2A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5262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a fase preparatoria tiene por objeto sentar las bases de los servicios de asesoramiento, tanto para la Ciudad Digital como para los expertos.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A8B9D028-9077-4C01-87EA-1EA8955E94F9}"/>
              </a:ext>
            </a:extLst>
          </p:cNvPr>
          <p:cNvGrpSpPr/>
          <p:nvPr/>
        </p:nvGrpSpPr>
        <p:grpSpPr>
          <a:xfrm>
            <a:off x="7435307" y="3126787"/>
            <a:ext cx="4395550" cy="730970"/>
            <a:chOff x="7435307" y="3170465"/>
            <a:chExt cx="4395550" cy="730970"/>
          </a:xfrm>
        </p:grpSpPr>
        <p:sp>
          <p:nvSpPr>
            <p:cNvPr id="9" name="Textframe 23">
              <a:extLst>
                <a:ext uri="{FF2B5EF4-FFF2-40B4-BE49-F238E27FC236}">
                  <a16:creationId xmlns:a16="http://schemas.microsoft.com/office/drawing/2014/main" xmlns="" id="{5537C3F2-147F-4FF7-9C0E-55BB0AAB33A7}"/>
                </a:ext>
              </a:extLst>
            </p:cNvPr>
            <p:cNvSpPr txBox="1"/>
            <p:nvPr/>
          </p:nvSpPr>
          <p:spPr>
            <a:xfrm>
              <a:off x="7786869" y="3170466"/>
              <a:ext cx="4043988" cy="73096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Concepción y formulación</a:t>
              </a:r>
            </a:p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Identificación del equipo de expertos y de los representantes de la ciudad</a:t>
              </a: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" name="RbNavigator">
              <a:extLst>
                <a:ext uri="{FF2B5EF4-FFF2-40B4-BE49-F238E27FC236}">
                  <a16:creationId xmlns:a16="http://schemas.microsoft.com/office/drawing/2014/main" xmlns="" id="{ABAE6239-710F-4AB3-897D-96E6D73E2DB8}"/>
                </a:ext>
              </a:extLst>
            </p:cNvPr>
            <p:cNvSpPr txBox="1"/>
            <p:nvPr/>
          </p:nvSpPr>
          <p:spPr>
            <a:xfrm>
              <a:off x="7435307" y="3170465"/>
              <a:ext cx="269227" cy="2692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B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21E39C44-4D8D-4EC3-A80D-49D8C847EEA6}"/>
              </a:ext>
            </a:extLst>
          </p:cNvPr>
          <p:cNvGrpSpPr/>
          <p:nvPr/>
        </p:nvGrpSpPr>
        <p:grpSpPr>
          <a:xfrm>
            <a:off x="7435307" y="3997701"/>
            <a:ext cx="4944276" cy="500137"/>
            <a:chOff x="7435307" y="3997701"/>
            <a:chExt cx="4944276" cy="500137"/>
          </a:xfrm>
        </p:grpSpPr>
        <p:sp>
          <p:nvSpPr>
            <p:cNvPr id="11" name="Textframe 23">
              <a:extLst>
                <a:ext uri="{FF2B5EF4-FFF2-40B4-BE49-F238E27FC236}">
                  <a16:creationId xmlns:a16="http://schemas.microsoft.com/office/drawing/2014/main" xmlns="" id="{7DE98784-989A-460F-87FA-5C0985C1574C}"/>
                </a:ext>
              </a:extLst>
            </p:cNvPr>
            <p:cNvSpPr txBox="1"/>
            <p:nvPr/>
          </p:nvSpPr>
          <p:spPr>
            <a:xfrm>
              <a:off x="7786868" y="3997701"/>
              <a:ext cx="4592715" cy="50013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n-GB" sz="150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Validación</a:t>
              </a:r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n-GB" sz="15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Seminario</a:t>
              </a:r>
              <a:r>
                <a:rPr lang="en-GB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sz="15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inicio</a:t>
              </a: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" name="RbNavigator">
              <a:extLst>
                <a:ext uri="{FF2B5EF4-FFF2-40B4-BE49-F238E27FC236}">
                  <a16:creationId xmlns:a16="http://schemas.microsoft.com/office/drawing/2014/main" xmlns="" id="{0E7EC5DF-DD66-452B-B877-4D5DDA89DF08}"/>
                </a:ext>
              </a:extLst>
            </p:cNvPr>
            <p:cNvSpPr txBox="1"/>
            <p:nvPr/>
          </p:nvSpPr>
          <p:spPr>
            <a:xfrm>
              <a:off x="7435307" y="3997701"/>
              <a:ext cx="269227" cy="2692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5FCDEC4-E185-4ACC-A53D-B84C1E26FFC6}"/>
              </a:ext>
            </a:extLst>
          </p:cNvPr>
          <p:cNvSpPr/>
          <p:nvPr/>
        </p:nvSpPr>
        <p:spPr>
          <a:xfrm>
            <a:off x="2820927" y="1544731"/>
            <a:ext cx="3642196" cy="399546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endParaRPr lang="en-GB" sz="1500" b="0" dirty="0">
              <a:highlight>
                <a:srgbClr val="CEEAB0"/>
              </a:highlight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ListLeanHorizontalTextTopic1">
            <a:extLst>
              <a:ext uri="{FF2B5EF4-FFF2-40B4-BE49-F238E27FC236}">
                <a16:creationId xmlns:a16="http://schemas.microsoft.com/office/drawing/2014/main" xmlns="" id="{E1514C44-CF39-4EB3-903E-3135FD89E26E}"/>
              </a:ext>
            </a:extLst>
          </p:cNvPr>
          <p:cNvSpPr txBox="1">
            <a:spLocks/>
          </p:cNvSpPr>
          <p:nvPr/>
        </p:nvSpPr>
        <p:spPr bwMode="auto">
          <a:xfrm>
            <a:off x="7540083" y="1773674"/>
            <a:ext cx="4704333" cy="2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ma de </a:t>
            </a: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bajar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E92F0E87-184B-4B90-B5D1-2C174E93138C}"/>
              </a:ext>
            </a:extLst>
          </p:cNvPr>
          <p:cNvGrpSpPr/>
          <p:nvPr/>
        </p:nvGrpSpPr>
        <p:grpSpPr>
          <a:xfrm>
            <a:off x="7435308" y="2150104"/>
            <a:ext cx="4809108" cy="961802"/>
            <a:chOff x="7435307" y="2255874"/>
            <a:chExt cx="4185193" cy="961802"/>
          </a:xfrm>
        </p:grpSpPr>
        <p:sp>
          <p:nvSpPr>
            <p:cNvPr id="7" name="Textframe 23">
              <a:extLst>
                <a:ext uri="{FF2B5EF4-FFF2-40B4-BE49-F238E27FC236}">
                  <a16:creationId xmlns:a16="http://schemas.microsoft.com/office/drawing/2014/main" xmlns="" id="{41780C8F-8CC0-44F2-B369-76EADD333AE2}"/>
                </a:ext>
              </a:extLst>
            </p:cNvPr>
            <p:cNvSpPr txBox="1"/>
            <p:nvPr/>
          </p:nvSpPr>
          <p:spPr>
            <a:xfrm>
              <a:off x="7786868" y="2255874"/>
              <a:ext cx="3833632" cy="96180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Recogida de datos</a:t>
              </a:r>
            </a:p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Recopilación de datos e informes de antecedentes (basados en la expresión de interés) </a:t>
              </a: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" name="RbNavigator">
              <a:extLst>
                <a:ext uri="{FF2B5EF4-FFF2-40B4-BE49-F238E27FC236}">
                  <a16:creationId xmlns:a16="http://schemas.microsoft.com/office/drawing/2014/main" xmlns="" id="{220BD153-C23A-4EB3-8908-E1B9217A513E}"/>
                </a:ext>
              </a:extLst>
            </p:cNvPr>
            <p:cNvSpPr txBox="1"/>
            <p:nvPr/>
          </p:nvSpPr>
          <p:spPr>
            <a:xfrm>
              <a:off x="7435307" y="2255874"/>
              <a:ext cx="269227" cy="269227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</a:t>
              </a:r>
            </a:p>
          </p:txBody>
        </p:sp>
      </p:grpSp>
      <p:sp>
        <p:nvSpPr>
          <p:cNvPr id="13" name="ListLeanHorizontalTextTopic1">
            <a:extLst>
              <a:ext uri="{FF2B5EF4-FFF2-40B4-BE49-F238E27FC236}">
                <a16:creationId xmlns:a16="http://schemas.microsoft.com/office/drawing/2014/main" xmlns="" id="{7F0596CC-B5F6-46A4-87B5-E4D13CF1526B}"/>
              </a:ext>
            </a:extLst>
          </p:cNvPr>
          <p:cNvSpPr txBox="1">
            <a:spLocks/>
          </p:cNvSpPr>
          <p:nvPr/>
        </p:nvSpPr>
        <p:spPr bwMode="auto">
          <a:xfrm>
            <a:off x="7540083" y="4735341"/>
            <a:ext cx="4704333" cy="2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tregas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Textframe 23">
            <a:extLst>
              <a:ext uri="{FF2B5EF4-FFF2-40B4-BE49-F238E27FC236}">
                <a16:creationId xmlns:a16="http://schemas.microsoft.com/office/drawing/2014/main" xmlns="" id="{6D7AAF0D-8DC9-425A-8265-53B6768AA5D4}"/>
              </a:ext>
            </a:extLst>
          </p:cNvPr>
          <p:cNvSpPr txBox="1">
            <a:spLocks/>
          </p:cNvSpPr>
          <p:nvPr/>
        </p:nvSpPr>
        <p:spPr>
          <a:xfrm>
            <a:off x="7435308" y="5118209"/>
            <a:ext cx="4704333" cy="500137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marL="201784" lvl="1" indent="-201784" defTabSz="1269968">
              <a:spcBef>
                <a:spcPts val="267"/>
              </a:spcBef>
              <a:buSzPct val="100000"/>
              <a:buFont typeface="Arial"/>
              <a:buChar char="•"/>
              <a:defRPr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Crear un equipo de expertos</a:t>
            </a:r>
          </a:p>
          <a:p>
            <a:pPr marL="201784" lvl="1" indent="-201784" defTabSz="1269968">
              <a:spcBef>
                <a:spcPts val="267"/>
              </a:spcBef>
              <a:buSzPct val="100000"/>
              <a:buFont typeface="Arial"/>
              <a:buChar char="•"/>
              <a:defRPr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Exhaustiva base de datos de antecedentes</a:t>
            </a:r>
            <a:endParaRPr lang="en-GB" sz="15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RBContent15">
            <a:extLst>
              <a:ext uri="{FF2B5EF4-FFF2-40B4-BE49-F238E27FC236}">
                <a16:creationId xmlns:a16="http://schemas.microsoft.com/office/drawing/2014/main" xmlns="" id="{D3042F9E-0107-4FCC-BE15-02FB89E89A57}"/>
              </a:ext>
            </a:extLst>
          </p:cNvPr>
          <p:cNvSpPr txBox="1">
            <a:spLocks/>
          </p:cNvSpPr>
          <p:nvPr/>
        </p:nvSpPr>
        <p:spPr>
          <a:xfrm>
            <a:off x="2917883" y="2255874"/>
            <a:ext cx="3477739" cy="274434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Preparar la Ciudad Digital y el equipo de expertos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para la prestación de servicios de asesoramiento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Establecer un 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contacto inicial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entre Digital City y los líderes del equipo para analizar las expectativas y motivaciones.  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Crear un 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grupo de trabajo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y movilizar a los 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agentes interesados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a nivel de la ciudad. </a:t>
            </a:r>
            <a:endParaRPr lang="en-GB" sz="15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AFD6643C-5ED3-4AC4-96A1-13DBD3EA85CB}"/>
              </a:ext>
            </a:extLst>
          </p:cNvPr>
          <p:cNvCxnSpPr>
            <a:cxnSpLocks/>
          </p:cNvCxnSpPr>
          <p:nvPr/>
        </p:nvCxnSpPr>
        <p:spPr>
          <a:xfrm>
            <a:off x="4762500" y="1905248"/>
            <a:ext cx="1980959" cy="0"/>
          </a:xfrm>
          <a:prstGeom prst="line">
            <a:avLst/>
          </a:prstGeom>
          <a:ln w="28575" cmpd="sng">
            <a:solidFill>
              <a:schemeClr val="accent3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A2EF059C-65B5-4E13-A8B7-E6BD9707F6E1}"/>
              </a:ext>
            </a:extLst>
          </p:cNvPr>
          <p:cNvGrpSpPr>
            <a:grpSpLocks noChangeAspect="1"/>
          </p:cNvGrpSpPr>
          <p:nvPr/>
        </p:nvGrpSpPr>
        <p:grpSpPr>
          <a:xfrm>
            <a:off x="2942204" y="1648237"/>
            <a:ext cx="732116" cy="505625"/>
            <a:chOff x="1720851" y="1301751"/>
            <a:chExt cx="3576638" cy="2470150"/>
          </a:xfrm>
          <a:solidFill>
            <a:schemeClr val="accent5"/>
          </a:solidFill>
        </p:grpSpPr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xmlns="" id="{38B7FB9D-D7BA-4C60-A632-FD5863EB4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088" y="1301751"/>
              <a:ext cx="2389188" cy="2395538"/>
            </a:xfrm>
            <a:custGeom>
              <a:avLst/>
              <a:gdLst>
                <a:gd name="T0" fmla="*/ 1992 w 2074"/>
                <a:gd name="T1" fmla="*/ 1162 h 2080"/>
                <a:gd name="T2" fmla="*/ 1040 w 2074"/>
                <a:gd name="T3" fmla="*/ 2000 h 2080"/>
                <a:gd name="T4" fmla="*/ 80 w 2074"/>
                <a:gd name="T5" fmla="*/ 1040 h 2080"/>
                <a:gd name="T6" fmla="*/ 1040 w 2074"/>
                <a:gd name="T7" fmla="*/ 80 h 2080"/>
                <a:gd name="T8" fmla="*/ 1993 w 2074"/>
                <a:gd name="T9" fmla="*/ 925 h 2080"/>
                <a:gd name="T10" fmla="*/ 2074 w 2074"/>
                <a:gd name="T11" fmla="*/ 925 h 2080"/>
                <a:gd name="T12" fmla="*/ 1040 w 2074"/>
                <a:gd name="T13" fmla="*/ 0 h 2080"/>
                <a:gd name="T14" fmla="*/ 0 w 2074"/>
                <a:gd name="T15" fmla="*/ 1040 h 2080"/>
                <a:gd name="T16" fmla="*/ 1040 w 2074"/>
                <a:gd name="T17" fmla="*/ 2080 h 2080"/>
                <a:gd name="T18" fmla="*/ 2073 w 2074"/>
                <a:gd name="T19" fmla="*/ 1162 h 2080"/>
                <a:gd name="T20" fmla="*/ 1992 w 2074"/>
                <a:gd name="T21" fmla="*/ 1162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4" h="2080">
                  <a:moveTo>
                    <a:pt x="1992" y="1162"/>
                  </a:moveTo>
                  <a:cubicBezTo>
                    <a:pt x="1933" y="1635"/>
                    <a:pt x="1529" y="2000"/>
                    <a:pt x="1040" y="2000"/>
                  </a:cubicBezTo>
                  <a:cubicBezTo>
                    <a:pt x="510" y="2000"/>
                    <a:pt x="80" y="1571"/>
                    <a:pt x="80" y="1040"/>
                  </a:cubicBezTo>
                  <a:cubicBezTo>
                    <a:pt x="80" y="510"/>
                    <a:pt x="510" y="80"/>
                    <a:pt x="1040" y="80"/>
                  </a:cubicBezTo>
                  <a:cubicBezTo>
                    <a:pt x="1531" y="80"/>
                    <a:pt x="1936" y="449"/>
                    <a:pt x="1993" y="925"/>
                  </a:cubicBezTo>
                  <a:cubicBezTo>
                    <a:pt x="2074" y="925"/>
                    <a:pt x="2074" y="925"/>
                    <a:pt x="2074" y="925"/>
                  </a:cubicBezTo>
                  <a:cubicBezTo>
                    <a:pt x="2016" y="405"/>
                    <a:pt x="1575" y="0"/>
                    <a:pt x="1040" y="0"/>
                  </a:cubicBezTo>
                  <a:cubicBezTo>
                    <a:pt x="466" y="0"/>
                    <a:pt x="0" y="466"/>
                    <a:pt x="0" y="1040"/>
                  </a:cubicBezTo>
                  <a:cubicBezTo>
                    <a:pt x="0" y="1615"/>
                    <a:pt x="466" y="2080"/>
                    <a:pt x="1040" y="2080"/>
                  </a:cubicBezTo>
                  <a:cubicBezTo>
                    <a:pt x="1573" y="2080"/>
                    <a:pt x="2013" y="1679"/>
                    <a:pt x="2073" y="1162"/>
                  </a:cubicBezTo>
                  <a:lnTo>
                    <a:pt x="1992" y="1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xmlns="" id="{1B8AFA3D-66A5-4FC8-B43F-38FD8918D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2225676"/>
              <a:ext cx="514350" cy="547688"/>
            </a:xfrm>
            <a:custGeom>
              <a:avLst/>
              <a:gdLst>
                <a:gd name="T0" fmla="*/ 238 w 446"/>
                <a:gd name="T1" fmla="*/ 80 h 475"/>
                <a:gd name="T2" fmla="*/ 346 w 446"/>
                <a:gd name="T3" fmla="*/ 122 h 475"/>
                <a:gd name="T4" fmla="*/ 446 w 446"/>
                <a:gd name="T5" fmla="*/ 122 h 475"/>
                <a:gd name="T6" fmla="*/ 238 w 446"/>
                <a:gd name="T7" fmla="*/ 0 h 475"/>
                <a:gd name="T8" fmla="*/ 0 w 446"/>
                <a:gd name="T9" fmla="*/ 237 h 475"/>
                <a:gd name="T10" fmla="*/ 238 w 446"/>
                <a:gd name="T11" fmla="*/ 475 h 475"/>
                <a:gd name="T12" fmla="*/ 443 w 446"/>
                <a:gd name="T13" fmla="*/ 359 h 475"/>
                <a:gd name="T14" fmla="*/ 339 w 446"/>
                <a:gd name="T15" fmla="*/ 359 h 475"/>
                <a:gd name="T16" fmla="*/ 238 w 446"/>
                <a:gd name="T17" fmla="*/ 395 h 475"/>
                <a:gd name="T18" fmla="*/ 80 w 446"/>
                <a:gd name="T19" fmla="*/ 237 h 475"/>
                <a:gd name="T20" fmla="*/ 238 w 446"/>
                <a:gd name="T21" fmla="*/ 8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6" h="475">
                  <a:moveTo>
                    <a:pt x="238" y="80"/>
                  </a:moveTo>
                  <a:cubicBezTo>
                    <a:pt x="280" y="80"/>
                    <a:pt x="318" y="96"/>
                    <a:pt x="346" y="122"/>
                  </a:cubicBezTo>
                  <a:cubicBezTo>
                    <a:pt x="446" y="122"/>
                    <a:pt x="446" y="122"/>
                    <a:pt x="446" y="122"/>
                  </a:cubicBezTo>
                  <a:cubicBezTo>
                    <a:pt x="406" y="49"/>
                    <a:pt x="328" y="0"/>
                    <a:pt x="238" y="0"/>
                  </a:cubicBezTo>
                  <a:cubicBezTo>
                    <a:pt x="107" y="0"/>
                    <a:pt x="0" y="106"/>
                    <a:pt x="0" y="237"/>
                  </a:cubicBezTo>
                  <a:cubicBezTo>
                    <a:pt x="0" y="369"/>
                    <a:pt x="107" y="475"/>
                    <a:pt x="238" y="475"/>
                  </a:cubicBezTo>
                  <a:cubicBezTo>
                    <a:pt x="325" y="475"/>
                    <a:pt x="401" y="428"/>
                    <a:pt x="443" y="359"/>
                  </a:cubicBezTo>
                  <a:cubicBezTo>
                    <a:pt x="339" y="359"/>
                    <a:pt x="339" y="359"/>
                    <a:pt x="339" y="359"/>
                  </a:cubicBezTo>
                  <a:cubicBezTo>
                    <a:pt x="312" y="381"/>
                    <a:pt x="277" y="395"/>
                    <a:pt x="238" y="395"/>
                  </a:cubicBezTo>
                  <a:cubicBezTo>
                    <a:pt x="151" y="395"/>
                    <a:pt x="80" y="325"/>
                    <a:pt x="80" y="237"/>
                  </a:cubicBezTo>
                  <a:cubicBezTo>
                    <a:pt x="80" y="150"/>
                    <a:pt x="151" y="80"/>
                    <a:pt x="23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xmlns="" id="{A0FB8A26-862C-45DA-BB7E-E5B6A0940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8226" y="1765301"/>
              <a:ext cx="1458913" cy="1468438"/>
            </a:xfrm>
            <a:custGeom>
              <a:avLst/>
              <a:gdLst>
                <a:gd name="T0" fmla="*/ 1184 w 1266"/>
                <a:gd name="T1" fmla="*/ 522 h 1275"/>
                <a:gd name="T2" fmla="*/ 1266 w 1266"/>
                <a:gd name="T3" fmla="*/ 522 h 1275"/>
                <a:gd name="T4" fmla="*/ 638 w 1266"/>
                <a:gd name="T5" fmla="*/ 0 h 1275"/>
                <a:gd name="T6" fmla="*/ 0 w 1266"/>
                <a:gd name="T7" fmla="*/ 637 h 1275"/>
                <a:gd name="T8" fmla="*/ 638 w 1266"/>
                <a:gd name="T9" fmla="*/ 1275 h 1275"/>
                <a:gd name="T10" fmla="*/ 1264 w 1266"/>
                <a:gd name="T11" fmla="*/ 759 h 1275"/>
                <a:gd name="T12" fmla="*/ 1183 w 1266"/>
                <a:gd name="T13" fmla="*/ 759 h 1275"/>
                <a:gd name="T14" fmla="*/ 638 w 1266"/>
                <a:gd name="T15" fmla="*/ 1195 h 1275"/>
                <a:gd name="T16" fmla="*/ 80 w 1266"/>
                <a:gd name="T17" fmla="*/ 637 h 1275"/>
                <a:gd name="T18" fmla="*/ 638 w 1266"/>
                <a:gd name="T19" fmla="*/ 80 h 1275"/>
                <a:gd name="T20" fmla="*/ 1184 w 1266"/>
                <a:gd name="T21" fmla="*/ 522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1275">
                  <a:moveTo>
                    <a:pt x="1184" y="522"/>
                  </a:moveTo>
                  <a:cubicBezTo>
                    <a:pt x="1266" y="522"/>
                    <a:pt x="1266" y="522"/>
                    <a:pt x="1266" y="522"/>
                  </a:cubicBezTo>
                  <a:cubicBezTo>
                    <a:pt x="1211" y="225"/>
                    <a:pt x="951" y="0"/>
                    <a:pt x="638" y="0"/>
                  </a:cubicBezTo>
                  <a:cubicBezTo>
                    <a:pt x="286" y="0"/>
                    <a:pt x="0" y="285"/>
                    <a:pt x="0" y="637"/>
                  </a:cubicBezTo>
                  <a:cubicBezTo>
                    <a:pt x="0" y="990"/>
                    <a:pt x="286" y="1275"/>
                    <a:pt x="638" y="1275"/>
                  </a:cubicBezTo>
                  <a:cubicBezTo>
                    <a:pt x="949" y="1275"/>
                    <a:pt x="1208" y="1053"/>
                    <a:pt x="1264" y="759"/>
                  </a:cubicBezTo>
                  <a:cubicBezTo>
                    <a:pt x="1183" y="759"/>
                    <a:pt x="1183" y="759"/>
                    <a:pt x="1183" y="759"/>
                  </a:cubicBezTo>
                  <a:cubicBezTo>
                    <a:pt x="1127" y="1008"/>
                    <a:pt x="905" y="1195"/>
                    <a:pt x="638" y="1195"/>
                  </a:cubicBezTo>
                  <a:cubicBezTo>
                    <a:pt x="330" y="1195"/>
                    <a:pt x="80" y="945"/>
                    <a:pt x="80" y="637"/>
                  </a:cubicBezTo>
                  <a:cubicBezTo>
                    <a:pt x="80" y="329"/>
                    <a:pt x="330" y="80"/>
                    <a:pt x="638" y="80"/>
                  </a:cubicBezTo>
                  <a:cubicBezTo>
                    <a:pt x="907" y="80"/>
                    <a:pt x="1131" y="269"/>
                    <a:pt x="1184" y="5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xmlns="" id="{475A5465-BAB3-4E3B-9A7C-3210569DD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351" y="2109788"/>
              <a:ext cx="2243138" cy="785813"/>
            </a:xfrm>
            <a:custGeom>
              <a:avLst/>
              <a:gdLst>
                <a:gd name="T0" fmla="*/ 1209 w 1413"/>
                <a:gd name="T1" fmla="*/ 245 h 495"/>
                <a:gd name="T2" fmla="*/ 1413 w 1413"/>
                <a:gd name="T3" fmla="*/ 41 h 495"/>
                <a:gd name="T4" fmla="*/ 1372 w 1413"/>
                <a:gd name="T5" fmla="*/ 0 h 495"/>
                <a:gd name="T6" fmla="*/ 1155 w 1413"/>
                <a:gd name="T7" fmla="*/ 218 h 495"/>
                <a:gd name="T8" fmla="*/ 967 w 1413"/>
                <a:gd name="T9" fmla="*/ 218 h 495"/>
                <a:gd name="T10" fmla="*/ 1143 w 1413"/>
                <a:gd name="T11" fmla="*/ 41 h 495"/>
                <a:gd name="T12" fmla="*/ 1103 w 1413"/>
                <a:gd name="T13" fmla="*/ 0 h 495"/>
                <a:gd name="T14" fmla="*/ 885 w 1413"/>
                <a:gd name="T15" fmla="*/ 218 h 495"/>
                <a:gd name="T16" fmla="*/ 0 w 1413"/>
                <a:gd name="T17" fmla="*/ 218 h 495"/>
                <a:gd name="T18" fmla="*/ 0 w 1413"/>
                <a:gd name="T19" fmla="*/ 276 h 495"/>
                <a:gd name="T20" fmla="*/ 883 w 1413"/>
                <a:gd name="T21" fmla="*/ 276 h 495"/>
                <a:gd name="T22" fmla="*/ 1103 w 1413"/>
                <a:gd name="T23" fmla="*/ 495 h 495"/>
                <a:gd name="T24" fmla="*/ 1143 w 1413"/>
                <a:gd name="T25" fmla="*/ 454 h 495"/>
                <a:gd name="T26" fmla="*/ 965 w 1413"/>
                <a:gd name="T27" fmla="*/ 276 h 495"/>
                <a:gd name="T28" fmla="*/ 1153 w 1413"/>
                <a:gd name="T29" fmla="*/ 276 h 495"/>
                <a:gd name="T30" fmla="*/ 1372 w 1413"/>
                <a:gd name="T31" fmla="*/ 495 h 495"/>
                <a:gd name="T32" fmla="*/ 1413 w 1413"/>
                <a:gd name="T33" fmla="*/ 454 h 495"/>
                <a:gd name="T34" fmla="*/ 1209 w 1413"/>
                <a:gd name="T35" fmla="*/ 250 h 495"/>
                <a:gd name="T36" fmla="*/ 1209 w 1413"/>
                <a:gd name="T37" fmla="*/ 24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13" h="495">
                  <a:moveTo>
                    <a:pt x="1209" y="245"/>
                  </a:moveTo>
                  <a:lnTo>
                    <a:pt x="1413" y="41"/>
                  </a:lnTo>
                  <a:lnTo>
                    <a:pt x="1372" y="0"/>
                  </a:lnTo>
                  <a:lnTo>
                    <a:pt x="1155" y="218"/>
                  </a:lnTo>
                  <a:lnTo>
                    <a:pt x="967" y="218"/>
                  </a:lnTo>
                  <a:lnTo>
                    <a:pt x="1143" y="41"/>
                  </a:lnTo>
                  <a:lnTo>
                    <a:pt x="1103" y="0"/>
                  </a:lnTo>
                  <a:lnTo>
                    <a:pt x="885" y="218"/>
                  </a:lnTo>
                  <a:lnTo>
                    <a:pt x="0" y="218"/>
                  </a:lnTo>
                  <a:lnTo>
                    <a:pt x="0" y="276"/>
                  </a:lnTo>
                  <a:lnTo>
                    <a:pt x="883" y="276"/>
                  </a:lnTo>
                  <a:lnTo>
                    <a:pt x="1103" y="495"/>
                  </a:lnTo>
                  <a:lnTo>
                    <a:pt x="1143" y="454"/>
                  </a:lnTo>
                  <a:lnTo>
                    <a:pt x="965" y="276"/>
                  </a:lnTo>
                  <a:lnTo>
                    <a:pt x="1153" y="276"/>
                  </a:lnTo>
                  <a:lnTo>
                    <a:pt x="1372" y="495"/>
                  </a:lnTo>
                  <a:lnTo>
                    <a:pt x="1413" y="454"/>
                  </a:lnTo>
                  <a:lnTo>
                    <a:pt x="1209" y="250"/>
                  </a:lnTo>
                  <a:lnTo>
                    <a:pt x="1209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xmlns="" id="{1E3A1EB7-AEC5-43BE-9C8A-3CB930AE2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3351213"/>
              <a:ext cx="415925" cy="417513"/>
            </a:xfrm>
            <a:custGeom>
              <a:avLst/>
              <a:gdLst>
                <a:gd name="T0" fmla="*/ 0 w 262"/>
                <a:gd name="T1" fmla="*/ 41 h 263"/>
                <a:gd name="T2" fmla="*/ 222 w 262"/>
                <a:gd name="T3" fmla="*/ 263 h 263"/>
                <a:gd name="T4" fmla="*/ 262 w 262"/>
                <a:gd name="T5" fmla="*/ 221 h 263"/>
                <a:gd name="T6" fmla="*/ 41 w 262"/>
                <a:gd name="T7" fmla="*/ 0 h 263"/>
                <a:gd name="T8" fmla="*/ 0 w 262"/>
                <a:gd name="T9" fmla="*/ 4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3">
                  <a:moveTo>
                    <a:pt x="0" y="41"/>
                  </a:moveTo>
                  <a:lnTo>
                    <a:pt x="222" y="263"/>
                  </a:lnTo>
                  <a:lnTo>
                    <a:pt x="262" y="221"/>
                  </a:lnTo>
                  <a:lnTo>
                    <a:pt x="41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xmlns="" id="{CAC74DC6-B63A-40A9-BF11-2DC29EB18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851" y="3352801"/>
              <a:ext cx="417513" cy="419100"/>
            </a:xfrm>
            <a:custGeom>
              <a:avLst/>
              <a:gdLst>
                <a:gd name="T0" fmla="*/ 0 w 263"/>
                <a:gd name="T1" fmla="*/ 222 h 264"/>
                <a:gd name="T2" fmla="*/ 41 w 263"/>
                <a:gd name="T3" fmla="*/ 264 h 264"/>
                <a:gd name="T4" fmla="*/ 263 w 263"/>
                <a:gd name="T5" fmla="*/ 42 h 264"/>
                <a:gd name="T6" fmla="*/ 222 w 263"/>
                <a:gd name="T7" fmla="*/ 0 h 264"/>
                <a:gd name="T8" fmla="*/ 0 w 263"/>
                <a:gd name="T9" fmla="*/ 22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264">
                  <a:moveTo>
                    <a:pt x="0" y="222"/>
                  </a:moveTo>
                  <a:lnTo>
                    <a:pt x="41" y="264"/>
                  </a:lnTo>
                  <a:lnTo>
                    <a:pt x="263" y="42"/>
                  </a:lnTo>
                  <a:lnTo>
                    <a:pt x="222" y="0"/>
                  </a:lnTo>
                  <a:lnTo>
                    <a:pt x="0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</p:grpSp>
      <p:sp>
        <p:nvSpPr>
          <p:cNvPr id="18" name="ListLeanHorizontalTextTopic1">
            <a:extLst>
              <a:ext uri="{FF2B5EF4-FFF2-40B4-BE49-F238E27FC236}">
                <a16:creationId xmlns:a16="http://schemas.microsoft.com/office/drawing/2014/main" xmlns="" id="{5D2402EE-EA34-4322-86A0-1F27931531E5}"/>
              </a:ext>
            </a:extLst>
          </p:cNvPr>
          <p:cNvSpPr txBox="1">
            <a:spLocks/>
          </p:cNvSpPr>
          <p:nvPr/>
        </p:nvSpPr>
        <p:spPr bwMode="auto">
          <a:xfrm>
            <a:off x="3774792" y="1773674"/>
            <a:ext cx="1017907" cy="26314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bjetivos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B415F6A1-00C1-43BE-8885-0DE7143AE2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22872" y="1595924"/>
            <a:ext cx="612262" cy="605460"/>
            <a:chOff x="1826" y="1368"/>
            <a:chExt cx="363" cy="356"/>
          </a:xfrm>
          <a:solidFill>
            <a:schemeClr val="accent5"/>
          </a:solidFill>
        </p:grpSpPr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xmlns="" id="{755AA74C-F4F1-412A-B036-F2CF58D07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4" y="1434"/>
              <a:ext cx="81" cy="81"/>
            </a:xfrm>
            <a:custGeom>
              <a:avLst/>
              <a:gdLst>
                <a:gd name="T0" fmla="*/ 359 w 810"/>
                <a:gd name="T1" fmla="*/ 68 h 814"/>
                <a:gd name="T2" fmla="*/ 273 w 810"/>
                <a:gd name="T3" fmla="*/ 91 h 814"/>
                <a:gd name="T4" fmla="*/ 196 w 810"/>
                <a:gd name="T5" fmla="*/ 136 h 814"/>
                <a:gd name="T6" fmla="*/ 136 w 810"/>
                <a:gd name="T7" fmla="*/ 198 h 814"/>
                <a:gd name="T8" fmla="*/ 91 w 810"/>
                <a:gd name="T9" fmla="*/ 273 h 814"/>
                <a:gd name="T10" fmla="*/ 67 w 810"/>
                <a:gd name="T11" fmla="*/ 361 h 814"/>
                <a:gd name="T12" fmla="*/ 67 w 810"/>
                <a:gd name="T13" fmla="*/ 453 h 814"/>
                <a:gd name="T14" fmla="*/ 91 w 810"/>
                <a:gd name="T15" fmla="*/ 540 h 814"/>
                <a:gd name="T16" fmla="*/ 136 w 810"/>
                <a:gd name="T17" fmla="*/ 615 h 814"/>
                <a:gd name="T18" fmla="*/ 196 w 810"/>
                <a:gd name="T19" fmla="*/ 677 h 814"/>
                <a:gd name="T20" fmla="*/ 273 w 810"/>
                <a:gd name="T21" fmla="*/ 722 h 814"/>
                <a:gd name="T22" fmla="*/ 359 w 810"/>
                <a:gd name="T23" fmla="*/ 746 h 814"/>
                <a:gd name="T24" fmla="*/ 451 w 810"/>
                <a:gd name="T25" fmla="*/ 746 h 814"/>
                <a:gd name="T26" fmla="*/ 537 w 810"/>
                <a:gd name="T27" fmla="*/ 722 h 814"/>
                <a:gd name="T28" fmla="*/ 613 w 810"/>
                <a:gd name="T29" fmla="*/ 677 h 814"/>
                <a:gd name="T30" fmla="*/ 675 w 810"/>
                <a:gd name="T31" fmla="*/ 615 h 814"/>
                <a:gd name="T32" fmla="*/ 719 w 810"/>
                <a:gd name="T33" fmla="*/ 540 h 814"/>
                <a:gd name="T34" fmla="*/ 743 w 810"/>
                <a:gd name="T35" fmla="*/ 453 h 814"/>
                <a:gd name="T36" fmla="*/ 743 w 810"/>
                <a:gd name="T37" fmla="*/ 361 h 814"/>
                <a:gd name="T38" fmla="*/ 719 w 810"/>
                <a:gd name="T39" fmla="*/ 273 h 814"/>
                <a:gd name="T40" fmla="*/ 675 w 810"/>
                <a:gd name="T41" fmla="*/ 198 h 814"/>
                <a:gd name="T42" fmla="*/ 613 w 810"/>
                <a:gd name="T43" fmla="*/ 136 h 814"/>
                <a:gd name="T44" fmla="*/ 537 w 810"/>
                <a:gd name="T45" fmla="*/ 91 h 814"/>
                <a:gd name="T46" fmla="*/ 451 w 810"/>
                <a:gd name="T47" fmla="*/ 68 h 814"/>
                <a:gd name="T48" fmla="*/ 405 w 810"/>
                <a:gd name="T49" fmla="*/ 0 h 814"/>
                <a:gd name="T50" fmla="*/ 504 w 810"/>
                <a:gd name="T51" fmla="*/ 12 h 814"/>
                <a:gd name="T52" fmla="*/ 596 w 810"/>
                <a:gd name="T53" fmla="*/ 47 h 814"/>
                <a:gd name="T54" fmla="*/ 674 w 810"/>
                <a:gd name="T55" fmla="*/ 103 h 814"/>
                <a:gd name="T56" fmla="*/ 737 w 810"/>
                <a:gd name="T57" fmla="*/ 174 h 814"/>
                <a:gd name="T58" fmla="*/ 783 w 810"/>
                <a:gd name="T59" fmla="*/ 260 h 814"/>
                <a:gd name="T60" fmla="*/ 807 w 810"/>
                <a:gd name="T61" fmla="*/ 355 h 814"/>
                <a:gd name="T62" fmla="*/ 807 w 810"/>
                <a:gd name="T63" fmla="*/ 458 h 814"/>
                <a:gd name="T64" fmla="*/ 783 w 810"/>
                <a:gd name="T65" fmla="*/ 554 h 814"/>
                <a:gd name="T66" fmla="*/ 737 w 810"/>
                <a:gd name="T67" fmla="*/ 639 h 814"/>
                <a:gd name="T68" fmla="*/ 674 w 810"/>
                <a:gd name="T69" fmla="*/ 710 h 814"/>
                <a:gd name="T70" fmla="*/ 596 w 810"/>
                <a:gd name="T71" fmla="*/ 766 h 814"/>
                <a:gd name="T72" fmla="*/ 504 w 810"/>
                <a:gd name="T73" fmla="*/ 801 h 814"/>
                <a:gd name="T74" fmla="*/ 405 w 810"/>
                <a:gd name="T75" fmla="*/ 814 h 814"/>
                <a:gd name="T76" fmla="*/ 305 w 810"/>
                <a:gd name="T77" fmla="*/ 801 h 814"/>
                <a:gd name="T78" fmla="*/ 215 w 810"/>
                <a:gd name="T79" fmla="*/ 766 h 814"/>
                <a:gd name="T80" fmla="*/ 136 w 810"/>
                <a:gd name="T81" fmla="*/ 710 h 814"/>
                <a:gd name="T82" fmla="*/ 72 w 810"/>
                <a:gd name="T83" fmla="*/ 639 h 814"/>
                <a:gd name="T84" fmla="*/ 27 w 810"/>
                <a:gd name="T85" fmla="*/ 554 h 814"/>
                <a:gd name="T86" fmla="*/ 3 w 810"/>
                <a:gd name="T87" fmla="*/ 458 h 814"/>
                <a:gd name="T88" fmla="*/ 3 w 810"/>
                <a:gd name="T89" fmla="*/ 355 h 814"/>
                <a:gd name="T90" fmla="*/ 27 w 810"/>
                <a:gd name="T91" fmla="*/ 260 h 814"/>
                <a:gd name="T92" fmla="*/ 72 w 810"/>
                <a:gd name="T93" fmla="*/ 174 h 814"/>
                <a:gd name="T94" fmla="*/ 136 w 810"/>
                <a:gd name="T95" fmla="*/ 103 h 814"/>
                <a:gd name="T96" fmla="*/ 215 w 810"/>
                <a:gd name="T97" fmla="*/ 47 h 814"/>
                <a:gd name="T98" fmla="*/ 305 w 810"/>
                <a:gd name="T99" fmla="*/ 12 h 814"/>
                <a:gd name="T100" fmla="*/ 405 w 810"/>
                <a:gd name="T10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10" h="814">
                  <a:moveTo>
                    <a:pt x="405" y="65"/>
                  </a:moveTo>
                  <a:lnTo>
                    <a:pt x="359" y="68"/>
                  </a:lnTo>
                  <a:lnTo>
                    <a:pt x="314" y="77"/>
                  </a:lnTo>
                  <a:lnTo>
                    <a:pt x="273" y="91"/>
                  </a:lnTo>
                  <a:lnTo>
                    <a:pt x="233" y="112"/>
                  </a:lnTo>
                  <a:lnTo>
                    <a:pt x="196" y="136"/>
                  </a:lnTo>
                  <a:lnTo>
                    <a:pt x="164" y="165"/>
                  </a:lnTo>
                  <a:lnTo>
                    <a:pt x="136" y="198"/>
                  </a:lnTo>
                  <a:lnTo>
                    <a:pt x="111" y="234"/>
                  </a:lnTo>
                  <a:lnTo>
                    <a:pt x="91" y="273"/>
                  </a:lnTo>
                  <a:lnTo>
                    <a:pt x="76" y="316"/>
                  </a:lnTo>
                  <a:lnTo>
                    <a:pt x="67" y="361"/>
                  </a:lnTo>
                  <a:lnTo>
                    <a:pt x="64" y="407"/>
                  </a:lnTo>
                  <a:lnTo>
                    <a:pt x="67" y="453"/>
                  </a:lnTo>
                  <a:lnTo>
                    <a:pt x="76" y="497"/>
                  </a:lnTo>
                  <a:lnTo>
                    <a:pt x="91" y="540"/>
                  </a:lnTo>
                  <a:lnTo>
                    <a:pt x="111" y="579"/>
                  </a:lnTo>
                  <a:lnTo>
                    <a:pt x="136" y="615"/>
                  </a:lnTo>
                  <a:lnTo>
                    <a:pt x="164" y="649"/>
                  </a:lnTo>
                  <a:lnTo>
                    <a:pt x="196" y="677"/>
                  </a:lnTo>
                  <a:lnTo>
                    <a:pt x="233" y="702"/>
                  </a:lnTo>
                  <a:lnTo>
                    <a:pt x="273" y="722"/>
                  </a:lnTo>
                  <a:lnTo>
                    <a:pt x="314" y="736"/>
                  </a:lnTo>
                  <a:lnTo>
                    <a:pt x="359" y="746"/>
                  </a:lnTo>
                  <a:lnTo>
                    <a:pt x="405" y="748"/>
                  </a:lnTo>
                  <a:lnTo>
                    <a:pt x="451" y="746"/>
                  </a:lnTo>
                  <a:lnTo>
                    <a:pt x="496" y="736"/>
                  </a:lnTo>
                  <a:lnTo>
                    <a:pt x="537" y="722"/>
                  </a:lnTo>
                  <a:lnTo>
                    <a:pt x="577" y="702"/>
                  </a:lnTo>
                  <a:lnTo>
                    <a:pt x="613" y="677"/>
                  </a:lnTo>
                  <a:lnTo>
                    <a:pt x="646" y="649"/>
                  </a:lnTo>
                  <a:lnTo>
                    <a:pt x="675" y="615"/>
                  </a:lnTo>
                  <a:lnTo>
                    <a:pt x="699" y="579"/>
                  </a:lnTo>
                  <a:lnTo>
                    <a:pt x="719" y="540"/>
                  </a:lnTo>
                  <a:lnTo>
                    <a:pt x="734" y="497"/>
                  </a:lnTo>
                  <a:lnTo>
                    <a:pt x="743" y="453"/>
                  </a:lnTo>
                  <a:lnTo>
                    <a:pt x="746" y="407"/>
                  </a:lnTo>
                  <a:lnTo>
                    <a:pt x="743" y="361"/>
                  </a:lnTo>
                  <a:lnTo>
                    <a:pt x="734" y="316"/>
                  </a:lnTo>
                  <a:lnTo>
                    <a:pt x="719" y="273"/>
                  </a:lnTo>
                  <a:lnTo>
                    <a:pt x="699" y="234"/>
                  </a:lnTo>
                  <a:lnTo>
                    <a:pt x="675" y="198"/>
                  </a:lnTo>
                  <a:lnTo>
                    <a:pt x="646" y="165"/>
                  </a:lnTo>
                  <a:lnTo>
                    <a:pt x="613" y="136"/>
                  </a:lnTo>
                  <a:lnTo>
                    <a:pt x="577" y="112"/>
                  </a:lnTo>
                  <a:lnTo>
                    <a:pt x="537" y="91"/>
                  </a:lnTo>
                  <a:lnTo>
                    <a:pt x="496" y="77"/>
                  </a:lnTo>
                  <a:lnTo>
                    <a:pt x="451" y="68"/>
                  </a:lnTo>
                  <a:lnTo>
                    <a:pt x="405" y="65"/>
                  </a:lnTo>
                  <a:close/>
                  <a:moveTo>
                    <a:pt x="405" y="0"/>
                  </a:moveTo>
                  <a:lnTo>
                    <a:pt x="455" y="4"/>
                  </a:lnTo>
                  <a:lnTo>
                    <a:pt x="504" y="12"/>
                  </a:lnTo>
                  <a:lnTo>
                    <a:pt x="551" y="28"/>
                  </a:lnTo>
                  <a:lnTo>
                    <a:pt x="596" y="47"/>
                  </a:lnTo>
                  <a:lnTo>
                    <a:pt x="636" y="72"/>
                  </a:lnTo>
                  <a:lnTo>
                    <a:pt x="674" y="103"/>
                  </a:lnTo>
                  <a:lnTo>
                    <a:pt x="708" y="137"/>
                  </a:lnTo>
                  <a:lnTo>
                    <a:pt x="737" y="174"/>
                  </a:lnTo>
                  <a:lnTo>
                    <a:pt x="762" y="215"/>
                  </a:lnTo>
                  <a:lnTo>
                    <a:pt x="783" y="260"/>
                  </a:lnTo>
                  <a:lnTo>
                    <a:pt x="798" y="307"/>
                  </a:lnTo>
                  <a:lnTo>
                    <a:pt x="807" y="355"/>
                  </a:lnTo>
                  <a:lnTo>
                    <a:pt x="810" y="407"/>
                  </a:lnTo>
                  <a:lnTo>
                    <a:pt x="807" y="458"/>
                  </a:lnTo>
                  <a:lnTo>
                    <a:pt x="798" y="507"/>
                  </a:lnTo>
                  <a:lnTo>
                    <a:pt x="783" y="554"/>
                  </a:lnTo>
                  <a:lnTo>
                    <a:pt x="762" y="598"/>
                  </a:lnTo>
                  <a:lnTo>
                    <a:pt x="737" y="639"/>
                  </a:lnTo>
                  <a:lnTo>
                    <a:pt x="708" y="676"/>
                  </a:lnTo>
                  <a:lnTo>
                    <a:pt x="674" y="710"/>
                  </a:lnTo>
                  <a:lnTo>
                    <a:pt x="636" y="741"/>
                  </a:lnTo>
                  <a:lnTo>
                    <a:pt x="596" y="766"/>
                  </a:lnTo>
                  <a:lnTo>
                    <a:pt x="551" y="785"/>
                  </a:lnTo>
                  <a:lnTo>
                    <a:pt x="504" y="801"/>
                  </a:lnTo>
                  <a:lnTo>
                    <a:pt x="455" y="810"/>
                  </a:lnTo>
                  <a:lnTo>
                    <a:pt x="405" y="814"/>
                  </a:lnTo>
                  <a:lnTo>
                    <a:pt x="354" y="810"/>
                  </a:lnTo>
                  <a:lnTo>
                    <a:pt x="305" y="801"/>
                  </a:lnTo>
                  <a:lnTo>
                    <a:pt x="258" y="785"/>
                  </a:lnTo>
                  <a:lnTo>
                    <a:pt x="215" y="766"/>
                  </a:lnTo>
                  <a:lnTo>
                    <a:pt x="174" y="741"/>
                  </a:lnTo>
                  <a:lnTo>
                    <a:pt x="136" y="710"/>
                  </a:lnTo>
                  <a:lnTo>
                    <a:pt x="102" y="676"/>
                  </a:lnTo>
                  <a:lnTo>
                    <a:pt x="72" y="639"/>
                  </a:lnTo>
                  <a:lnTo>
                    <a:pt x="47" y="598"/>
                  </a:lnTo>
                  <a:lnTo>
                    <a:pt x="27" y="554"/>
                  </a:lnTo>
                  <a:lnTo>
                    <a:pt x="13" y="507"/>
                  </a:lnTo>
                  <a:lnTo>
                    <a:pt x="3" y="458"/>
                  </a:lnTo>
                  <a:lnTo>
                    <a:pt x="0" y="407"/>
                  </a:lnTo>
                  <a:lnTo>
                    <a:pt x="3" y="355"/>
                  </a:lnTo>
                  <a:lnTo>
                    <a:pt x="13" y="307"/>
                  </a:lnTo>
                  <a:lnTo>
                    <a:pt x="27" y="260"/>
                  </a:lnTo>
                  <a:lnTo>
                    <a:pt x="47" y="215"/>
                  </a:lnTo>
                  <a:lnTo>
                    <a:pt x="72" y="174"/>
                  </a:lnTo>
                  <a:lnTo>
                    <a:pt x="102" y="137"/>
                  </a:lnTo>
                  <a:lnTo>
                    <a:pt x="136" y="103"/>
                  </a:lnTo>
                  <a:lnTo>
                    <a:pt x="174" y="72"/>
                  </a:lnTo>
                  <a:lnTo>
                    <a:pt x="215" y="47"/>
                  </a:lnTo>
                  <a:lnTo>
                    <a:pt x="258" y="28"/>
                  </a:lnTo>
                  <a:lnTo>
                    <a:pt x="305" y="12"/>
                  </a:lnTo>
                  <a:lnTo>
                    <a:pt x="354" y="4"/>
                  </a:lnTo>
                  <a:lnTo>
                    <a:pt x="4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xmlns="" id="{970D767B-C89C-45B8-88CE-D487AECEFC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6" y="1368"/>
              <a:ext cx="215" cy="216"/>
            </a:xfrm>
            <a:custGeom>
              <a:avLst/>
              <a:gdLst>
                <a:gd name="T0" fmla="*/ 909 w 2152"/>
                <a:gd name="T1" fmla="*/ 102 h 2159"/>
                <a:gd name="T2" fmla="*/ 762 w 2152"/>
                <a:gd name="T3" fmla="*/ 314 h 2159"/>
                <a:gd name="T4" fmla="*/ 509 w 2152"/>
                <a:gd name="T5" fmla="*/ 271 h 2159"/>
                <a:gd name="T6" fmla="*/ 437 w 2152"/>
                <a:gd name="T7" fmla="*/ 284 h 2159"/>
                <a:gd name="T8" fmla="*/ 263 w 2152"/>
                <a:gd name="T9" fmla="*/ 513 h 2159"/>
                <a:gd name="T10" fmla="*/ 307 w 2152"/>
                <a:gd name="T11" fmla="*/ 801 h 2159"/>
                <a:gd name="T12" fmla="*/ 87 w 2152"/>
                <a:gd name="T13" fmla="*/ 922 h 2159"/>
                <a:gd name="T14" fmla="*/ 67 w 2152"/>
                <a:gd name="T15" fmla="*/ 1215 h 2159"/>
                <a:gd name="T16" fmla="*/ 288 w 2152"/>
                <a:gd name="T17" fmla="*/ 1279 h 2159"/>
                <a:gd name="T18" fmla="*/ 379 w 2152"/>
                <a:gd name="T19" fmla="*/ 1494 h 2159"/>
                <a:gd name="T20" fmla="*/ 267 w 2152"/>
                <a:gd name="T21" fmla="*/ 1698 h 2159"/>
                <a:gd name="T22" fmla="*/ 482 w 2152"/>
                <a:gd name="T23" fmla="*/ 1893 h 2159"/>
                <a:gd name="T24" fmla="*/ 673 w 2152"/>
                <a:gd name="T25" fmla="*/ 1783 h 2159"/>
                <a:gd name="T26" fmla="*/ 896 w 2152"/>
                <a:gd name="T27" fmla="*/ 2038 h 2159"/>
                <a:gd name="T28" fmla="*/ 958 w 2152"/>
                <a:gd name="T29" fmla="*/ 2095 h 2159"/>
                <a:gd name="T30" fmla="*/ 1242 w 2152"/>
                <a:gd name="T31" fmla="*/ 2056 h 2159"/>
                <a:gd name="T32" fmla="*/ 1420 w 2152"/>
                <a:gd name="T33" fmla="*/ 1818 h 2159"/>
                <a:gd name="T34" fmla="*/ 1657 w 2152"/>
                <a:gd name="T35" fmla="*/ 1890 h 2159"/>
                <a:gd name="T36" fmla="*/ 1874 w 2152"/>
                <a:gd name="T37" fmla="*/ 1714 h 2159"/>
                <a:gd name="T38" fmla="*/ 1880 w 2152"/>
                <a:gd name="T39" fmla="*/ 1630 h 2159"/>
                <a:gd name="T40" fmla="*/ 1870 w 2152"/>
                <a:gd name="T41" fmla="*/ 1289 h 2159"/>
                <a:gd name="T42" fmla="*/ 2078 w 2152"/>
                <a:gd name="T43" fmla="*/ 1222 h 2159"/>
                <a:gd name="T44" fmla="*/ 2078 w 2152"/>
                <a:gd name="T45" fmla="*/ 925 h 2159"/>
                <a:gd name="T46" fmla="*/ 1872 w 2152"/>
                <a:gd name="T47" fmla="*/ 858 h 2159"/>
                <a:gd name="T48" fmla="*/ 1879 w 2152"/>
                <a:gd name="T49" fmla="*/ 528 h 2159"/>
                <a:gd name="T50" fmla="*/ 1874 w 2152"/>
                <a:gd name="T51" fmla="*/ 444 h 2159"/>
                <a:gd name="T52" fmla="*/ 1657 w 2152"/>
                <a:gd name="T53" fmla="*/ 267 h 2159"/>
                <a:gd name="T54" fmla="*/ 1447 w 2152"/>
                <a:gd name="T55" fmla="*/ 336 h 2159"/>
                <a:gd name="T56" fmla="*/ 1257 w 2152"/>
                <a:gd name="T57" fmla="*/ 120 h 2159"/>
                <a:gd name="T58" fmla="*/ 1193 w 2152"/>
                <a:gd name="T59" fmla="*/ 64 h 2159"/>
                <a:gd name="T60" fmla="*/ 1246 w 2152"/>
                <a:gd name="T61" fmla="*/ 10 h 2159"/>
                <a:gd name="T62" fmla="*/ 1321 w 2152"/>
                <a:gd name="T63" fmla="*/ 113 h 2159"/>
                <a:gd name="T64" fmla="*/ 1592 w 2152"/>
                <a:gd name="T65" fmla="*/ 229 h 2159"/>
                <a:gd name="T66" fmla="*/ 1696 w 2152"/>
                <a:gd name="T67" fmla="*/ 204 h 2159"/>
                <a:gd name="T68" fmla="*/ 1936 w 2152"/>
                <a:gd name="T69" fmla="*/ 420 h 2159"/>
                <a:gd name="T70" fmla="*/ 1944 w 2152"/>
                <a:gd name="T71" fmla="*/ 545 h 2159"/>
                <a:gd name="T72" fmla="*/ 1928 w 2152"/>
                <a:gd name="T73" fmla="*/ 821 h 2159"/>
                <a:gd name="T74" fmla="*/ 2128 w 2152"/>
                <a:gd name="T75" fmla="*/ 886 h 2159"/>
                <a:gd name="T76" fmla="*/ 2150 w 2152"/>
                <a:gd name="T77" fmla="*/ 1215 h 2159"/>
                <a:gd name="T78" fmla="*/ 2066 w 2152"/>
                <a:gd name="T79" fmla="*/ 1309 h 2159"/>
                <a:gd name="T80" fmla="*/ 1856 w 2152"/>
                <a:gd name="T81" fmla="*/ 1495 h 2159"/>
                <a:gd name="T82" fmla="*/ 1956 w 2152"/>
                <a:gd name="T83" fmla="*/ 1690 h 2159"/>
                <a:gd name="T84" fmla="*/ 1742 w 2152"/>
                <a:gd name="T85" fmla="*/ 1935 h 2159"/>
                <a:gd name="T86" fmla="*/ 1629 w 2152"/>
                <a:gd name="T87" fmla="*/ 1949 h 2159"/>
                <a:gd name="T88" fmla="*/ 1384 w 2152"/>
                <a:gd name="T89" fmla="*/ 1904 h 2159"/>
                <a:gd name="T90" fmla="*/ 1278 w 2152"/>
                <a:gd name="T91" fmla="*/ 2118 h 2159"/>
                <a:gd name="T92" fmla="*/ 958 w 2152"/>
                <a:gd name="T93" fmla="*/ 2159 h 2159"/>
                <a:gd name="T94" fmla="*/ 850 w 2152"/>
                <a:gd name="T95" fmla="*/ 2096 h 2159"/>
                <a:gd name="T96" fmla="*/ 711 w 2152"/>
                <a:gd name="T97" fmla="*/ 1875 h 2159"/>
                <a:gd name="T98" fmla="*/ 503 w 2152"/>
                <a:gd name="T99" fmla="*/ 1955 h 2159"/>
                <a:gd name="T100" fmla="*/ 411 w 2152"/>
                <a:gd name="T101" fmla="*/ 1935 h 2159"/>
                <a:gd name="T102" fmla="*/ 197 w 2152"/>
                <a:gd name="T103" fmla="*/ 1688 h 2159"/>
                <a:gd name="T104" fmla="*/ 301 w 2152"/>
                <a:gd name="T105" fmla="*/ 1489 h 2159"/>
                <a:gd name="T106" fmla="*/ 87 w 2152"/>
                <a:gd name="T107" fmla="*/ 1317 h 2159"/>
                <a:gd name="T108" fmla="*/ 3 w 2152"/>
                <a:gd name="T109" fmla="*/ 1223 h 2159"/>
                <a:gd name="T110" fmla="*/ 24 w 2152"/>
                <a:gd name="T111" fmla="*/ 895 h 2159"/>
                <a:gd name="T112" fmla="*/ 231 w 2152"/>
                <a:gd name="T113" fmla="*/ 829 h 2159"/>
                <a:gd name="T114" fmla="*/ 208 w 2152"/>
                <a:gd name="T115" fmla="*/ 545 h 2159"/>
                <a:gd name="T116" fmla="*/ 215 w 2152"/>
                <a:gd name="T117" fmla="*/ 420 h 2159"/>
                <a:gd name="T118" fmla="*/ 457 w 2152"/>
                <a:gd name="T119" fmla="*/ 204 h 2159"/>
                <a:gd name="T120" fmla="*/ 561 w 2152"/>
                <a:gd name="T121" fmla="*/ 229 h 2159"/>
                <a:gd name="T122" fmla="*/ 841 w 2152"/>
                <a:gd name="T123" fmla="*/ 113 h 2159"/>
                <a:gd name="T124" fmla="*/ 916 w 2152"/>
                <a:gd name="T125" fmla="*/ 1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2" h="2159">
                  <a:moveTo>
                    <a:pt x="968" y="64"/>
                  </a:moveTo>
                  <a:lnTo>
                    <a:pt x="950" y="66"/>
                  </a:lnTo>
                  <a:lnTo>
                    <a:pt x="933" y="75"/>
                  </a:lnTo>
                  <a:lnTo>
                    <a:pt x="919" y="87"/>
                  </a:lnTo>
                  <a:lnTo>
                    <a:pt x="909" y="102"/>
                  </a:lnTo>
                  <a:lnTo>
                    <a:pt x="905" y="120"/>
                  </a:lnTo>
                  <a:lnTo>
                    <a:pt x="888" y="272"/>
                  </a:lnTo>
                  <a:lnTo>
                    <a:pt x="866" y="278"/>
                  </a:lnTo>
                  <a:lnTo>
                    <a:pt x="813" y="294"/>
                  </a:lnTo>
                  <a:lnTo>
                    <a:pt x="762" y="314"/>
                  </a:lnTo>
                  <a:lnTo>
                    <a:pt x="710" y="338"/>
                  </a:lnTo>
                  <a:lnTo>
                    <a:pt x="661" y="364"/>
                  </a:lnTo>
                  <a:lnTo>
                    <a:pt x="643" y="376"/>
                  </a:lnTo>
                  <a:lnTo>
                    <a:pt x="521" y="279"/>
                  </a:lnTo>
                  <a:lnTo>
                    <a:pt x="509" y="271"/>
                  </a:lnTo>
                  <a:lnTo>
                    <a:pt x="496" y="267"/>
                  </a:lnTo>
                  <a:lnTo>
                    <a:pt x="482" y="266"/>
                  </a:lnTo>
                  <a:lnTo>
                    <a:pt x="466" y="268"/>
                  </a:lnTo>
                  <a:lnTo>
                    <a:pt x="450" y="274"/>
                  </a:lnTo>
                  <a:lnTo>
                    <a:pt x="437" y="284"/>
                  </a:lnTo>
                  <a:lnTo>
                    <a:pt x="277" y="444"/>
                  </a:lnTo>
                  <a:lnTo>
                    <a:pt x="267" y="459"/>
                  </a:lnTo>
                  <a:lnTo>
                    <a:pt x="260" y="477"/>
                  </a:lnTo>
                  <a:lnTo>
                    <a:pt x="259" y="494"/>
                  </a:lnTo>
                  <a:lnTo>
                    <a:pt x="263" y="513"/>
                  </a:lnTo>
                  <a:lnTo>
                    <a:pt x="273" y="529"/>
                  </a:lnTo>
                  <a:lnTo>
                    <a:pt x="373" y="656"/>
                  </a:lnTo>
                  <a:lnTo>
                    <a:pt x="362" y="674"/>
                  </a:lnTo>
                  <a:lnTo>
                    <a:pt x="332" y="736"/>
                  </a:lnTo>
                  <a:lnTo>
                    <a:pt x="307" y="801"/>
                  </a:lnTo>
                  <a:lnTo>
                    <a:pt x="287" y="866"/>
                  </a:lnTo>
                  <a:lnTo>
                    <a:pt x="282" y="888"/>
                  </a:lnTo>
                  <a:lnTo>
                    <a:pt x="121" y="907"/>
                  </a:lnTo>
                  <a:lnTo>
                    <a:pt x="102" y="912"/>
                  </a:lnTo>
                  <a:lnTo>
                    <a:pt x="87" y="922"/>
                  </a:lnTo>
                  <a:lnTo>
                    <a:pt x="75" y="935"/>
                  </a:lnTo>
                  <a:lnTo>
                    <a:pt x="67" y="952"/>
                  </a:lnTo>
                  <a:lnTo>
                    <a:pt x="64" y="970"/>
                  </a:lnTo>
                  <a:lnTo>
                    <a:pt x="64" y="1196"/>
                  </a:lnTo>
                  <a:lnTo>
                    <a:pt x="67" y="1215"/>
                  </a:lnTo>
                  <a:lnTo>
                    <a:pt x="75" y="1232"/>
                  </a:lnTo>
                  <a:lnTo>
                    <a:pt x="87" y="1245"/>
                  </a:lnTo>
                  <a:lnTo>
                    <a:pt x="102" y="1255"/>
                  </a:lnTo>
                  <a:lnTo>
                    <a:pt x="121" y="1259"/>
                  </a:lnTo>
                  <a:lnTo>
                    <a:pt x="288" y="1279"/>
                  </a:lnTo>
                  <a:lnTo>
                    <a:pt x="295" y="1300"/>
                  </a:lnTo>
                  <a:lnTo>
                    <a:pt x="314" y="1361"/>
                  </a:lnTo>
                  <a:lnTo>
                    <a:pt x="339" y="1419"/>
                  </a:lnTo>
                  <a:lnTo>
                    <a:pt x="368" y="1476"/>
                  </a:lnTo>
                  <a:lnTo>
                    <a:pt x="379" y="1494"/>
                  </a:lnTo>
                  <a:lnTo>
                    <a:pt x="273" y="1628"/>
                  </a:lnTo>
                  <a:lnTo>
                    <a:pt x="263" y="1645"/>
                  </a:lnTo>
                  <a:lnTo>
                    <a:pt x="259" y="1663"/>
                  </a:lnTo>
                  <a:lnTo>
                    <a:pt x="260" y="1681"/>
                  </a:lnTo>
                  <a:lnTo>
                    <a:pt x="267" y="1698"/>
                  </a:lnTo>
                  <a:lnTo>
                    <a:pt x="277" y="1714"/>
                  </a:lnTo>
                  <a:lnTo>
                    <a:pt x="437" y="1873"/>
                  </a:lnTo>
                  <a:lnTo>
                    <a:pt x="450" y="1884"/>
                  </a:lnTo>
                  <a:lnTo>
                    <a:pt x="466" y="1890"/>
                  </a:lnTo>
                  <a:lnTo>
                    <a:pt x="482" y="1893"/>
                  </a:lnTo>
                  <a:lnTo>
                    <a:pt x="496" y="1890"/>
                  </a:lnTo>
                  <a:lnTo>
                    <a:pt x="509" y="1886"/>
                  </a:lnTo>
                  <a:lnTo>
                    <a:pt x="521" y="1878"/>
                  </a:lnTo>
                  <a:lnTo>
                    <a:pt x="655" y="1773"/>
                  </a:lnTo>
                  <a:lnTo>
                    <a:pt x="673" y="1783"/>
                  </a:lnTo>
                  <a:lnTo>
                    <a:pt x="732" y="1814"/>
                  </a:lnTo>
                  <a:lnTo>
                    <a:pt x="793" y="1840"/>
                  </a:lnTo>
                  <a:lnTo>
                    <a:pt x="855" y="1861"/>
                  </a:lnTo>
                  <a:lnTo>
                    <a:pt x="876" y="1866"/>
                  </a:lnTo>
                  <a:lnTo>
                    <a:pt x="896" y="2038"/>
                  </a:lnTo>
                  <a:lnTo>
                    <a:pt x="901" y="2056"/>
                  </a:lnTo>
                  <a:lnTo>
                    <a:pt x="911" y="2072"/>
                  </a:lnTo>
                  <a:lnTo>
                    <a:pt x="924" y="2084"/>
                  </a:lnTo>
                  <a:lnTo>
                    <a:pt x="940" y="2091"/>
                  </a:lnTo>
                  <a:lnTo>
                    <a:pt x="958" y="2095"/>
                  </a:lnTo>
                  <a:lnTo>
                    <a:pt x="1185" y="2095"/>
                  </a:lnTo>
                  <a:lnTo>
                    <a:pt x="1203" y="2091"/>
                  </a:lnTo>
                  <a:lnTo>
                    <a:pt x="1220" y="2084"/>
                  </a:lnTo>
                  <a:lnTo>
                    <a:pt x="1233" y="2072"/>
                  </a:lnTo>
                  <a:lnTo>
                    <a:pt x="1242" y="2056"/>
                  </a:lnTo>
                  <a:lnTo>
                    <a:pt x="1248" y="2038"/>
                  </a:lnTo>
                  <a:lnTo>
                    <a:pt x="1266" y="1872"/>
                  </a:lnTo>
                  <a:lnTo>
                    <a:pt x="1288" y="1865"/>
                  </a:lnTo>
                  <a:lnTo>
                    <a:pt x="1354" y="1846"/>
                  </a:lnTo>
                  <a:lnTo>
                    <a:pt x="1420" y="1818"/>
                  </a:lnTo>
                  <a:lnTo>
                    <a:pt x="1483" y="1787"/>
                  </a:lnTo>
                  <a:lnTo>
                    <a:pt x="1502" y="1776"/>
                  </a:lnTo>
                  <a:lnTo>
                    <a:pt x="1631" y="1878"/>
                  </a:lnTo>
                  <a:lnTo>
                    <a:pt x="1643" y="1886"/>
                  </a:lnTo>
                  <a:lnTo>
                    <a:pt x="1657" y="1890"/>
                  </a:lnTo>
                  <a:lnTo>
                    <a:pt x="1670" y="1893"/>
                  </a:lnTo>
                  <a:lnTo>
                    <a:pt x="1687" y="1890"/>
                  </a:lnTo>
                  <a:lnTo>
                    <a:pt x="1703" y="1884"/>
                  </a:lnTo>
                  <a:lnTo>
                    <a:pt x="1716" y="1874"/>
                  </a:lnTo>
                  <a:lnTo>
                    <a:pt x="1874" y="1714"/>
                  </a:lnTo>
                  <a:lnTo>
                    <a:pt x="1886" y="1698"/>
                  </a:lnTo>
                  <a:lnTo>
                    <a:pt x="1892" y="1682"/>
                  </a:lnTo>
                  <a:lnTo>
                    <a:pt x="1893" y="1663"/>
                  </a:lnTo>
                  <a:lnTo>
                    <a:pt x="1889" y="1646"/>
                  </a:lnTo>
                  <a:lnTo>
                    <a:pt x="1880" y="1630"/>
                  </a:lnTo>
                  <a:lnTo>
                    <a:pt x="1779" y="1501"/>
                  </a:lnTo>
                  <a:lnTo>
                    <a:pt x="1790" y="1482"/>
                  </a:lnTo>
                  <a:lnTo>
                    <a:pt x="1822" y="1420"/>
                  </a:lnTo>
                  <a:lnTo>
                    <a:pt x="1849" y="1355"/>
                  </a:lnTo>
                  <a:lnTo>
                    <a:pt x="1870" y="1289"/>
                  </a:lnTo>
                  <a:lnTo>
                    <a:pt x="1876" y="1268"/>
                  </a:lnTo>
                  <a:lnTo>
                    <a:pt x="2032" y="1251"/>
                  </a:lnTo>
                  <a:lnTo>
                    <a:pt x="2050" y="1245"/>
                  </a:lnTo>
                  <a:lnTo>
                    <a:pt x="2066" y="1235"/>
                  </a:lnTo>
                  <a:lnTo>
                    <a:pt x="2078" y="1222"/>
                  </a:lnTo>
                  <a:lnTo>
                    <a:pt x="2085" y="1206"/>
                  </a:lnTo>
                  <a:lnTo>
                    <a:pt x="2088" y="1187"/>
                  </a:lnTo>
                  <a:lnTo>
                    <a:pt x="2088" y="960"/>
                  </a:lnTo>
                  <a:lnTo>
                    <a:pt x="2085" y="942"/>
                  </a:lnTo>
                  <a:lnTo>
                    <a:pt x="2078" y="925"/>
                  </a:lnTo>
                  <a:lnTo>
                    <a:pt x="2066" y="912"/>
                  </a:lnTo>
                  <a:lnTo>
                    <a:pt x="2050" y="902"/>
                  </a:lnTo>
                  <a:lnTo>
                    <a:pt x="2032" y="898"/>
                  </a:lnTo>
                  <a:lnTo>
                    <a:pt x="1878" y="879"/>
                  </a:lnTo>
                  <a:lnTo>
                    <a:pt x="1872" y="858"/>
                  </a:lnTo>
                  <a:lnTo>
                    <a:pt x="1852" y="793"/>
                  </a:lnTo>
                  <a:lnTo>
                    <a:pt x="1827" y="730"/>
                  </a:lnTo>
                  <a:lnTo>
                    <a:pt x="1794" y="668"/>
                  </a:lnTo>
                  <a:lnTo>
                    <a:pt x="1784" y="649"/>
                  </a:lnTo>
                  <a:lnTo>
                    <a:pt x="1879" y="528"/>
                  </a:lnTo>
                  <a:lnTo>
                    <a:pt x="1889" y="512"/>
                  </a:lnTo>
                  <a:lnTo>
                    <a:pt x="1893" y="494"/>
                  </a:lnTo>
                  <a:lnTo>
                    <a:pt x="1892" y="477"/>
                  </a:lnTo>
                  <a:lnTo>
                    <a:pt x="1885" y="459"/>
                  </a:lnTo>
                  <a:lnTo>
                    <a:pt x="1874" y="444"/>
                  </a:lnTo>
                  <a:lnTo>
                    <a:pt x="1716" y="284"/>
                  </a:lnTo>
                  <a:lnTo>
                    <a:pt x="1703" y="274"/>
                  </a:lnTo>
                  <a:lnTo>
                    <a:pt x="1687" y="268"/>
                  </a:lnTo>
                  <a:lnTo>
                    <a:pt x="1671" y="266"/>
                  </a:lnTo>
                  <a:lnTo>
                    <a:pt x="1657" y="267"/>
                  </a:lnTo>
                  <a:lnTo>
                    <a:pt x="1643" y="271"/>
                  </a:lnTo>
                  <a:lnTo>
                    <a:pt x="1631" y="279"/>
                  </a:lnTo>
                  <a:lnTo>
                    <a:pt x="1513" y="373"/>
                  </a:lnTo>
                  <a:lnTo>
                    <a:pt x="1495" y="362"/>
                  </a:lnTo>
                  <a:lnTo>
                    <a:pt x="1447" y="336"/>
                  </a:lnTo>
                  <a:lnTo>
                    <a:pt x="1398" y="313"/>
                  </a:lnTo>
                  <a:lnTo>
                    <a:pt x="1347" y="293"/>
                  </a:lnTo>
                  <a:lnTo>
                    <a:pt x="1296" y="278"/>
                  </a:lnTo>
                  <a:lnTo>
                    <a:pt x="1274" y="272"/>
                  </a:lnTo>
                  <a:lnTo>
                    <a:pt x="1257" y="120"/>
                  </a:lnTo>
                  <a:lnTo>
                    <a:pt x="1251" y="102"/>
                  </a:lnTo>
                  <a:lnTo>
                    <a:pt x="1242" y="87"/>
                  </a:lnTo>
                  <a:lnTo>
                    <a:pt x="1228" y="75"/>
                  </a:lnTo>
                  <a:lnTo>
                    <a:pt x="1212" y="66"/>
                  </a:lnTo>
                  <a:lnTo>
                    <a:pt x="1193" y="64"/>
                  </a:lnTo>
                  <a:lnTo>
                    <a:pt x="968" y="64"/>
                  </a:lnTo>
                  <a:close/>
                  <a:moveTo>
                    <a:pt x="968" y="0"/>
                  </a:moveTo>
                  <a:lnTo>
                    <a:pt x="1193" y="0"/>
                  </a:lnTo>
                  <a:lnTo>
                    <a:pt x="1221" y="2"/>
                  </a:lnTo>
                  <a:lnTo>
                    <a:pt x="1246" y="10"/>
                  </a:lnTo>
                  <a:lnTo>
                    <a:pt x="1268" y="24"/>
                  </a:lnTo>
                  <a:lnTo>
                    <a:pt x="1288" y="41"/>
                  </a:lnTo>
                  <a:lnTo>
                    <a:pt x="1303" y="62"/>
                  </a:lnTo>
                  <a:lnTo>
                    <a:pt x="1314" y="86"/>
                  </a:lnTo>
                  <a:lnTo>
                    <a:pt x="1321" y="113"/>
                  </a:lnTo>
                  <a:lnTo>
                    <a:pt x="1333" y="221"/>
                  </a:lnTo>
                  <a:lnTo>
                    <a:pt x="1394" y="242"/>
                  </a:lnTo>
                  <a:lnTo>
                    <a:pt x="1451" y="266"/>
                  </a:lnTo>
                  <a:lnTo>
                    <a:pt x="1508" y="295"/>
                  </a:lnTo>
                  <a:lnTo>
                    <a:pt x="1592" y="229"/>
                  </a:lnTo>
                  <a:lnTo>
                    <a:pt x="1609" y="217"/>
                  </a:lnTo>
                  <a:lnTo>
                    <a:pt x="1629" y="208"/>
                  </a:lnTo>
                  <a:lnTo>
                    <a:pt x="1649" y="203"/>
                  </a:lnTo>
                  <a:lnTo>
                    <a:pt x="1671" y="200"/>
                  </a:lnTo>
                  <a:lnTo>
                    <a:pt x="1696" y="204"/>
                  </a:lnTo>
                  <a:lnTo>
                    <a:pt x="1720" y="210"/>
                  </a:lnTo>
                  <a:lnTo>
                    <a:pt x="1742" y="222"/>
                  </a:lnTo>
                  <a:lnTo>
                    <a:pt x="1761" y="239"/>
                  </a:lnTo>
                  <a:lnTo>
                    <a:pt x="1920" y="398"/>
                  </a:lnTo>
                  <a:lnTo>
                    <a:pt x="1936" y="420"/>
                  </a:lnTo>
                  <a:lnTo>
                    <a:pt x="1948" y="443"/>
                  </a:lnTo>
                  <a:lnTo>
                    <a:pt x="1956" y="469"/>
                  </a:lnTo>
                  <a:lnTo>
                    <a:pt x="1957" y="495"/>
                  </a:lnTo>
                  <a:lnTo>
                    <a:pt x="1953" y="520"/>
                  </a:lnTo>
                  <a:lnTo>
                    <a:pt x="1944" y="545"/>
                  </a:lnTo>
                  <a:lnTo>
                    <a:pt x="1930" y="568"/>
                  </a:lnTo>
                  <a:lnTo>
                    <a:pt x="1861" y="656"/>
                  </a:lnTo>
                  <a:lnTo>
                    <a:pt x="1887" y="709"/>
                  </a:lnTo>
                  <a:lnTo>
                    <a:pt x="1909" y="764"/>
                  </a:lnTo>
                  <a:lnTo>
                    <a:pt x="1928" y="821"/>
                  </a:lnTo>
                  <a:lnTo>
                    <a:pt x="2040" y="834"/>
                  </a:lnTo>
                  <a:lnTo>
                    <a:pt x="2066" y="839"/>
                  </a:lnTo>
                  <a:lnTo>
                    <a:pt x="2090" y="851"/>
                  </a:lnTo>
                  <a:lnTo>
                    <a:pt x="2110" y="866"/>
                  </a:lnTo>
                  <a:lnTo>
                    <a:pt x="2128" y="886"/>
                  </a:lnTo>
                  <a:lnTo>
                    <a:pt x="2141" y="908"/>
                  </a:lnTo>
                  <a:lnTo>
                    <a:pt x="2150" y="934"/>
                  </a:lnTo>
                  <a:lnTo>
                    <a:pt x="2152" y="960"/>
                  </a:lnTo>
                  <a:lnTo>
                    <a:pt x="2152" y="1187"/>
                  </a:lnTo>
                  <a:lnTo>
                    <a:pt x="2150" y="1215"/>
                  </a:lnTo>
                  <a:lnTo>
                    <a:pt x="2141" y="1240"/>
                  </a:lnTo>
                  <a:lnTo>
                    <a:pt x="2128" y="1262"/>
                  </a:lnTo>
                  <a:lnTo>
                    <a:pt x="2110" y="1281"/>
                  </a:lnTo>
                  <a:lnTo>
                    <a:pt x="2090" y="1298"/>
                  </a:lnTo>
                  <a:lnTo>
                    <a:pt x="2066" y="1309"/>
                  </a:lnTo>
                  <a:lnTo>
                    <a:pt x="2040" y="1314"/>
                  </a:lnTo>
                  <a:lnTo>
                    <a:pt x="1926" y="1327"/>
                  </a:lnTo>
                  <a:lnTo>
                    <a:pt x="1907" y="1385"/>
                  </a:lnTo>
                  <a:lnTo>
                    <a:pt x="1883" y="1441"/>
                  </a:lnTo>
                  <a:lnTo>
                    <a:pt x="1856" y="1495"/>
                  </a:lnTo>
                  <a:lnTo>
                    <a:pt x="1930" y="1589"/>
                  </a:lnTo>
                  <a:lnTo>
                    <a:pt x="1944" y="1612"/>
                  </a:lnTo>
                  <a:lnTo>
                    <a:pt x="1954" y="1637"/>
                  </a:lnTo>
                  <a:lnTo>
                    <a:pt x="1957" y="1663"/>
                  </a:lnTo>
                  <a:lnTo>
                    <a:pt x="1956" y="1690"/>
                  </a:lnTo>
                  <a:lnTo>
                    <a:pt x="1949" y="1715"/>
                  </a:lnTo>
                  <a:lnTo>
                    <a:pt x="1938" y="1739"/>
                  </a:lnTo>
                  <a:lnTo>
                    <a:pt x="1920" y="1759"/>
                  </a:lnTo>
                  <a:lnTo>
                    <a:pt x="1761" y="1920"/>
                  </a:lnTo>
                  <a:lnTo>
                    <a:pt x="1742" y="1935"/>
                  </a:lnTo>
                  <a:lnTo>
                    <a:pt x="1719" y="1947"/>
                  </a:lnTo>
                  <a:lnTo>
                    <a:pt x="1696" y="1955"/>
                  </a:lnTo>
                  <a:lnTo>
                    <a:pt x="1670" y="1957"/>
                  </a:lnTo>
                  <a:lnTo>
                    <a:pt x="1649" y="1955"/>
                  </a:lnTo>
                  <a:lnTo>
                    <a:pt x="1629" y="1949"/>
                  </a:lnTo>
                  <a:lnTo>
                    <a:pt x="1609" y="1941"/>
                  </a:lnTo>
                  <a:lnTo>
                    <a:pt x="1592" y="1929"/>
                  </a:lnTo>
                  <a:lnTo>
                    <a:pt x="1496" y="1853"/>
                  </a:lnTo>
                  <a:lnTo>
                    <a:pt x="1440" y="1881"/>
                  </a:lnTo>
                  <a:lnTo>
                    <a:pt x="1384" y="1904"/>
                  </a:lnTo>
                  <a:lnTo>
                    <a:pt x="1325" y="1922"/>
                  </a:lnTo>
                  <a:lnTo>
                    <a:pt x="1311" y="2045"/>
                  </a:lnTo>
                  <a:lnTo>
                    <a:pt x="1305" y="2072"/>
                  </a:lnTo>
                  <a:lnTo>
                    <a:pt x="1295" y="2096"/>
                  </a:lnTo>
                  <a:lnTo>
                    <a:pt x="1278" y="2118"/>
                  </a:lnTo>
                  <a:lnTo>
                    <a:pt x="1259" y="2135"/>
                  </a:lnTo>
                  <a:lnTo>
                    <a:pt x="1237" y="2148"/>
                  </a:lnTo>
                  <a:lnTo>
                    <a:pt x="1212" y="2156"/>
                  </a:lnTo>
                  <a:lnTo>
                    <a:pt x="1185" y="2159"/>
                  </a:lnTo>
                  <a:lnTo>
                    <a:pt x="958" y="2159"/>
                  </a:lnTo>
                  <a:lnTo>
                    <a:pt x="932" y="2156"/>
                  </a:lnTo>
                  <a:lnTo>
                    <a:pt x="906" y="2148"/>
                  </a:lnTo>
                  <a:lnTo>
                    <a:pt x="884" y="2135"/>
                  </a:lnTo>
                  <a:lnTo>
                    <a:pt x="865" y="2118"/>
                  </a:lnTo>
                  <a:lnTo>
                    <a:pt x="850" y="2096"/>
                  </a:lnTo>
                  <a:lnTo>
                    <a:pt x="838" y="2072"/>
                  </a:lnTo>
                  <a:lnTo>
                    <a:pt x="832" y="2045"/>
                  </a:lnTo>
                  <a:lnTo>
                    <a:pt x="817" y="1917"/>
                  </a:lnTo>
                  <a:lnTo>
                    <a:pt x="764" y="1898"/>
                  </a:lnTo>
                  <a:lnTo>
                    <a:pt x="711" y="1875"/>
                  </a:lnTo>
                  <a:lnTo>
                    <a:pt x="660" y="1850"/>
                  </a:lnTo>
                  <a:lnTo>
                    <a:pt x="561" y="1929"/>
                  </a:lnTo>
                  <a:lnTo>
                    <a:pt x="543" y="1941"/>
                  </a:lnTo>
                  <a:lnTo>
                    <a:pt x="523" y="1949"/>
                  </a:lnTo>
                  <a:lnTo>
                    <a:pt x="503" y="1955"/>
                  </a:lnTo>
                  <a:lnTo>
                    <a:pt x="482" y="1957"/>
                  </a:lnTo>
                  <a:lnTo>
                    <a:pt x="482" y="1957"/>
                  </a:lnTo>
                  <a:lnTo>
                    <a:pt x="457" y="1954"/>
                  </a:lnTo>
                  <a:lnTo>
                    <a:pt x="433" y="1947"/>
                  </a:lnTo>
                  <a:lnTo>
                    <a:pt x="411" y="1935"/>
                  </a:lnTo>
                  <a:lnTo>
                    <a:pt x="392" y="1919"/>
                  </a:lnTo>
                  <a:lnTo>
                    <a:pt x="232" y="1759"/>
                  </a:lnTo>
                  <a:lnTo>
                    <a:pt x="215" y="1738"/>
                  </a:lnTo>
                  <a:lnTo>
                    <a:pt x="203" y="1714"/>
                  </a:lnTo>
                  <a:lnTo>
                    <a:pt x="197" y="1688"/>
                  </a:lnTo>
                  <a:lnTo>
                    <a:pt x="195" y="1662"/>
                  </a:lnTo>
                  <a:lnTo>
                    <a:pt x="199" y="1637"/>
                  </a:lnTo>
                  <a:lnTo>
                    <a:pt x="208" y="1612"/>
                  </a:lnTo>
                  <a:lnTo>
                    <a:pt x="222" y="1589"/>
                  </a:lnTo>
                  <a:lnTo>
                    <a:pt x="301" y="1489"/>
                  </a:lnTo>
                  <a:lnTo>
                    <a:pt x="277" y="1440"/>
                  </a:lnTo>
                  <a:lnTo>
                    <a:pt x="257" y="1389"/>
                  </a:lnTo>
                  <a:lnTo>
                    <a:pt x="239" y="1338"/>
                  </a:lnTo>
                  <a:lnTo>
                    <a:pt x="113" y="1324"/>
                  </a:lnTo>
                  <a:lnTo>
                    <a:pt x="87" y="1317"/>
                  </a:lnTo>
                  <a:lnTo>
                    <a:pt x="62" y="1306"/>
                  </a:lnTo>
                  <a:lnTo>
                    <a:pt x="41" y="1291"/>
                  </a:lnTo>
                  <a:lnTo>
                    <a:pt x="24" y="1271"/>
                  </a:lnTo>
                  <a:lnTo>
                    <a:pt x="11" y="1249"/>
                  </a:lnTo>
                  <a:lnTo>
                    <a:pt x="3" y="1223"/>
                  </a:lnTo>
                  <a:lnTo>
                    <a:pt x="0" y="1196"/>
                  </a:lnTo>
                  <a:lnTo>
                    <a:pt x="0" y="970"/>
                  </a:lnTo>
                  <a:lnTo>
                    <a:pt x="3" y="943"/>
                  </a:lnTo>
                  <a:lnTo>
                    <a:pt x="11" y="918"/>
                  </a:lnTo>
                  <a:lnTo>
                    <a:pt x="24" y="895"/>
                  </a:lnTo>
                  <a:lnTo>
                    <a:pt x="41" y="876"/>
                  </a:lnTo>
                  <a:lnTo>
                    <a:pt x="62" y="860"/>
                  </a:lnTo>
                  <a:lnTo>
                    <a:pt x="87" y="849"/>
                  </a:lnTo>
                  <a:lnTo>
                    <a:pt x="113" y="842"/>
                  </a:lnTo>
                  <a:lnTo>
                    <a:pt x="231" y="829"/>
                  </a:lnTo>
                  <a:lnTo>
                    <a:pt x="248" y="773"/>
                  </a:lnTo>
                  <a:lnTo>
                    <a:pt x="271" y="717"/>
                  </a:lnTo>
                  <a:lnTo>
                    <a:pt x="296" y="662"/>
                  </a:lnTo>
                  <a:lnTo>
                    <a:pt x="222" y="568"/>
                  </a:lnTo>
                  <a:lnTo>
                    <a:pt x="208" y="545"/>
                  </a:lnTo>
                  <a:lnTo>
                    <a:pt x="199" y="520"/>
                  </a:lnTo>
                  <a:lnTo>
                    <a:pt x="195" y="495"/>
                  </a:lnTo>
                  <a:lnTo>
                    <a:pt x="196" y="469"/>
                  </a:lnTo>
                  <a:lnTo>
                    <a:pt x="203" y="444"/>
                  </a:lnTo>
                  <a:lnTo>
                    <a:pt x="215" y="420"/>
                  </a:lnTo>
                  <a:lnTo>
                    <a:pt x="232" y="398"/>
                  </a:lnTo>
                  <a:lnTo>
                    <a:pt x="392" y="239"/>
                  </a:lnTo>
                  <a:lnTo>
                    <a:pt x="411" y="222"/>
                  </a:lnTo>
                  <a:lnTo>
                    <a:pt x="433" y="210"/>
                  </a:lnTo>
                  <a:lnTo>
                    <a:pt x="457" y="204"/>
                  </a:lnTo>
                  <a:lnTo>
                    <a:pt x="482" y="202"/>
                  </a:lnTo>
                  <a:lnTo>
                    <a:pt x="504" y="203"/>
                  </a:lnTo>
                  <a:lnTo>
                    <a:pt x="524" y="208"/>
                  </a:lnTo>
                  <a:lnTo>
                    <a:pt x="543" y="217"/>
                  </a:lnTo>
                  <a:lnTo>
                    <a:pt x="561" y="229"/>
                  </a:lnTo>
                  <a:lnTo>
                    <a:pt x="648" y="298"/>
                  </a:lnTo>
                  <a:lnTo>
                    <a:pt x="706" y="268"/>
                  </a:lnTo>
                  <a:lnTo>
                    <a:pt x="767" y="242"/>
                  </a:lnTo>
                  <a:lnTo>
                    <a:pt x="829" y="221"/>
                  </a:lnTo>
                  <a:lnTo>
                    <a:pt x="841" y="113"/>
                  </a:lnTo>
                  <a:lnTo>
                    <a:pt x="847" y="86"/>
                  </a:lnTo>
                  <a:lnTo>
                    <a:pt x="858" y="62"/>
                  </a:lnTo>
                  <a:lnTo>
                    <a:pt x="874" y="41"/>
                  </a:lnTo>
                  <a:lnTo>
                    <a:pt x="893" y="24"/>
                  </a:lnTo>
                  <a:lnTo>
                    <a:pt x="916" y="10"/>
                  </a:lnTo>
                  <a:lnTo>
                    <a:pt x="941" y="2"/>
                  </a:lnTo>
                  <a:lnTo>
                    <a:pt x="9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xmlns="" id="{8C8FCDC0-9AB3-4C59-820D-68A03C0B06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1" y="1475"/>
              <a:ext cx="178" cy="179"/>
            </a:xfrm>
            <a:custGeom>
              <a:avLst/>
              <a:gdLst>
                <a:gd name="T0" fmla="*/ 702 w 1780"/>
                <a:gd name="T1" fmla="*/ 103 h 1789"/>
                <a:gd name="T2" fmla="*/ 609 w 1780"/>
                <a:gd name="T3" fmla="*/ 282 h 1789"/>
                <a:gd name="T4" fmla="*/ 374 w 1780"/>
                <a:gd name="T5" fmla="*/ 285 h 1789"/>
                <a:gd name="T6" fmla="*/ 209 w 1780"/>
                <a:gd name="T7" fmla="*/ 424 h 1789"/>
                <a:gd name="T8" fmla="*/ 211 w 1780"/>
                <a:gd name="T9" fmla="*/ 507 h 1789"/>
                <a:gd name="T10" fmla="*/ 237 w 1780"/>
                <a:gd name="T11" fmla="*/ 777 h 1789"/>
                <a:gd name="T12" fmla="*/ 72 w 1780"/>
                <a:gd name="T13" fmla="*/ 855 h 1789"/>
                <a:gd name="T14" fmla="*/ 90 w 1780"/>
                <a:gd name="T15" fmla="*/ 1079 h 1789"/>
                <a:gd name="T16" fmla="*/ 272 w 1780"/>
                <a:gd name="T17" fmla="*/ 1128 h 1789"/>
                <a:gd name="T18" fmla="*/ 285 w 1780"/>
                <a:gd name="T19" fmla="*/ 1391 h 1789"/>
                <a:gd name="T20" fmla="*/ 297 w 1780"/>
                <a:gd name="T21" fmla="*/ 1472 h 1789"/>
                <a:gd name="T22" fmla="*/ 471 w 1780"/>
                <a:gd name="T23" fmla="*/ 1586 h 1789"/>
                <a:gd name="T24" fmla="*/ 661 w 1780"/>
                <a:gd name="T25" fmla="*/ 1513 h 1789"/>
                <a:gd name="T26" fmla="*/ 817 w 1780"/>
                <a:gd name="T27" fmla="*/ 1692 h 1789"/>
                <a:gd name="T28" fmla="*/ 1032 w 1780"/>
                <a:gd name="T29" fmla="*/ 1712 h 1789"/>
                <a:gd name="T30" fmla="*/ 1090 w 1780"/>
                <a:gd name="T31" fmla="*/ 1652 h 1789"/>
                <a:gd name="T32" fmla="*/ 1267 w 1780"/>
                <a:gd name="T33" fmla="*/ 1440 h 1789"/>
                <a:gd name="T34" fmla="*/ 1423 w 1780"/>
                <a:gd name="T35" fmla="*/ 1506 h 1789"/>
                <a:gd name="T36" fmla="*/ 1581 w 1780"/>
                <a:gd name="T37" fmla="*/ 1349 h 1789"/>
                <a:gd name="T38" fmla="*/ 1485 w 1780"/>
                <a:gd name="T39" fmla="*/ 1192 h 1789"/>
                <a:gd name="T40" fmla="*/ 1550 w 1780"/>
                <a:gd name="T41" fmla="*/ 990 h 1789"/>
                <a:gd name="T42" fmla="*/ 1714 w 1780"/>
                <a:gd name="T43" fmla="*/ 918 h 1789"/>
                <a:gd name="T44" fmla="*/ 1676 w 1780"/>
                <a:gd name="T45" fmla="*/ 698 h 1789"/>
                <a:gd name="T46" fmla="*/ 1498 w 1780"/>
                <a:gd name="T47" fmla="*/ 610 h 1789"/>
                <a:gd name="T48" fmla="*/ 1502 w 1780"/>
                <a:gd name="T49" fmla="*/ 382 h 1789"/>
                <a:gd name="T50" fmla="*/ 1364 w 1780"/>
                <a:gd name="T51" fmla="*/ 216 h 1789"/>
                <a:gd name="T52" fmla="*/ 1295 w 1780"/>
                <a:gd name="T53" fmla="*/ 208 h 1789"/>
                <a:gd name="T54" fmla="*/ 1070 w 1780"/>
                <a:gd name="T55" fmla="*/ 244 h 1789"/>
                <a:gd name="T56" fmla="*/ 952 w 1780"/>
                <a:gd name="T57" fmla="*/ 83 h 1789"/>
                <a:gd name="T58" fmla="*/ 932 w 1780"/>
                <a:gd name="T59" fmla="*/ 2 h 1789"/>
                <a:gd name="T60" fmla="*/ 1025 w 1780"/>
                <a:gd name="T61" fmla="*/ 77 h 1789"/>
                <a:gd name="T62" fmla="*/ 1188 w 1780"/>
                <a:gd name="T63" fmla="*/ 217 h 1789"/>
                <a:gd name="T64" fmla="*/ 1325 w 1780"/>
                <a:gd name="T65" fmla="*/ 136 h 1789"/>
                <a:gd name="T66" fmla="*/ 1525 w 1780"/>
                <a:gd name="T67" fmla="*/ 267 h 1789"/>
                <a:gd name="T68" fmla="*/ 1568 w 1780"/>
                <a:gd name="T69" fmla="*/ 385 h 1789"/>
                <a:gd name="T70" fmla="*/ 1552 w 1780"/>
                <a:gd name="T71" fmla="*/ 576 h 1789"/>
                <a:gd name="T72" fmla="*/ 1718 w 1780"/>
                <a:gd name="T73" fmla="*/ 648 h 1789"/>
                <a:gd name="T74" fmla="*/ 1780 w 1780"/>
                <a:gd name="T75" fmla="*/ 894 h 1789"/>
                <a:gd name="T76" fmla="*/ 1728 w 1780"/>
                <a:gd name="T77" fmla="*/ 1009 h 1789"/>
                <a:gd name="T78" fmla="*/ 1580 w 1780"/>
                <a:gd name="T79" fmla="*/ 1135 h 1789"/>
                <a:gd name="T80" fmla="*/ 1649 w 1780"/>
                <a:gd name="T81" fmla="*/ 1309 h 1789"/>
                <a:gd name="T82" fmla="*/ 1520 w 1780"/>
                <a:gd name="T83" fmla="*/ 1526 h 1789"/>
                <a:gd name="T84" fmla="*/ 1423 w 1780"/>
                <a:gd name="T85" fmla="*/ 1571 h 1789"/>
                <a:gd name="T86" fmla="*/ 1285 w 1780"/>
                <a:gd name="T87" fmla="*/ 1505 h 1789"/>
                <a:gd name="T88" fmla="*/ 1150 w 1780"/>
                <a:gd name="T89" fmla="*/ 1680 h 1789"/>
                <a:gd name="T90" fmla="*/ 1065 w 1780"/>
                <a:gd name="T91" fmla="*/ 1771 h 1789"/>
                <a:gd name="T92" fmla="*/ 823 w 1780"/>
                <a:gd name="T93" fmla="*/ 1779 h 1789"/>
                <a:gd name="T94" fmla="*/ 748 w 1780"/>
                <a:gd name="T95" fmla="*/ 1688 h 1789"/>
                <a:gd name="T96" fmla="*/ 523 w 1780"/>
                <a:gd name="T97" fmla="*/ 1633 h 1789"/>
                <a:gd name="T98" fmla="*/ 412 w 1780"/>
                <a:gd name="T99" fmla="*/ 1645 h 1789"/>
                <a:gd name="T100" fmla="*/ 223 w 1780"/>
                <a:gd name="T101" fmla="*/ 1480 h 1789"/>
                <a:gd name="T102" fmla="*/ 232 w 1780"/>
                <a:gd name="T103" fmla="*/ 1355 h 1789"/>
                <a:gd name="T104" fmla="*/ 109 w 1780"/>
                <a:gd name="T105" fmla="*/ 1164 h 1789"/>
                <a:gd name="T106" fmla="*/ 18 w 1780"/>
                <a:gd name="T107" fmla="*/ 1077 h 1789"/>
                <a:gd name="T108" fmla="*/ 17 w 1780"/>
                <a:gd name="T109" fmla="*/ 819 h 1789"/>
                <a:gd name="T110" fmla="*/ 177 w 1780"/>
                <a:gd name="T111" fmla="*/ 744 h 1789"/>
                <a:gd name="T112" fmla="*/ 136 w 1780"/>
                <a:gd name="T113" fmla="*/ 506 h 1789"/>
                <a:gd name="T114" fmla="*/ 160 w 1780"/>
                <a:gd name="T115" fmla="*/ 383 h 1789"/>
                <a:gd name="T116" fmla="*/ 335 w 1780"/>
                <a:gd name="T117" fmla="*/ 219 h 1789"/>
                <a:gd name="T118" fmla="*/ 487 w 1780"/>
                <a:gd name="T119" fmla="*/ 279 h 1789"/>
                <a:gd name="T120" fmla="*/ 630 w 1780"/>
                <a:gd name="T121" fmla="*/ 109 h 1789"/>
                <a:gd name="T122" fmla="*/ 715 w 1780"/>
                <a:gd name="T123" fmla="*/ 18 h 1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0" h="1789">
                  <a:moveTo>
                    <a:pt x="902" y="64"/>
                  </a:moveTo>
                  <a:lnTo>
                    <a:pt x="747" y="77"/>
                  </a:lnTo>
                  <a:lnTo>
                    <a:pt x="729" y="82"/>
                  </a:lnTo>
                  <a:lnTo>
                    <a:pt x="714" y="91"/>
                  </a:lnTo>
                  <a:lnTo>
                    <a:pt x="702" y="103"/>
                  </a:lnTo>
                  <a:lnTo>
                    <a:pt x="693" y="120"/>
                  </a:lnTo>
                  <a:lnTo>
                    <a:pt x="690" y="138"/>
                  </a:lnTo>
                  <a:lnTo>
                    <a:pt x="686" y="252"/>
                  </a:lnTo>
                  <a:lnTo>
                    <a:pt x="666" y="260"/>
                  </a:lnTo>
                  <a:lnTo>
                    <a:pt x="609" y="282"/>
                  </a:lnTo>
                  <a:lnTo>
                    <a:pt x="556" y="311"/>
                  </a:lnTo>
                  <a:lnTo>
                    <a:pt x="506" y="344"/>
                  </a:lnTo>
                  <a:lnTo>
                    <a:pt x="488" y="357"/>
                  </a:lnTo>
                  <a:lnTo>
                    <a:pt x="391" y="292"/>
                  </a:lnTo>
                  <a:lnTo>
                    <a:pt x="374" y="285"/>
                  </a:lnTo>
                  <a:lnTo>
                    <a:pt x="357" y="281"/>
                  </a:lnTo>
                  <a:lnTo>
                    <a:pt x="338" y="285"/>
                  </a:lnTo>
                  <a:lnTo>
                    <a:pt x="323" y="292"/>
                  </a:lnTo>
                  <a:lnTo>
                    <a:pt x="309" y="304"/>
                  </a:lnTo>
                  <a:lnTo>
                    <a:pt x="209" y="424"/>
                  </a:lnTo>
                  <a:lnTo>
                    <a:pt x="199" y="440"/>
                  </a:lnTo>
                  <a:lnTo>
                    <a:pt x="195" y="457"/>
                  </a:lnTo>
                  <a:lnTo>
                    <a:pt x="195" y="475"/>
                  </a:lnTo>
                  <a:lnTo>
                    <a:pt x="200" y="492"/>
                  </a:lnTo>
                  <a:lnTo>
                    <a:pt x="211" y="507"/>
                  </a:lnTo>
                  <a:lnTo>
                    <a:pt x="294" y="597"/>
                  </a:lnTo>
                  <a:lnTo>
                    <a:pt x="285" y="617"/>
                  </a:lnTo>
                  <a:lnTo>
                    <a:pt x="265" y="668"/>
                  </a:lnTo>
                  <a:lnTo>
                    <a:pt x="249" y="721"/>
                  </a:lnTo>
                  <a:lnTo>
                    <a:pt x="237" y="777"/>
                  </a:lnTo>
                  <a:lnTo>
                    <a:pt x="234" y="799"/>
                  </a:lnTo>
                  <a:lnTo>
                    <a:pt x="113" y="823"/>
                  </a:lnTo>
                  <a:lnTo>
                    <a:pt x="97" y="829"/>
                  </a:lnTo>
                  <a:lnTo>
                    <a:pt x="82" y="840"/>
                  </a:lnTo>
                  <a:lnTo>
                    <a:pt x="72" y="855"/>
                  </a:lnTo>
                  <a:lnTo>
                    <a:pt x="65" y="871"/>
                  </a:lnTo>
                  <a:lnTo>
                    <a:pt x="64" y="890"/>
                  </a:lnTo>
                  <a:lnTo>
                    <a:pt x="77" y="1046"/>
                  </a:lnTo>
                  <a:lnTo>
                    <a:pt x="82" y="1063"/>
                  </a:lnTo>
                  <a:lnTo>
                    <a:pt x="90" y="1079"/>
                  </a:lnTo>
                  <a:lnTo>
                    <a:pt x="103" y="1091"/>
                  </a:lnTo>
                  <a:lnTo>
                    <a:pt x="119" y="1099"/>
                  </a:lnTo>
                  <a:lnTo>
                    <a:pt x="137" y="1102"/>
                  </a:lnTo>
                  <a:lnTo>
                    <a:pt x="264" y="1107"/>
                  </a:lnTo>
                  <a:lnTo>
                    <a:pt x="272" y="1128"/>
                  </a:lnTo>
                  <a:lnTo>
                    <a:pt x="293" y="1174"/>
                  </a:lnTo>
                  <a:lnTo>
                    <a:pt x="317" y="1220"/>
                  </a:lnTo>
                  <a:lnTo>
                    <a:pt x="344" y="1264"/>
                  </a:lnTo>
                  <a:lnTo>
                    <a:pt x="356" y="1283"/>
                  </a:lnTo>
                  <a:lnTo>
                    <a:pt x="285" y="1391"/>
                  </a:lnTo>
                  <a:lnTo>
                    <a:pt x="277" y="1407"/>
                  </a:lnTo>
                  <a:lnTo>
                    <a:pt x="274" y="1424"/>
                  </a:lnTo>
                  <a:lnTo>
                    <a:pt x="277" y="1442"/>
                  </a:lnTo>
                  <a:lnTo>
                    <a:pt x="284" y="1458"/>
                  </a:lnTo>
                  <a:lnTo>
                    <a:pt x="297" y="1472"/>
                  </a:lnTo>
                  <a:lnTo>
                    <a:pt x="416" y="1574"/>
                  </a:lnTo>
                  <a:lnTo>
                    <a:pt x="428" y="1582"/>
                  </a:lnTo>
                  <a:lnTo>
                    <a:pt x="442" y="1586"/>
                  </a:lnTo>
                  <a:lnTo>
                    <a:pt x="456" y="1588"/>
                  </a:lnTo>
                  <a:lnTo>
                    <a:pt x="471" y="1586"/>
                  </a:lnTo>
                  <a:lnTo>
                    <a:pt x="485" y="1581"/>
                  </a:lnTo>
                  <a:lnTo>
                    <a:pt x="498" y="1572"/>
                  </a:lnTo>
                  <a:lnTo>
                    <a:pt x="592" y="1483"/>
                  </a:lnTo>
                  <a:lnTo>
                    <a:pt x="611" y="1492"/>
                  </a:lnTo>
                  <a:lnTo>
                    <a:pt x="661" y="1513"/>
                  </a:lnTo>
                  <a:lnTo>
                    <a:pt x="713" y="1530"/>
                  </a:lnTo>
                  <a:lnTo>
                    <a:pt x="764" y="1542"/>
                  </a:lnTo>
                  <a:lnTo>
                    <a:pt x="785" y="1547"/>
                  </a:lnTo>
                  <a:lnTo>
                    <a:pt x="812" y="1674"/>
                  </a:lnTo>
                  <a:lnTo>
                    <a:pt x="817" y="1692"/>
                  </a:lnTo>
                  <a:lnTo>
                    <a:pt x="828" y="1706"/>
                  </a:lnTo>
                  <a:lnTo>
                    <a:pt x="842" y="1717"/>
                  </a:lnTo>
                  <a:lnTo>
                    <a:pt x="859" y="1724"/>
                  </a:lnTo>
                  <a:lnTo>
                    <a:pt x="878" y="1725"/>
                  </a:lnTo>
                  <a:lnTo>
                    <a:pt x="1032" y="1712"/>
                  </a:lnTo>
                  <a:lnTo>
                    <a:pt x="1051" y="1707"/>
                  </a:lnTo>
                  <a:lnTo>
                    <a:pt x="1066" y="1698"/>
                  </a:lnTo>
                  <a:lnTo>
                    <a:pt x="1078" y="1685"/>
                  </a:lnTo>
                  <a:lnTo>
                    <a:pt x="1087" y="1669"/>
                  </a:lnTo>
                  <a:lnTo>
                    <a:pt x="1090" y="1652"/>
                  </a:lnTo>
                  <a:lnTo>
                    <a:pt x="1094" y="1524"/>
                  </a:lnTo>
                  <a:lnTo>
                    <a:pt x="1115" y="1517"/>
                  </a:lnTo>
                  <a:lnTo>
                    <a:pt x="1167" y="1495"/>
                  </a:lnTo>
                  <a:lnTo>
                    <a:pt x="1218" y="1469"/>
                  </a:lnTo>
                  <a:lnTo>
                    <a:pt x="1267" y="1440"/>
                  </a:lnTo>
                  <a:lnTo>
                    <a:pt x="1285" y="1428"/>
                  </a:lnTo>
                  <a:lnTo>
                    <a:pt x="1389" y="1497"/>
                  </a:lnTo>
                  <a:lnTo>
                    <a:pt x="1406" y="1504"/>
                  </a:lnTo>
                  <a:lnTo>
                    <a:pt x="1423" y="1506"/>
                  </a:lnTo>
                  <a:lnTo>
                    <a:pt x="1423" y="1506"/>
                  </a:lnTo>
                  <a:lnTo>
                    <a:pt x="1441" y="1504"/>
                  </a:lnTo>
                  <a:lnTo>
                    <a:pt x="1458" y="1497"/>
                  </a:lnTo>
                  <a:lnTo>
                    <a:pt x="1471" y="1485"/>
                  </a:lnTo>
                  <a:lnTo>
                    <a:pt x="1571" y="1366"/>
                  </a:lnTo>
                  <a:lnTo>
                    <a:pt x="1581" y="1349"/>
                  </a:lnTo>
                  <a:lnTo>
                    <a:pt x="1586" y="1332"/>
                  </a:lnTo>
                  <a:lnTo>
                    <a:pt x="1585" y="1314"/>
                  </a:lnTo>
                  <a:lnTo>
                    <a:pt x="1580" y="1297"/>
                  </a:lnTo>
                  <a:lnTo>
                    <a:pt x="1569" y="1283"/>
                  </a:lnTo>
                  <a:lnTo>
                    <a:pt x="1485" y="1192"/>
                  </a:lnTo>
                  <a:lnTo>
                    <a:pt x="1495" y="1172"/>
                  </a:lnTo>
                  <a:lnTo>
                    <a:pt x="1516" y="1120"/>
                  </a:lnTo>
                  <a:lnTo>
                    <a:pt x="1534" y="1066"/>
                  </a:lnTo>
                  <a:lnTo>
                    <a:pt x="1546" y="1012"/>
                  </a:lnTo>
                  <a:lnTo>
                    <a:pt x="1550" y="990"/>
                  </a:lnTo>
                  <a:lnTo>
                    <a:pt x="1666" y="966"/>
                  </a:lnTo>
                  <a:lnTo>
                    <a:pt x="1683" y="959"/>
                  </a:lnTo>
                  <a:lnTo>
                    <a:pt x="1697" y="950"/>
                  </a:lnTo>
                  <a:lnTo>
                    <a:pt x="1708" y="935"/>
                  </a:lnTo>
                  <a:lnTo>
                    <a:pt x="1714" y="918"/>
                  </a:lnTo>
                  <a:lnTo>
                    <a:pt x="1716" y="899"/>
                  </a:lnTo>
                  <a:lnTo>
                    <a:pt x="1702" y="743"/>
                  </a:lnTo>
                  <a:lnTo>
                    <a:pt x="1698" y="726"/>
                  </a:lnTo>
                  <a:lnTo>
                    <a:pt x="1689" y="710"/>
                  </a:lnTo>
                  <a:lnTo>
                    <a:pt x="1676" y="698"/>
                  </a:lnTo>
                  <a:lnTo>
                    <a:pt x="1660" y="690"/>
                  </a:lnTo>
                  <a:lnTo>
                    <a:pt x="1643" y="686"/>
                  </a:lnTo>
                  <a:lnTo>
                    <a:pt x="1525" y="683"/>
                  </a:lnTo>
                  <a:lnTo>
                    <a:pt x="1519" y="662"/>
                  </a:lnTo>
                  <a:lnTo>
                    <a:pt x="1498" y="610"/>
                  </a:lnTo>
                  <a:lnTo>
                    <a:pt x="1472" y="561"/>
                  </a:lnTo>
                  <a:lnTo>
                    <a:pt x="1442" y="513"/>
                  </a:lnTo>
                  <a:lnTo>
                    <a:pt x="1431" y="495"/>
                  </a:lnTo>
                  <a:lnTo>
                    <a:pt x="1495" y="399"/>
                  </a:lnTo>
                  <a:lnTo>
                    <a:pt x="1502" y="382"/>
                  </a:lnTo>
                  <a:lnTo>
                    <a:pt x="1506" y="364"/>
                  </a:lnTo>
                  <a:lnTo>
                    <a:pt x="1503" y="347"/>
                  </a:lnTo>
                  <a:lnTo>
                    <a:pt x="1496" y="331"/>
                  </a:lnTo>
                  <a:lnTo>
                    <a:pt x="1484" y="316"/>
                  </a:lnTo>
                  <a:lnTo>
                    <a:pt x="1364" y="216"/>
                  </a:lnTo>
                  <a:lnTo>
                    <a:pt x="1352" y="207"/>
                  </a:lnTo>
                  <a:lnTo>
                    <a:pt x="1339" y="203"/>
                  </a:lnTo>
                  <a:lnTo>
                    <a:pt x="1325" y="201"/>
                  </a:lnTo>
                  <a:lnTo>
                    <a:pt x="1309" y="203"/>
                  </a:lnTo>
                  <a:lnTo>
                    <a:pt x="1295" y="208"/>
                  </a:lnTo>
                  <a:lnTo>
                    <a:pt x="1281" y="218"/>
                  </a:lnTo>
                  <a:lnTo>
                    <a:pt x="1200" y="295"/>
                  </a:lnTo>
                  <a:lnTo>
                    <a:pt x="1180" y="285"/>
                  </a:lnTo>
                  <a:lnTo>
                    <a:pt x="1127" y="262"/>
                  </a:lnTo>
                  <a:lnTo>
                    <a:pt x="1070" y="244"/>
                  </a:lnTo>
                  <a:lnTo>
                    <a:pt x="1013" y="231"/>
                  </a:lnTo>
                  <a:lnTo>
                    <a:pt x="992" y="227"/>
                  </a:lnTo>
                  <a:lnTo>
                    <a:pt x="969" y="114"/>
                  </a:lnTo>
                  <a:lnTo>
                    <a:pt x="963" y="97"/>
                  </a:lnTo>
                  <a:lnTo>
                    <a:pt x="952" y="83"/>
                  </a:lnTo>
                  <a:lnTo>
                    <a:pt x="938" y="72"/>
                  </a:lnTo>
                  <a:lnTo>
                    <a:pt x="920" y="65"/>
                  </a:lnTo>
                  <a:lnTo>
                    <a:pt x="902" y="64"/>
                  </a:lnTo>
                  <a:close/>
                  <a:moveTo>
                    <a:pt x="907" y="0"/>
                  </a:moveTo>
                  <a:lnTo>
                    <a:pt x="932" y="2"/>
                  </a:lnTo>
                  <a:lnTo>
                    <a:pt x="956" y="10"/>
                  </a:lnTo>
                  <a:lnTo>
                    <a:pt x="978" y="22"/>
                  </a:lnTo>
                  <a:lnTo>
                    <a:pt x="996" y="37"/>
                  </a:lnTo>
                  <a:lnTo>
                    <a:pt x="1013" y="55"/>
                  </a:lnTo>
                  <a:lnTo>
                    <a:pt x="1025" y="77"/>
                  </a:lnTo>
                  <a:lnTo>
                    <a:pt x="1031" y="101"/>
                  </a:lnTo>
                  <a:lnTo>
                    <a:pt x="1047" y="171"/>
                  </a:lnTo>
                  <a:lnTo>
                    <a:pt x="1094" y="183"/>
                  </a:lnTo>
                  <a:lnTo>
                    <a:pt x="1142" y="198"/>
                  </a:lnTo>
                  <a:lnTo>
                    <a:pt x="1188" y="217"/>
                  </a:lnTo>
                  <a:lnTo>
                    <a:pt x="1238" y="170"/>
                  </a:lnTo>
                  <a:lnTo>
                    <a:pt x="1256" y="156"/>
                  </a:lnTo>
                  <a:lnTo>
                    <a:pt x="1278" y="145"/>
                  </a:lnTo>
                  <a:lnTo>
                    <a:pt x="1301" y="138"/>
                  </a:lnTo>
                  <a:lnTo>
                    <a:pt x="1325" y="136"/>
                  </a:lnTo>
                  <a:lnTo>
                    <a:pt x="1347" y="138"/>
                  </a:lnTo>
                  <a:lnTo>
                    <a:pt x="1367" y="144"/>
                  </a:lnTo>
                  <a:lnTo>
                    <a:pt x="1388" y="154"/>
                  </a:lnTo>
                  <a:lnTo>
                    <a:pt x="1407" y="166"/>
                  </a:lnTo>
                  <a:lnTo>
                    <a:pt x="1525" y="267"/>
                  </a:lnTo>
                  <a:lnTo>
                    <a:pt x="1544" y="287"/>
                  </a:lnTo>
                  <a:lnTo>
                    <a:pt x="1558" y="309"/>
                  </a:lnTo>
                  <a:lnTo>
                    <a:pt x="1567" y="334"/>
                  </a:lnTo>
                  <a:lnTo>
                    <a:pt x="1570" y="359"/>
                  </a:lnTo>
                  <a:lnTo>
                    <a:pt x="1568" y="385"/>
                  </a:lnTo>
                  <a:lnTo>
                    <a:pt x="1561" y="411"/>
                  </a:lnTo>
                  <a:lnTo>
                    <a:pt x="1548" y="435"/>
                  </a:lnTo>
                  <a:lnTo>
                    <a:pt x="1508" y="495"/>
                  </a:lnTo>
                  <a:lnTo>
                    <a:pt x="1532" y="535"/>
                  </a:lnTo>
                  <a:lnTo>
                    <a:pt x="1552" y="576"/>
                  </a:lnTo>
                  <a:lnTo>
                    <a:pt x="1571" y="620"/>
                  </a:lnTo>
                  <a:lnTo>
                    <a:pt x="1645" y="622"/>
                  </a:lnTo>
                  <a:lnTo>
                    <a:pt x="1671" y="625"/>
                  </a:lnTo>
                  <a:lnTo>
                    <a:pt x="1696" y="635"/>
                  </a:lnTo>
                  <a:lnTo>
                    <a:pt x="1718" y="648"/>
                  </a:lnTo>
                  <a:lnTo>
                    <a:pt x="1736" y="666"/>
                  </a:lnTo>
                  <a:lnTo>
                    <a:pt x="1751" y="688"/>
                  </a:lnTo>
                  <a:lnTo>
                    <a:pt x="1761" y="712"/>
                  </a:lnTo>
                  <a:lnTo>
                    <a:pt x="1767" y="738"/>
                  </a:lnTo>
                  <a:lnTo>
                    <a:pt x="1780" y="894"/>
                  </a:lnTo>
                  <a:lnTo>
                    <a:pt x="1779" y="921"/>
                  </a:lnTo>
                  <a:lnTo>
                    <a:pt x="1773" y="947"/>
                  </a:lnTo>
                  <a:lnTo>
                    <a:pt x="1762" y="970"/>
                  </a:lnTo>
                  <a:lnTo>
                    <a:pt x="1746" y="991"/>
                  </a:lnTo>
                  <a:lnTo>
                    <a:pt x="1728" y="1009"/>
                  </a:lnTo>
                  <a:lnTo>
                    <a:pt x="1705" y="1022"/>
                  </a:lnTo>
                  <a:lnTo>
                    <a:pt x="1679" y="1029"/>
                  </a:lnTo>
                  <a:lnTo>
                    <a:pt x="1605" y="1045"/>
                  </a:lnTo>
                  <a:lnTo>
                    <a:pt x="1594" y="1090"/>
                  </a:lnTo>
                  <a:lnTo>
                    <a:pt x="1580" y="1135"/>
                  </a:lnTo>
                  <a:lnTo>
                    <a:pt x="1561" y="1180"/>
                  </a:lnTo>
                  <a:lnTo>
                    <a:pt x="1615" y="1238"/>
                  </a:lnTo>
                  <a:lnTo>
                    <a:pt x="1632" y="1260"/>
                  </a:lnTo>
                  <a:lnTo>
                    <a:pt x="1644" y="1283"/>
                  </a:lnTo>
                  <a:lnTo>
                    <a:pt x="1649" y="1309"/>
                  </a:lnTo>
                  <a:lnTo>
                    <a:pt x="1650" y="1334"/>
                  </a:lnTo>
                  <a:lnTo>
                    <a:pt x="1646" y="1360"/>
                  </a:lnTo>
                  <a:lnTo>
                    <a:pt x="1635" y="1384"/>
                  </a:lnTo>
                  <a:lnTo>
                    <a:pt x="1621" y="1407"/>
                  </a:lnTo>
                  <a:lnTo>
                    <a:pt x="1520" y="1526"/>
                  </a:lnTo>
                  <a:lnTo>
                    <a:pt x="1505" y="1541"/>
                  </a:lnTo>
                  <a:lnTo>
                    <a:pt x="1486" y="1554"/>
                  </a:lnTo>
                  <a:lnTo>
                    <a:pt x="1466" y="1563"/>
                  </a:lnTo>
                  <a:lnTo>
                    <a:pt x="1446" y="1570"/>
                  </a:lnTo>
                  <a:lnTo>
                    <a:pt x="1423" y="1571"/>
                  </a:lnTo>
                  <a:lnTo>
                    <a:pt x="1423" y="1571"/>
                  </a:lnTo>
                  <a:lnTo>
                    <a:pt x="1399" y="1569"/>
                  </a:lnTo>
                  <a:lnTo>
                    <a:pt x="1375" y="1562"/>
                  </a:lnTo>
                  <a:lnTo>
                    <a:pt x="1353" y="1550"/>
                  </a:lnTo>
                  <a:lnTo>
                    <a:pt x="1285" y="1505"/>
                  </a:lnTo>
                  <a:lnTo>
                    <a:pt x="1243" y="1529"/>
                  </a:lnTo>
                  <a:lnTo>
                    <a:pt x="1201" y="1551"/>
                  </a:lnTo>
                  <a:lnTo>
                    <a:pt x="1156" y="1570"/>
                  </a:lnTo>
                  <a:lnTo>
                    <a:pt x="1154" y="1653"/>
                  </a:lnTo>
                  <a:lnTo>
                    <a:pt x="1150" y="1680"/>
                  </a:lnTo>
                  <a:lnTo>
                    <a:pt x="1141" y="1704"/>
                  </a:lnTo>
                  <a:lnTo>
                    <a:pt x="1128" y="1727"/>
                  </a:lnTo>
                  <a:lnTo>
                    <a:pt x="1110" y="1745"/>
                  </a:lnTo>
                  <a:lnTo>
                    <a:pt x="1089" y="1760"/>
                  </a:lnTo>
                  <a:lnTo>
                    <a:pt x="1065" y="1771"/>
                  </a:lnTo>
                  <a:lnTo>
                    <a:pt x="1038" y="1776"/>
                  </a:lnTo>
                  <a:lnTo>
                    <a:pt x="883" y="1789"/>
                  </a:lnTo>
                  <a:lnTo>
                    <a:pt x="872" y="1789"/>
                  </a:lnTo>
                  <a:lnTo>
                    <a:pt x="847" y="1787"/>
                  </a:lnTo>
                  <a:lnTo>
                    <a:pt x="823" y="1779"/>
                  </a:lnTo>
                  <a:lnTo>
                    <a:pt x="802" y="1767"/>
                  </a:lnTo>
                  <a:lnTo>
                    <a:pt x="783" y="1752"/>
                  </a:lnTo>
                  <a:lnTo>
                    <a:pt x="767" y="1733"/>
                  </a:lnTo>
                  <a:lnTo>
                    <a:pt x="755" y="1712"/>
                  </a:lnTo>
                  <a:lnTo>
                    <a:pt x="748" y="1688"/>
                  </a:lnTo>
                  <a:lnTo>
                    <a:pt x="731" y="1601"/>
                  </a:lnTo>
                  <a:lnTo>
                    <a:pt x="667" y="1584"/>
                  </a:lnTo>
                  <a:lnTo>
                    <a:pt x="605" y="1560"/>
                  </a:lnTo>
                  <a:lnTo>
                    <a:pt x="542" y="1619"/>
                  </a:lnTo>
                  <a:lnTo>
                    <a:pt x="523" y="1633"/>
                  </a:lnTo>
                  <a:lnTo>
                    <a:pt x="503" y="1644"/>
                  </a:lnTo>
                  <a:lnTo>
                    <a:pt x="480" y="1650"/>
                  </a:lnTo>
                  <a:lnTo>
                    <a:pt x="456" y="1653"/>
                  </a:lnTo>
                  <a:lnTo>
                    <a:pt x="434" y="1650"/>
                  </a:lnTo>
                  <a:lnTo>
                    <a:pt x="412" y="1645"/>
                  </a:lnTo>
                  <a:lnTo>
                    <a:pt x="393" y="1635"/>
                  </a:lnTo>
                  <a:lnTo>
                    <a:pt x="374" y="1623"/>
                  </a:lnTo>
                  <a:lnTo>
                    <a:pt x="255" y="1522"/>
                  </a:lnTo>
                  <a:lnTo>
                    <a:pt x="236" y="1502"/>
                  </a:lnTo>
                  <a:lnTo>
                    <a:pt x="223" y="1480"/>
                  </a:lnTo>
                  <a:lnTo>
                    <a:pt x="214" y="1456"/>
                  </a:lnTo>
                  <a:lnTo>
                    <a:pt x="210" y="1430"/>
                  </a:lnTo>
                  <a:lnTo>
                    <a:pt x="212" y="1404"/>
                  </a:lnTo>
                  <a:lnTo>
                    <a:pt x="219" y="1379"/>
                  </a:lnTo>
                  <a:lnTo>
                    <a:pt x="232" y="1355"/>
                  </a:lnTo>
                  <a:lnTo>
                    <a:pt x="278" y="1283"/>
                  </a:lnTo>
                  <a:lnTo>
                    <a:pt x="247" y="1227"/>
                  </a:lnTo>
                  <a:lnTo>
                    <a:pt x="220" y="1170"/>
                  </a:lnTo>
                  <a:lnTo>
                    <a:pt x="135" y="1167"/>
                  </a:lnTo>
                  <a:lnTo>
                    <a:pt x="109" y="1164"/>
                  </a:lnTo>
                  <a:lnTo>
                    <a:pt x="84" y="1155"/>
                  </a:lnTo>
                  <a:lnTo>
                    <a:pt x="62" y="1141"/>
                  </a:lnTo>
                  <a:lnTo>
                    <a:pt x="43" y="1123"/>
                  </a:lnTo>
                  <a:lnTo>
                    <a:pt x="28" y="1102"/>
                  </a:lnTo>
                  <a:lnTo>
                    <a:pt x="18" y="1077"/>
                  </a:lnTo>
                  <a:lnTo>
                    <a:pt x="13" y="1051"/>
                  </a:lnTo>
                  <a:lnTo>
                    <a:pt x="0" y="895"/>
                  </a:lnTo>
                  <a:lnTo>
                    <a:pt x="0" y="868"/>
                  </a:lnTo>
                  <a:lnTo>
                    <a:pt x="6" y="843"/>
                  </a:lnTo>
                  <a:lnTo>
                    <a:pt x="17" y="819"/>
                  </a:lnTo>
                  <a:lnTo>
                    <a:pt x="33" y="798"/>
                  </a:lnTo>
                  <a:lnTo>
                    <a:pt x="52" y="781"/>
                  </a:lnTo>
                  <a:lnTo>
                    <a:pt x="75" y="768"/>
                  </a:lnTo>
                  <a:lnTo>
                    <a:pt x="101" y="760"/>
                  </a:lnTo>
                  <a:lnTo>
                    <a:pt x="177" y="744"/>
                  </a:lnTo>
                  <a:lnTo>
                    <a:pt x="195" y="676"/>
                  </a:lnTo>
                  <a:lnTo>
                    <a:pt x="219" y="610"/>
                  </a:lnTo>
                  <a:lnTo>
                    <a:pt x="164" y="551"/>
                  </a:lnTo>
                  <a:lnTo>
                    <a:pt x="148" y="530"/>
                  </a:lnTo>
                  <a:lnTo>
                    <a:pt x="136" y="506"/>
                  </a:lnTo>
                  <a:lnTo>
                    <a:pt x="131" y="481"/>
                  </a:lnTo>
                  <a:lnTo>
                    <a:pt x="129" y="455"/>
                  </a:lnTo>
                  <a:lnTo>
                    <a:pt x="135" y="430"/>
                  </a:lnTo>
                  <a:lnTo>
                    <a:pt x="145" y="405"/>
                  </a:lnTo>
                  <a:lnTo>
                    <a:pt x="160" y="383"/>
                  </a:lnTo>
                  <a:lnTo>
                    <a:pt x="260" y="263"/>
                  </a:lnTo>
                  <a:lnTo>
                    <a:pt x="275" y="246"/>
                  </a:lnTo>
                  <a:lnTo>
                    <a:pt x="294" y="234"/>
                  </a:lnTo>
                  <a:lnTo>
                    <a:pt x="313" y="225"/>
                  </a:lnTo>
                  <a:lnTo>
                    <a:pt x="335" y="219"/>
                  </a:lnTo>
                  <a:lnTo>
                    <a:pt x="357" y="217"/>
                  </a:lnTo>
                  <a:lnTo>
                    <a:pt x="381" y="220"/>
                  </a:lnTo>
                  <a:lnTo>
                    <a:pt x="405" y="227"/>
                  </a:lnTo>
                  <a:lnTo>
                    <a:pt x="426" y="239"/>
                  </a:lnTo>
                  <a:lnTo>
                    <a:pt x="487" y="279"/>
                  </a:lnTo>
                  <a:lnTo>
                    <a:pt x="531" y="252"/>
                  </a:lnTo>
                  <a:lnTo>
                    <a:pt x="577" y="228"/>
                  </a:lnTo>
                  <a:lnTo>
                    <a:pt x="623" y="207"/>
                  </a:lnTo>
                  <a:lnTo>
                    <a:pt x="625" y="136"/>
                  </a:lnTo>
                  <a:lnTo>
                    <a:pt x="630" y="109"/>
                  </a:lnTo>
                  <a:lnTo>
                    <a:pt x="639" y="85"/>
                  </a:lnTo>
                  <a:lnTo>
                    <a:pt x="652" y="62"/>
                  </a:lnTo>
                  <a:lnTo>
                    <a:pt x="670" y="43"/>
                  </a:lnTo>
                  <a:lnTo>
                    <a:pt x="691" y="29"/>
                  </a:lnTo>
                  <a:lnTo>
                    <a:pt x="715" y="18"/>
                  </a:lnTo>
                  <a:lnTo>
                    <a:pt x="742" y="13"/>
                  </a:lnTo>
                  <a:lnTo>
                    <a:pt x="897" y="0"/>
                  </a:lnTo>
                  <a:lnTo>
                    <a:pt x="902" y="0"/>
                  </a:lnTo>
                  <a:lnTo>
                    <a:pt x="9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xmlns="" id="{2AA29743-2073-4FCA-B4FC-E1532A8E9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6" y="1530"/>
              <a:ext cx="68" cy="68"/>
            </a:xfrm>
            <a:custGeom>
              <a:avLst/>
              <a:gdLst>
                <a:gd name="T0" fmla="*/ 314 w 674"/>
                <a:gd name="T1" fmla="*/ 65 h 677"/>
                <a:gd name="T2" fmla="*/ 245 w 674"/>
                <a:gd name="T3" fmla="*/ 81 h 677"/>
                <a:gd name="T4" fmla="*/ 182 w 674"/>
                <a:gd name="T5" fmla="*/ 113 h 677"/>
                <a:gd name="T6" fmla="*/ 128 w 674"/>
                <a:gd name="T7" fmla="*/ 161 h 677"/>
                <a:gd name="T8" fmla="*/ 90 w 674"/>
                <a:gd name="T9" fmla="*/ 223 h 677"/>
                <a:gd name="T10" fmla="*/ 68 w 674"/>
                <a:gd name="T11" fmla="*/ 289 h 677"/>
                <a:gd name="T12" fmla="*/ 65 w 674"/>
                <a:gd name="T13" fmla="*/ 361 h 677"/>
                <a:gd name="T14" fmla="*/ 85 w 674"/>
                <a:gd name="T15" fmla="*/ 442 h 677"/>
                <a:gd name="T16" fmla="*/ 125 w 674"/>
                <a:gd name="T17" fmla="*/ 511 h 677"/>
                <a:gd name="T18" fmla="*/ 184 w 674"/>
                <a:gd name="T19" fmla="*/ 564 h 677"/>
                <a:gd name="T20" fmla="*/ 256 w 674"/>
                <a:gd name="T21" fmla="*/ 600 h 677"/>
                <a:gd name="T22" fmla="*/ 337 w 674"/>
                <a:gd name="T23" fmla="*/ 612 h 677"/>
                <a:gd name="T24" fmla="*/ 396 w 674"/>
                <a:gd name="T25" fmla="*/ 606 h 677"/>
                <a:gd name="T26" fmla="*/ 462 w 674"/>
                <a:gd name="T27" fmla="*/ 582 h 677"/>
                <a:gd name="T28" fmla="*/ 521 w 674"/>
                <a:gd name="T29" fmla="*/ 541 h 677"/>
                <a:gd name="T30" fmla="*/ 568 w 674"/>
                <a:gd name="T31" fmla="*/ 486 h 677"/>
                <a:gd name="T32" fmla="*/ 598 w 674"/>
                <a:gd name="T33" fmla="*/ 421 h 677"/>
                <a:gd name="T34" fmla="*/ 610 w 674"/>
                <a:gd name="T35" fmla="*/ 351 h 677"/>
                <a:gd name="T36" fmla="*/ 603 w 674"/>
                <a:gd name="T37" fmla="*/ 274 h 677"/>
                <a:gd name="T38" fmla="*/ 572 w 674"/>
                <a:gd name="T39" fmla="*/ 199 h 677"/>
                <a:gd name="T40" fmla="*/ 522 w 674"/>
                <a:gd name="T41" fmla="*/ 137 h 677"/>
                <a:gd name="T42" fmla="*/ 457 w 674"/>
                <a:gd name="T43" fmla="*/ 92 h 677"/>
                <a:gd name="T44" fmla="*/ 380 w 674"/>
                <a:gd name="T45" fmla="*/ 68 h 677"/>
                <a:gd name="T46" fmla="*/ 338 w 674"/>
                <a:gd name="T47" fmla="*/ 0 h 677"/>
                <a:gd name="T48" fmla="*/ 430 w 674"/>
                <a:gd name="T49" fmla="*/ 13 h 677"/>
                <a:gd name="T50" fmla="*/ 512 w 674"/>
                <a:gd name="T51" fmla="*/ 49 h 677"/>
                <a:gd name="T52" fmla="*/ 582 w 674"/>
                <a:gd name="T53" fmla="*/ 106 h 677"/>
                <a:gd name="T54" fmla="*/ 634 w 674"/>
                <a:gd name="T55" fmla="*/ 178 h 677"/>
                <a:gd name="T56" fmla="*/ 667 w 674"/>
                <a:gd name="T57" fmla="*/ 263 h 677"/>
                <a:gd name="T58" fmla="*/ 674 w 674"/>
                <a:gd name="T59" fmla="*/ 355 h 677"/>
                <a:gd name="T60" fmla="*/ 659 w 674"/>
                <a:gd name="T61" fmla="*/ 441 h 677"/>
                <a:gd name="T62" fmla="*/ 622 w 674"/>
                <a:gd name="T63" fmla="*/ 521 h 677"/>
                <a:gd name="T64" fmla="*/ 564 w 674"/>
                <a:gd name="T65" fmla="*/ 589 h 677"/>
                <a:gd name="T66" fmla="*/ 493 w 674"/>
                <a:gd name="T67" fmla="*/ 640 h 677"/>
                <a:gd name="T68" fmla="*/ 410 w 674"/>
                <a:gd name="T69" fmla="*/ 669 h 677"/>
                <a:gd name="T70" fmla="*/ 337 w 674"/>
                <a:gd name="T71" fmla="*/ 677 h 677"/>
                <a:gd name="T72" fmla="*/ 246 w 674"/>
                <a:gd name="T73" fmla="*/ 664 h 677"/>
                <a:gd name="T74" fmla="*/ 163 w 674"/>
                <a:gd name="T75" fmla="*/ 628 h 677"/>
                <a:gd name="T76" fmla="*/ 93 w 674"/>
                <a:gd name="T77" fmla="*/ 572 h 677"/>
                <a:gd name="T78" fmla="*/ 40 w 674"/>
                <a:gd name="T79" fmla="*/ 499 h 677"/>
                <a:gd name="T80" fmla="*/ 9 w 674"/>
                <a:gd name="T81" fmla="*/ 414 h 677"/>
                <a:gd name="T82" fmla="*/ 0 w 674"/>
                <a:gd name="T83" fmla="*/ 322 h 677"/>
                <a:gd name="T84" fmla="*/ 15 w 674"/>
                <a:gd name="T85" fmla="*/ 236 h 677"/>
                <a:gd name="T86" fmla="*/ 53 w 674"/>
                <a:gd name="T87" fmla="*/ 156 h 677"/>
                <a:gd name="T88" fmla="*/ 111 w 674"/>
                <a:gd name="T89" fmla="*/ 87 h 677"/>
                <a:gd name="T90" fmla="*/ 183 w 674"/>
                <a:gd name="T91" fmla="*/ 37 h 677"/>
                <a:gd name="T92" fmla="*/ 265 w 674"/>
                <a:gd name="T93" fmla="*/ 8 h 677"/>
                <a:gd name="T94" fmla="*/ 338 w 674"/>
                <a:gd name="T95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74" h="677">
                  <a:moveTo>
                    <a:pt x="338" y="64"/>
                  </a:moveTo>
                  <a:lnTo>
                    <a:pt x="314" y="65"/>
                  </a:lnTo>
                  <a:lnTo>
                    <a:pt x="278" y="71"/>
                  </a:lnTo>
                  <a:lnTo>
                    <a:pt x="245" y="81"/>
                  </a:lnTo>
                  <a:lnTo>
                    <a:pt x="212" y="95"/>
                  </a:lnTo>
                  <a:lnTo>
                    <a:pt x="182" y="113"/>
                  </a:lnTo>
                  <a:lnTo>
                    <a:pt x="153" y="135"/>
                  </a:lnTo>
                  <a:lnTo>
                    <a:pt x="128" y="161"/>
                  </a:lnTo>
                  <a:lnTo>
                    <a:pt x="108" y="191"/>
                  </a:lnTo>
                  <a:lnTo>
                    <a:pt x="90" y="223"/>
                  </a:lnTo>
                  <a:lnTo>
                    <a:pt x="77" y="255"/>
                  </a:lnTo>
                  <a:lnTo>
                    <a:pt x="68" y="289"/>
                  </a:lnTo>
                  <a:lnTo>
                    <a:pt x="64" y="325"/>
                  </a:lnTo>
                  <a:lnTo>
                    <a:pt x="65" y="361"/>
                  </a:lnTo>
                  <a:lnTo>
                    <a:pt x="72" y="403"/>
                  </a:lnTo>
                  <a:lnTo>
                    <a:pt x="85" y="442"/>
                  </a:lnTo>
                  <a:lnTo>
                    <a:pt x="102" y="478"/>
                  </a:lnTo>
                  <a:lnTo>
                    <a:pt x="125" y="511"/>
                  </a:lnTo>
                  <a:lnTo>
                    <a:pt x="152" y="540"/>
                  </a:lnTo>
                  <a:lnTo>
                    <a:pt x="184" y="564"/>
                  </a:lnTo>
                  <a:lnTo>
                    <a:pt x="219" y="585"/>
                  </a:lnTo>
                  <a:lnTo>
                    <a:pt x="256" y="600"/>
                  </a:lnTo>
                  <a:lnTo>
                    <a:pt x="296" y="609"/>
                  </a:lnTo>
                  <a:lnTo>
                    <a:pt x="337" y="612"/>
                  </a:lnTo>
                  <a:lnTo>
                    <a:pt x="360" y="611"/>
                  </a:lnTo>
                  <a:lnTo>
                    <a:pt x="396" y="606"/>
                  </a:lnTo>
                  <a:lnTo>
                    <a:pt x="431" y="596"/>
                  </a:lnTo>
                  <a:lnTo>
                    <a:pt x="462" y="582"/>
                  </a:lnTo>
                  <a:lnTo>
                    <a:pt x="493" y="564"/>
                  </a:lnTo>
                  <a:lnTo>
                    <a:pt x="521" y="541"/>
                  </a:lnTo>
                  <a:lnTo>
                    <a:pt x="546" y="515"/>
                  </a:lnTo>
                  <a:lnTo>
                    <a:pt x="568" y="486"/>
                  </a:lnTo>
                  <a:lnTo>
                    <a:pt x="585" y="455"/>
                  </a:lnTo>
                  <a:lnTo>
                    <a:pt x="598" y="421"/>
                  </a:lnTo>
                  <a:lnTo>
                    <a:pt x="606" y="387"/>
                  </a:lnTo>
                  <a:lnTo>
                    <a:pt x="610" y="351"/>
                  </a:lnTo>
                  <a:lnTo>
                    <a:pt x="609" y="315"/>
                  </a:lnTo>
                  <a:lnTo>
                    <a:pt x="603" y="274"/>
                  </a:lnTo>
                  <a:lnTo>
                    <a:pt x="591" y="236"/>
                  </a:lnTo>
                  <a:lnTo>
                    <a:pt x="572" y="199"/>
                  </a:lnTo>
                  <a:lnTo>
                    <a:pt x="549" y="166"/>
                  </a:lnTo>
                  <a:lnTo>
                    <a:pt x="522" y="137"/>
                  </a:lnTo>
                  <a:lnTo>
                    <a:pt x="491" y="112"/>
                  </a:lnTo>
                  <a:lnTo>
                    <a:pt x="457" y="92"/>
                  </a:lnTo>
                  <a:lnTo>
                    <a:pt x="419" y="77"/>
                  </a:lnTo>
                  <a:lnTo>
                    <a:pt x="380" y="68"/>
                  </a:lnTo>
                  <a:lnTo>
                    <a:pt x="338" y="64"/>
                  </a:lnTo>
                  <a:close/>
                  <a:moveTo>
                    <a:pt x="338" y="0"/>
                  </a:moveTo>
                  <a:lnTo>
                    <a:pt x="385" y="3"/>
                  </a:lnTo>
                  <a:lnTo>
                    <a:pt x="430" y="13"/>
                  </a:lnTo>
                  <a:lnTo>
                    <a:pt x="472" y="28"/>
                  </a:lnTo>
                  <a:lnTo>
                    <a:pt x="512" y="49"/>
                  </a:lnTo>
                  <a:lnTo>
                    <a:pt x="548" y="75"/>
                  </a:lnTo>
                  <a:lnTo>
                    <a:pt x="582" y="106"/>
                  </a:lnTo>
                  <a:lnTo>
                    <a:pt x="610" y="140"/>
                  </a:lnTo>
                  <a:lnTo>
                    <a:pt x="634" y="178"/>
                  </a:lnTo>
                  <a:lnTo>
                    <a:pt x="653" y="219"/>
                  </a:lnTo>
                  <a:lnTo>
                    <a:pt x="667" y="263"/>
                  </a:lnTo>
                  <a:lnTo>
                    <a:pt x="673" y="310"/>
                  </a:lnTo>
                  <a:lnTo>
                    <a:pt x="674" y="355"/>
                  </a:lnTo>
                  <a:lnTo>
                    <a:pt x="670" y="398"/>
                  </a:lnTo>
                  <a:lnTo>
                    <a:pt x="659" y="441"/>
                  </a:lnTo>
                  <a:lnTo>
                    <a:pt x="643" y="482"/>
                  </a:lnTo>
                  <a:lnTo>
                    <a:pt x="622" y="521"/>
                  </a:lnTo>
                  <a:lnTo>
                    <a:pt x="595" y="557"/>
                  </a:lnTo>
                  <a:lnTo>
                    <a:pt x="564" y="589"/>
                  </a:lnTo>
                  <a:lnTo>
                    <a:pt x="530" y="617"/>
                  </a:lnTo>
                  <a:lnTo>
                    <a:pt x="493" y="640"/>
                  </a:lnTo>
                  <a:lnTo>
                    <a:pt x="452" y="657"/>
                  </a:lnTo>
                  <a:lnTo>
                    <a:pt x="410" y="669"/>
                  </a:lnTo>
                  <a:lnTo>
                    <a:pt x="365" y="676"/>
                  </a:lnTo>
                  <a:lnTo>
                    <a:pt x="337" y="677"/>
                  </a:lnTo>
                  <a:lnTo>
                    <a:pt x="290" y="673"/>
                  </a:lnTo>
                  <a:lnTo>
                    <a:pt x="246" y="664"/>
                  </a:lnTo>
                  <a:lnTo>
                    <a:pt x="202" y="648"/>
                  </a:lnTo>
                  <a:lnTo>
                    <a:pt x="163" y="628"/>
                  </a:lnTo>
                  <a:lnTo>
                    <a:pt x="126" y="601"/>
                  </a:lnTo>
                  <a:lnTo>
                    <a:pt x="93" y="572"/>
                  </a:lnTo>
                  <a:lnTo>
                    <a:pt x="64" y="537"/>
                  </a:lnTo>
                  <a:lnTo>
                    <a:pt x="40" y="499"/>
                  </a:lnTo>
                  <a:lnTo>
                    <a:pt x="22" y="457"/>
                  </a:lnTo>
                  <a:lnTo>
                    <a:pt x="9" y="414"/>
                  </a:lnTo>
                  <a:lnTo>
                    <a:pt x="1" y="367"/>
                  </a:lnTo>
                  <a:lnTo>
                    <a:pt x="0" y="322"/>
                  </a:lnTo>
                  <a:lnTo>
                    <a:pt x="5" y="278"/>
                  </a:lnTo>
                  <a:lnTo>
                    <a:pt x="15" y="236"/>
                  </a:lnTo>
                  <a:lnTo>
                    <a:pt x="31" y="195"/>
                  </a:lnTo>
                  <a:lnTo>
                    <a:pt x="53" y="156"/>
                  </a:lnTo>
                  <a:lnTo>
                    <a:pt x="79" y="120"/>
                  </a:lnTo>
                  <a:lnTo>
                    <a:pt x="111" y="87"/>
                  </a:lnTo>
                  <a:lnTo>
                    <a:pt x="145" y="60"/>
                  </a:lnTo>
                  <a:lnTo>
                    <a:pt x="183" y="37"/>
                  </a:lnTo>
                  <a:lnTo>
                    <a:pt x="223" y="20"/>
                  </a:lnTo>
                  <a:lnTo>
                    <a:pt x="265" y="8"/>
                  </a:lnTo>
                  <a:lnTo>
                    <a:pt x="309" y="1"/>
                  </a:lnTo>
                  <a:lnTo>
                    <a:pt x="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xmlns="" id="{DD4F9B72-A774-4A47-9015-A6F36F067F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0" y="1622"/>
              <a:ext cx="56" cy="56"/>
            </a:xfrm>
            <a:custGeom>
              <a:avLst/>
              <a:gdLst>
                <a:gd name="T0" fmla="*/ 246 w 561"/>
                <a:gd name="T1" fmla="*/ 68 h 564"/>
                <a:gd name="T2" fmla="*/ 183 w 561"/>
                <a:gd name="T3" fmla="*/ 89 h 564"/>
                <a:gd name="T4" fmla="*/ 130 w 561"/>
                <a:gd name="T5" fmla="*/ 128 h 564"/>
                <a:gd name="T6" fmla="*/ 89 w 561"/>
                <a:gd name="T7" fmla="*/ 181 h 564"/>
                <a:gd name="T8" fmla="*/ 68 w 561"/>
                <a:gd name="T9" fmla="*/ 245 h 564"/>
                <a:gd name="T10" fmla="*/ 66 w 561"/>
                <a:gd name="T11" fmla="*/ 315 h 564"/>
                <a:gd name="T12" fmla="*/ 87 w 561"/>
                <a:gd name="T13" fmla="*/ 379 h 564"/>
                <a:gd name="T14" fmla="*/ 126 w 561"/>
                <a:gd name="T15" fmla="*/ 434 h 564"/>
                <a:gd name="T16" fmla="*/ 180 w 561"/>
                <a:gd name="T17" fmla="*/ 474 h 564"/>
                <a:gd name="T18" fmla="*/ 244 w 561"/>
                <a:gd name="T19" fmla="*/ 496 h 564"/>
                <a:gd name="T20" fmla="*/ 281 w 561"/>
                <a:gd name="T21" fmla="*/ 499 h 564"/>
                <a:gd name="T22" fmla="*/ 348 w 561"/>
                <a:gd name="T23" fmla="*/ 488 h 564"/>
                <a:gd name="T24" fmla="*/ 408 w 561"/>
                <a:gd name="T25" fmla="*/ 458 h 564"/>
                <a:gd name="T26" fmla="*/ 455 w 561"/>
                <a:gd name="T27" fmla="*/ 412 h 564"/>
                <a:gd name="T28" fmla="*/ 486 w 561"/>
                <a:gd name="T29" fmla="*/ 353 h 564"/>
                <a:gd name="T30" fmla="*/ 497 w 561"/>
                <a:gd name="T31" fmla="*/ 285 h 564"/>
                <a:gd name="T32" fmla="*/ 487 w 561"/>
                <a:gd name="T33" fmla="*/ 218 h 564"/>
                <a:gd name="T34" fmla="*/ 458 w 561"/>
                <a:gd name="T35" fmla="*/ 157 h 564"/>
                <a:gd name="T36" fmla="*/ 410 w 561"/>
                <a:gd name="T37" fmla="*/ 107 h 564"/>
                <a:gd name="T38" fmla="*/ 350 w 561"/>
                <a:gd name="T39" fmla="*/ 77 h 564"/>
                <a:gd name="T40" fmla="*/ 284 w 561"/>
                <a:gd name="T41" fmla="*/ 65 h 564"/>
                <a:gd name="T42" fmla="*/ 281 w 561"/>
                <a:gd name="T43" fmla="*/ 0 h 564"/>
                <a:gd name="T44" fmla="*/ 321 w 561"/>
                <a:gd name="T45" fmla="*/ 4 h 564"/>
                <a:gd name="T46" fmla="*/ 392 w 561"/>
                <a:gd name="T47" fmla="*/ 23 h 564"/>
                <a:gd name="T48" fmla="*/ 454 w 561"/>
                <a:gd name="T49" fmla="*/ 60 h 564"/>
                <a:gd name="T50" fmla="*/ 506 w 561"/>
                <a:gd name="T51" fmla="*/ 114 h 564"/>
                <a:gd name="T52" fmla="*/ 542 w 561"/>
                <a:gd name="T53" fmla="*/ 177 h 564"/>
                <a:gd name="T54" fmla="*/ 560 w 561"/>
                <a:gd name="T55" fmla="*/ 248 h 564"/>
                <a:gd name="T56" fmla="*/ 558 w 561"/>
                <a:gd name="T57" fmla="*/ 327 h 564"/>
                <a:gd name="T58" fmla="*/ 534 w 561"/>
                <a:gd name="T59" fmla="*/ 403 h 564"/>
                <a:gd name="T60" fmla="*/ 492 w 561"/>
                <a:gd name="T61" fmla="*/ 469 h 564"/>
                <a:gd name="T62" fmla="*/ 433 w 561"/>
                <a:gd name="T63" fmla="*/ 519 h 564"/>
                <a:gd name="T64" fmla="*/ 361 w 561"/>
                <a:gd name="T65" fmla="*/ 553 h 564"/>
                <a:gd name="T66" fmla="*/ 281 w 561"/>
                <a:gd name="T67" fmla="*/ 564 h 564"/>
                <a:gd name="T68" fmla="*/ 236 w 561"/>
                <a:gd name="T69" fmla="*/ 560 h 564"/>
                <a:gd name="T70" fmla="*/ 160 w 561"/>
                <a:gd name="T71" fmla="*/ 536 h 564"/>
                <a:gd name="T72" fmla="*/ 95 w 561"/>
                <a:gd name="T73" fmla="*/ 493 h 564"/>
                <a:gd name="T74" fmla="*/ 44 w 561"/>
                <a:gd name="T75" fmla="*/ 433 h 564"/>
                <a:gd name="T76" fmla="*/ 11 w 561"/>
                <a:gd name="T77" fmla="*/ 361 h 564"/>
                <a:gd name="T78" fmla="*/ 0 w 561"/>
                <a:gd name="T79" fmla="*/ 279 h 564"/>
                <a:gd name="T80" fmla="*/ 13 w 561"/>
                <a:gd name="T81" fmla="*/ 199 h 564"/>
                <a:gd name="T82" fmla="*/ 47 w 561"/>
                <a:gd name="T83" fmla="*/ 127 h 564"/>
                <a:gd name="T84" fmla="*/ 98 w 561"/>
                <a:gd name="T85" fmla="*/ 69 h 564"/>
                <a:gd name="T86" fmla="*/ 164 w 561"/>
                <a:gd name="T87" fmla="*/ 27 h 564"/>
                <a:gd name="T88" fmla="*/ 241 w 561"/>
                <a:gd name="T89" fmla="*/ 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1" h="564">
                  <a:moveTo>
                    <a:pt x="281" y="65"/>
                  </a:moveTo>
                  <a:lnTo>
                    <a:pt x="246" y="68"/>
                  </a:lnTo>
                  <a:lnTo>
                    <a:pt x="213" y="76"/>
                  </a:lnTo>
                  <a:lnTo>
                    <a:pt x="183" y="89"/>
                  </a:lnTo>
                  <a:lnTo>
                    <a:pt x="155" y="106"/>
                  </a:lnTo>
                  <a:lnTo>
                    <a:pt x="130" y="128"/>
                  </a:lnTo>
                  <a:lnTo>
                    <a:pt x="108" y="153"/>
                  </a:lnTo>
                  <a:lnTo>
                    <a:pt x="89" y="181"/>
                  </a:lnTo>
                  <a:lnTo>
                    <a:pt x="76" y="212"/>
                  </a:lnTo>
                  <a:lnTo>
                    <a:pt x="68" y="245"/>
                  </a:lnTo>
                  <a:lnTo>
                    <a:pt x="64" y="280"/>
                  </a:lnTo>
                  <a:lnTo>
                    <a:pt x="66" y="315"/>
                  </a:lnTo>
                  <a:lnTo>
                    <a:pt x="75" y="349"/>
                  </a:lnTo>
                  <a:lnTo>
                    <a:pt x="87" y="379"/>
                  </a:lnTo>
                  <a:lnTo>
                    <a:pt x="105" y="409"/>
                  </a:lnTo>
                  <a:lnTo>
                    <a:pt x="126" y="434"/>
                  </a:lnTo>
                  <a:lnTo>
                    <a:pt x="151" y="456"/>
                  </a:lnTo>
                  <a:lnTo>
                    <a:pt x="180" y="474"/>
                  </a:lnTo>
                  <a:lnTo>
                    <a:pt x="210" y="487"/>
                  </a:lnTo>
                  <a:lnTo>
                    <a:pt x="244" y="496"/>
                  </a:lnTo>
                  <a:lnTo>
                    <a:pt x="279" y="499"/>
                  </a:lnTo>
                  <a:lnTo>
                    <a:pt x="281" y="499"/>
                  </a:lnTo>
                  <a:lnTo>
                    <a:pt x="316" y="497"/>
                  </a:lnTo>
                  <a:lnTo>
                    <a:pt x="348" y="488"/>
                  </a:lnTo>
                  <a:lnTo>
                    <a:pt x="380" y="475"/>
                  </a:lnTo>
                  <a:lnTo>
                    <a:pt x="408" y="458"/>
                  </a:lnTo>
                  <a:lnTo>
                    <a:pt x="433" y="437"/>
                  </a:lnTo>
                  <a:lnTo>
                    <a:pt x="455" y="412"/>
                  </a:lnTo>
                  <a:lnTo>
                    <a:pt x="472" y="384"/>
                  </a:lnTo>
                  <a:lnTo>
                    <a:pt x="486" y="353"/>
                  </a:lnTo>
                  <a:lnTo>
                    <a:pt x="494" y="319"/>
                  </a:lnTo>
                  <a:lnTo>
                    <a:pt x="497" y="285"/>
                  </a:lnTo>
                  <a:lnTo>
                    <a:pt x="495" y="250"/>
                  </a:lnTo>
                  <a:lnTo>
                    <a:pt x="487" y="218"/>
                  </a:lnTo>
                  <a:lnTo>
                    <a:pt x="476" y="186"/>
                  </a:lnTo>
                  <a:lnTo>
                    <a:pt x="458" y="157"/>
                  </a:lnTo>
                  <a:lnTo>
                    <a:pt x="436" y="130"/>
                  </a:lnTo>
                  <a:lnTo>
                    <a:pt x="410" y="107"/>
                  </a:lnTo>
                  <a:lnTo>
                    <a:pt x="382" y="90"/>
                  </a:lnTo>
                  <a:lnTo>
                    <a:pt x="350" y="77"/>
                  </a:lnTo>
                  <a:lnTo>
                    <a:pt x="318" y="68"/>
                  </a:lnTo>
                  <a:lnTo>
                    <a:pt x="284" y="65"/>
                  </a:lnTo>
                  <a:lnTo>
                    <a:pt x="281" y="65"/>
                  </a:lnTo>
                  <a:close/>
                  <a:moveTo>
                    <a:pt x="281" y="0"/>
                  </a:moveTo>
                  <a:lnTo>
                    <a:pt x="284" y="0"/>
                  </a:lnTo>
                  <a:lnTo>
                    <a:pt x="321" y="4"/>
                  </a:lnTo>
                  <a:lnTo>
                    <a:pt x="357" y="11"/>
                  </a:lnTo>
                  <a:lnTo>
                    <a:pt x="392" y="23"/>
                  </a:lnTo>
                  <a:lnTo>
                    <a:pt x="424" y="40"/>
                  </a:lnTo>
                  <a:lnTo>
                    <a:pt x="454" y="60"/>
                  </a:lnTo>
                  <a:lnTo>
                    <a:pt x="482" y="86"/>
                  </a:lnTo>
                  <a:lnTo>
                    <a:pt x="506" y="114"/>
                  </a:lnTo>
                  <a:lnTo>
                    <a:pt x="527" y="145"/>
                  </a:lnTo>
                  <a:lnTo>
                    <a:pt x="542" y="177"/>
                  </a:lnTo>
                  <a:lnTo>
                    <a:pt x="553" y="212"/>
                  </a:lnTo>
                  <a:lnTo>
                    <a:pt x="560" y="248"/>
                  </a:lnTo>
                  <a:lnTo>
                    <a:pt x="561" y="285"/>
                  </a:lnTo>
                  <a:lnTo>
                    <a:pt x="558" y="327"/>
                  </a:lnTo>
                  <a:lnTo>
                    <a:pt x="549" y="366"/>
                  </a:lnTo>
                  <a:lnTo>
                    <a:pt x="534" y="403"/>
                  </a:lnTo>
                  <a:lnTo>
                    <a:pt x="516" y="437"/>
                  </a:lnTo>
                  <a:lnTo>
                    <a:pt x="492" y="469"/>
                  </a:lnTo>
                  <a:lnTo>
                    <a:pt x="464" y="496"/>
                  </a:lnTo>
                  <a:lnTo>
                    <a:pt x="433" y="519"/>
                  </a:lnTo>
                  <a:lnTo>
                    <a:pt x="398" y="539"/>
                  </a:lnTo>
                  <a:lnTo>
                    <a:pt x="361" y="553"/>
                  </a:lnTo>
                  <a:lnTo>
                    <a:pt x="322" y="562"/>
                  </a:lnTo>
                  <a:lnTo>
                    <a:pt x="281" y="564"/>
                  </a:lnTo>
                  <a:lnTo>
                    <a:pt x="278" y="564"/>
                  </a:lnTo>
                  <a:lnTo>
                    <a:pt x="236" y="560"/>
                  </a:lnTo>
                  <a:lnTo>
                    <a:pt x="197" y="552"/>
                  </a:lnTo>
                  <a:lnTo>
                    <a:pt x="160" y="536"/>
                  </a:lnTo>
                  <a:lnTo>
                    <a:pt x="125" y="517"/>
                  </a:lnTo>
                  <a:lnTo>
                    <a:pt x="95" y="493"/>
                  </a:lnTo>
                  <a:lnTo>
                    <a:pt x="68" y="464"/>
                  </a:lnTo>
                  <a:lnTo>
                    <a:pt x="44" y="433"/>
                  </a:lnTo>
                  <a:lnTo>
                    <a:pt x="25" y="398"/>
                  </a:lnTo>
                  <a:lnTo>
                    <a:pt x="11" y="361"/>
                  </a:lnTo>
                  <a:lnTo>
                    <a:pt x="2" y="320"/>
                  </a:lnTo>
                  <a:lnTo>
                    <a:pt x="0" y="279"/>
                  </a:lnTo>
                  <a:lnTo>
                    <a:pt x="3" y="237"/>
                  </a:lnTo>
                  <a:lnTo>
                    <a:pt x="13" y="199"/>
                  </a:lnTo>
                  <a:lnTo>
                    <a:pt x="27" y="162"/>
                  </a:lnTo>
                  <a:lnTo>
                    <a:pt x="47" y="127"/>
                  </a:lnTo>
                  <a:lnTo>
                    <a:pt x="71" y="96"/>
                  </a:lnTo>
                  <a:lnTo>
                    <a:pt x="98" y="69"/>
                  </a:lnTo>
                  <a:lnTo>
                    <a:pt x="130" y="45"/>
                  </a:lnTo>
                  <a:lnTo>
                    <a:pt x="164" y="27"/>
                  </a:lnTo>
                  <a:lnTo>
                    <a:pt x="201" y="12"/>
                  </a:lnTo>
                  <a:lnTo>
                    <a:pt x="241" y="4"/>
                  </a:lnTo>
                  <a:lnTo>
                    <a:pt x="2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Freeform 42">
              <a:extLst>
                <a:ext uri="{FF2B5EF4-FFF2-40B4-BE49-F238E27FC236}">
                  <a16:creationId xmlns:a16="http://schemas.microsoft.com/office/drawing/2014/main" xmlns="" id="{542E15F9-C798-4C32-ADF6-2522198EE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5" y="1578"/>
              <a:ext cx="146" cy="146"/>
            </a:xfrm>
            <a:custGeom>
              <a:avLst/>
              <a:gdLst>
                <a:gd name="T0" fmla="*/ 635 w 1458"/>
                <a:gd name="T1" fmla="*/ 102 h 1463"/>
                <a:gd name="T2" fmla="*/ 507 w 1458"/>
                <a:gd name="T3" fmla="*/ 238 h 1463"/>
                <a:gd name="T4" fmla="*/ 355 w 1458"/>
                <a:gd name="T5" fmla="*/ 206 h 1463"/>
                <a:gd name="T6" fmla="*/ 229 w 1458"/>
                <a:gd name="T7" fmla="*/ 290 h 1463"/>
                <a:gd name="T8" fmla="*/ 223 w 1458"/>
                <a:gd name="T9" fmla="*/ 373 h 1463"/>
                <a:gd name="T10" fmla="*/ 215 w 1458"/>
                <a:gd name="T11" fmla="*/ 586 h 1463"/>
                <a:gd name="T12" fmla="*/ 76 w 1458"/>
                <a:gd name="T13" fmla="*/ 644 h 1463"/>
                <a:gd name="T14" fmla="*/ 74 w 1458"/>
                <a:gd name="T15" fmla="*/ 809 h 1463"/>
                <a:gd name="T16" fmla="*/ 216 w 1458"/>
                <a:gd name="T17" fmla="*/ 870 h 1463"/>
                <a:gd name="T18" fmla="*/ 214 w 1458"/>
                <a:gd name="T19" fmla="*/ 1078 h 1463"/>
                <a:gd name="T20" fmla="*/ 218 w 1458"/>
                <a:gd name="T21" fmla="*/ 1161 h 1463"/>
                <a:gd name="T22" fmla="*/ 343 w 1458"/>
                <a:gd name="T23" fmla="*/ 1247 h 1463"/>
                <a:gd name="T24" fmla="*/ 499 w 1458"/>
                <a:gd name="T25" fmla="*/ 1210 h 1463"/>
                <a:gd name="T26" fmla="*/ 613 w 1458"/>
                <a:gd name="T27" fmla="*/ 1359 h 1463"/>
                <a:gd name="T28" fmla="*/ 767 w 1458"/>
                <a:gd name="T29" fmla="*/ 1399 h 1463"/>
                <a:gd name="T30" fmla="*/ 829 w 1458"/>
                <a:gd name="T31" fmla="*/ 1344 h 1463"/>
                <a:gd name="T32" fmla="*/ 990 w 1458"/>
                <a:gd name="T33" fmla="*/ 1198 h 1463"/>
                <a:gd name="T34" fmla="*/ 1118 w 1458"/>
                <a:gd name="T35" fmla="*/ 1258 h 1463"/>
                <a:gd name="T36" fmla="*/ 1240 w 1458"/>
                <a:gd name="T37" fmla="*/ 1158 h 1463"/>
                <a:gd name="T38" fmla="*/ 1181 w 1458"/>
                <a:gd name="T39" fmla="*/ 1020 h 1463"/>
                <a:gd name="T40" fmla="*/ 1253 w 1458"/>
                <a:gd name="T41" fmla="*/ 855 h 1463"/>
                <a:gd name="T42" fmla="*/ 1390 w 1458"/>
                <a:gd name="T43" fmla="*/ 804 h 1463"/>
                <a:gd name="T44" fmla="*/ 1373 w 1458"/>
                <a:gd name="T45" fmla="*/ 641 h 1463"/>
                <a:gd name="T46" fmla="*/ 1239 w 1458"/>
                <a:gd name="T47" fmla="*/ 550 h 1463"/>
                <a:gd name="T48" fmla="*/ 1253 w 1458"/>
                <a:gd name="T49" fmla="*/ 370 h 1463"/>
                <a:gd name="T50" fmla="*/ 1173 w 1458"/>
                <a:gd name="T51" fmla="*/ 234 h 1463"/>
                <a:gd name="T52" fmla="*/ 1102 w 1458"/>
                <a:gd name="T53" fmla="*/ 222 h 1463"/>
                <a:gd name="T54" fmla="*/ 923 w 1458"/>
                <a:gd name="T55" fmla="*/ 224 h 1463"/>
                <a:gd name="T56" fmla="*/ 835 w 1458"/>
                <a:gd name="T57" fmla="*/ 88 h 1463"/>
                <a:gd name="T58" fmla="*/ 692 w 1458"/>
                <a:gd name="T59" fmla="*/ 0 h 1463"/>
                <a:gd name="T60" fmla="*/ 862 w 1458"/>
                <a:gd name="T61" fmla="*/ 26 h 1463"/>
                <a:gd name="T62" fmla="*/ 917 w 1458"/>
                <a:gd name="T63" fmla="*/ 154 h 1463"/>
                <a:gd name="T64" fmla="*/ 1101 w 1458"/>
                <a:gd name="T65" fmla="*/ 154 h 1463"/>
                <a:gd name="T66" fmla="*/ 1219 w 1458"/>
                <a:gd name="T67" fmla="*/ 189 h 1463"/>
                <a:gd name="T68" fmla="*/ 1321 w 1458"/>
                <a:gd name="T69" fmla="*/ 354 h 1463"/>
                <a:gd name="T70" fmla="*/ 1290 w 1458"/>
                <a:gd name="T71" fmla="*/ 506 h 1463"/>
                <a:gd name="T72" fmla="*/ 1418 w 1458"/>
                <a:gd name="T73" fmla="*/ 595 h 1463"/>
                <a:gd name="T74" fmla="*/ 1457 w 1458"/>
                <a:gd name="T75" fmla="*/ 785 h 1463"/>
                <a:gd name="T76" fmla="*/ 1394 w 1458"/>
                <a:gd name="T77" fmla="*/ 894 h 1463"/>
                <a:gd name="T78" fmla="*/ 1258 w 1458"/>
                <a:gd name="T79" fmla="*/ 1015 h 1463"/>
                <a:gd name="T80" fmla="*/ 1311 w 1458"/>
                <a:gd name="T81" fmla="*/ 1150 h 1463"/>
                <a:gd name="T82" fmla="*/ 1187 w 1458"/>
                <a:gd name="T83" fmla="*/ 1301 h 1463"/>
                <a:gd name="T84" fmla="*/ 1076 w 1458"/>
                <a:gd name="T85" fmla="*/ 1316 h 1463"/>
                <a:gd name="T86" fmla="*/ 898 w 1458"/>
                <a:gd name="T87" fmla="*/ 1305 h 1463"/>
                <a:gd name="T88" fmla="*/ 841 w 1458"/>
                <a:gd name="T89" fmla="*/ 1439 h 1463"/>
                <a:gd name="T90" fmla="*/ 670 w 1458"/>
                <a:gd name="T91" fmla="*/ 1462 h 1463"/>
                <a:gd name="T92" fmla="*/ 561 w 1458"/>
                <a:gd name="T93" fmla="*/ 1399 h 1463"/>
                <a:gd name="T94" fmla="*/ 447 w 1458"/>
                <a:gd name="T95" fmla="*/ 1256 h 1463"/>
                <a:gd name="T96" fmla="*/ 329 w 1458"/>
                <a:gd name="T97" fmla="*/ 1312 h 1463"/>
                <a:gd name="T98" fmla="*/ 172 w 1458"/>
                <a:gd name="T99" fmla="*/ 1205 h 1463"/>
                <a:gd name="T100" fmla="*/ 140 w 1458"/>
                <a:gd name="T101" fmla="*/ 1084 h 1463"/>
                <a:gd name="T102" fmla="*/ 160 w 1458"/>
                <a:gd name="T103" fmla="*/ 908 h 1463"/>
                <a:gd name="T104" fmla="*/ 22 w 1458"/>
                <a:gd name="T105" fmla="*/ 848 h 1463"/>
                <a:gd name="T106" fmla="*/ 4 w 1458"/>
                <a:gd name="T107" fmla="*/ 651 h 1463"/>
                <a:gd name="T108" fmla="*/ 88 w 1458"/>
                <a:gd name="T109" fmla="*/ 559 h 1463"/>
                <a:gd name="T110" fmla="*/ 173 w 1458"/>
                <a:gd name="T111" fmla="*/ 413 h 1463"/>
                <a:gd name="T112" fmla="*/ 154 w 1458"/>
                <a:gd name="T113" fmla="*/ 288 h 1463"/>
                <a:gd name="T114" fmla="*/ 293 w 1458"/>
                <a:gd name="T115" fmla="*/ 150 h 1463"/>
                <a:gd name="T116" fmla="*/ 403 w 1458"/>
                <a:gd name="T117" fmla="*/ 157 h 1463"/>
                <a:gd name="T118" fmla="*/ 566 w 1458"/>
                <a:gd name="T119" fmla="*/ 111 h 1463"/>
                <a:gd name="T120" fmla="*/ 640 w 1458"/>
                <a:gd name="T121" fmla="*/ 11 h 1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58" h="1463">
                  <a:moveTo>
                    <a:pt x="692" y="64"/>
                  </a:moveTo>
                  <a:lnTo>
                    <a:pt x="673" y="68"/>
                  </a:lnTo>
                  <a:lnTo>
                    <a:pt x="658" y="75"/>
                  </a:lnTo>
                  <a:lnTo>
                    <a:pt x="644" y="86"/>
                  </a:lnTo>
                  <a:lnTo>
                    <a:pt x="635" y="102"/>
                  </a:lnTo>
                  <a:lnTo>
                    <a:pt x="630" y="119"/>
                  </a:lnTo>
                  <a:lnTo>
                    <a:pt x="620" y="200"/>
                  </a:lnTo>
                  <a:lnTo>
                    <a:pt x="598" y="205"/>
                  </a:lnTo>
                  <a:lnTo>
                    <a:pt x="552" y="220"/>
                  </a:lnTo>
                  <a:lnTo>
                    <a:pt x="507" y="238"/>
                  </a:lnTo>
                  <a:lnTo>
                    <a:pt x="464" y="261"/>
                  </a:lnTo>
                  <a:lnTo>
                    <a:pt x="445" y="272"/>
                  </a:lnTo>
                  <a:lnTo>
                    <a:pt x="380" y="220"/>
                  </a:lnTo>
                  <a:lnTo>
                    <a:pt x="368" y="212"/>
                  </a:lnTo>
                  <a:lnTo>
                    <a:pt x="355" y="206"/>
                  </a:lnTo>
                  <a:lnTo>
                    <a:pt x="341" y="205"/>
                  </a:lnTo>
                  <a:lnTo>
                    <a:pt x="325" y="207"/>
                  </a:lnTo>
                  <a:lnTo>
                    <a:pt x="311" y="213"/>
                  </a:lnTo>
                  <a:lnTo>
                    <a:pt x="298" y="223"/>
                  </a:lnTo>
                  <a:lnTo>
                    <a:pt x="229" y="290"/>
                  </a:lnTo>
                  <a:lnTo>
                    <a:pt x="217" y="305"/>
                  </a:lnTo>
                  <a:lnTo>
                    <a:pt x="212" y="322"/>
                  </a:lnTo>
                  <a:lnTo>
                    <a:pt x="211" y="340"/>
                  </a:lnTo>
                  <a:lnTo>
                    <a:pt x="214" y="357"/>
                  </a:lnTo>
                  <a:lnTo>
                    <a:pt x="223" y="373"/>
                  </a:lnTo>
                  <a:lnTo>
                    <a:pt x="277" y="443"/>
                  </a:lnTo>
                  <a:lnTo>
                    <a:pt x="266" y="462"/>
                  </a:lnTo>
                  <a:lnTo>
                    <a:pt x="245" y="502"/>
                  </a:lnTo>
                  <a:lnTo>
                    <a:pt x="228" y="545"/>
                  </a:lnTo>
                  <a:lnTo>
                    <a:pt x="215" y="586"/>
                  </a:lnTo>
                  <a:lnTo>
                    <a:pt x="210" y="608"/>
                  </a:lnTo>
                  <a:lnTo>
                    <a:pt x="121" y="617"/>
                  </a:lnTo>
                  <a:lnTo>
                    <a:pt x="103" y="622"/>
                  </a:lnTo>
                  <a:lnTo>
                    <a:pt x="88" y="631"/>
                  </a:lnTo>
                  <a:lnTo>
                    <a:pt x="76" y="644"/>
                  </a:lnTo>
                  <a:lnTo>
                    <a:pt x="68" y="661"/>
                  </a:lnTo>
                  <a:lnTo>
                    <a:pt x="65" y="679"/>
                  </a:lnTo>
                  <a:lnTo>
                    <a:pt x="64" y="775"/>
                  </a:lnTo>
                  <a:lnTo>
                    <a:pt x="67" y="793"/>
                  </a:lnTo>
                  <a:lnTo>
                    <a:pt x="74" y="809"/>
                  </a:lnTo>
                  <a:lnTo>
                    <a:pt x="86" y="823"/>
                  </a:lnTo>
                  <a:lnTo>
                    <a:pt x="101" y="833"/>
                  </a:lnTo>
                  <a:lnTo>
                    <a:pt x="118" y="837"/>
                  </a:lnTo>
                  <a:lnTo>
                    <a:pt x="210" y="849"/>
                  </a:lnTo>
                  <a:lnTo>
                    <a:pt x="216" y="870"/>
                  </a:lnTo>
                  <a:lnTo>
                    <a:pt x="228" y="909"/>
                  </a:lnTo>
                  <a:lnTo>
                    <a:pt x="244" y="949"/>
                  </a:lnTo>
                  <a:lnTo>
                    <a:pt x="263" y="986"/>
                  </a:lnTo>
                  <a:lnTo>
                    <a:pt x="274" y="1004"/>
                  </a:lnTo>
                  <a:lnTo>
                    <a:pt x="214" y="1078"/>
                  </a:lnTo>
                  <a:lnTo>
                    <a:pt x="205" y="1094"/>
                  </a:lnTo>
                  <a:lnTo>
                    <a:pt x="201" y="1111"/>
                  </a:lnTo>
                  <a:lnTo>
                    <a:pt x="202" y="1129"/>
                  </a:lnTo>
                  <a:lnTo>
                    <a:pt x="207" y="1145"/>
                  </a:lnTo>
                  <a:lnTo>
                    <a:pt x="218" y="1161"/>
                  </a:lnTo>
                  <a:lnTo>
                    <a:pt x="285" y="1229"/>
                  </a:lnTo>
                  <a:lnTo>
                    <a:pt x="298" y="1239"/>
                  </a:lnTo>
                  <a:lnTo>
                    <a:pt x="313" y="1246"/>
                  </a:lnTo>
                  <a:lnTo>
                    <a:pt x="329" y="1248"/>
                  </a:lnTo>
                  <a:lnTo>
                    <a:pt x="343" y="1247"/>
                  </a:lnTo>
                  <a:lnTo>
                    <a:pt x="356" y="1242"/>
                  </a:lnTo>
                  <a:lnTo>
                    <a:pt x="367" y="1235"/>
                  </a:lnTo>
                  <a:lnTo>
                    <a:pt x="441" y="1178"/>
                  </a:lnTo>
                  <a:lnTo>
                    <a:pt x="460" y="1189"/>
                  </a:lnTo>
                  <a:lnTo>
                    <a:pt x="499" y="1210"/>
                  </a:lnTo>
                  <a:lnTo>
                    <a:pt x="538" y="1227"/>
                  </a:lnTo>
                  <a:lnTo>
                    <a:pt x="578" y="1241"/>
                  </a:lnTo>
                  <a:lnTo>
                    <a:pt x="599" y="1247"/>
                  </a:lnTo>
                  <a:lnTo>
                    <a:pt x="609" y="1342"/>
                  </a:lnTo>
                  <a:lnTo>
                    <a:pt x="613" y="1359"/>
                  </a:lnTo>
                  <a:lnTo>
                    <a:pt x="623" y="1375"/>
                  </a:lnTo>
                  <a:lnTo>
                    <a:pt x="636" y="1387"/>
                  </a:lnTo>
                  <a:lnTo>
                    <a:pt x="651" y="1394"/>
                  </a:lnTo>
                  <a:lnTo>
                    <a:pt x="670" y="1397"/>
                  </a:lnTo>
                  <a:lnTo>
                    <a:pt x="767" y="1399"/>
                  </a:lnTo>
                  <a:lnTo>
                    <a:pt x="785" y="1396"/>
                  </a:lnTo>
                  <a:lnTo>
                    <a:pt x="800" y="1389"/>
                  </a:lnTo>
                  <a:lnTo>
                    <a:pt x="813" y="1377"/>
                  </a:lnTo>
                  <a:lnTo>
                    <a:pt x="823" y="1361"/>
                  </a:lnTo>
                  <a:lnTo>
                    <a:pt x="829" y="1344"/>
                  </a:lnTo>
                  <a:lnTo>
                    <a:pt x="839" y="1253"/>
                  </a:lnTo>
                  <a:lnTo>
                    <a:pt x="861" y="1248"/>
                  </a:lnTo>
                  <a:lnTo>
                    <a:pt x="905" y="1235"/>
                  </a:lnTo>
                  <a:lnTo>
                    <a:pt x="948" y="1218"/>
                  </a:lnTo>
                  <a:lnTo>
                    <a:pt x="990" y="1198"/>
                  </a:lnTo>
                  <a:lnTo>
                    <a:pt x="1008" y="1188"/>
                  </a:lnTo>
                  <a:lnTo>
                    <a:pt x="1078" y="1244"/>
                  </a:lnTo>
                  <a:lnTo>
                    <a:pt x="1090" y="1251"/>
                  </a:lnTo>
                  <a:lnTo>
                    <a:pt x="1104" y="1257"/>
                  </a:lnTo>
                  <a:lnTo>
                    <a:pt x="1118" y="1258"/>
                  </a:lnTo>
                  <a:lnTo>
                    <a:pt x="1133" y="1256"/>
                  </a:lnTo>
                  <a:lnTo>
                    <a:pt x="1148" y="1250"/>
                  </a:lnTo>
                  <a:lnTo>
                    <a:pt x="1160" y="1240"/>
                  </a:lnTo>
                  <a:lnTo>
                    <a:pt x="1229" y="1173"/>
                  </a:lnTo>
                  <a:lnTo>
                    <a:pt x="1240" y="1158"/>
                  </a:lnTo>
                  <a:lnTo>
                    <a:pt x="1246" y="1142"/>
                  </a:lnTo>
                  <a:lnTo>
                    <a:pt x="1247" y="1123"/>
                  </a:lnTo>
                  <a:lnTo>
                    <a:pt x="1244" y="1106"/>
                  </a:lnTo>
                  <a:lnTo>
                    <a:pt x="1234" y="1090"/>
                  </a:lnTo>
                  <a:lnTo>
                    <a:pt x="1181" y="1020"/>
                  </a:lnTo>
                  <a:lnTo>
                    <a:pt x="1192" y="1001"/>
                  </a:lnTo>
                  <a:lnTo>
                    <a:pt x="1214" y="961"/>
                  </a:lnTo>
                  <a:lnTo>
                    <a:pt x="1232" y="919"/>
                  </a:lnTo>
                  <a:lnTo>
                    <a:pt x="1246" y="876"/>
                  </a:lnTo>
                  <a:lnTo>
                    <a:pt x="1253" y="855"/>
                  </a:lnTo>
                  <a:lnTo>
                    <a:pt x="1337" y="846"/>
                  </a:lnTo>
                  <a:lnTo>
                    <a:pt x="1355" y="842"/>
                  </a:lnTo>
                  <a:lnTo>
                    <a:pt x="1370" y="832"/>
                  </a:lnTo>
                  <a:lnTo>
                    <a:pt x="1382" y="819"/>
                  </a:lnTo>
                  <a:lnTo>
                    <a:pt x="1390" y="804"/>
                  </a:lnTo>
                  <a:lnTo>
                    <a:pt x="1392" y="785"/>
                  </a:lnTo>
                  <a:lnTo>
                    <a:pt x="1393" y="689"/>
                  </a:lnTo>
                  <a:lnTo>
                    <a:pt x="1391" y="670"/>
                  </a:lnTo>
                  <a:lnTo>
                    <a:pt x="1383" y="654"/>
                  </a:lnTo>
                  <a:lnTo>
                    <a:pt x="1373" y="641"/>
                  </a:lnTo>
                  <a:lnTo>
                    <a:pt x="1357" y="631"/>
                  </a:lnTo>
                  <a:lnTo>
                    <a:pt x="1340" y="626"/>
                  </a:lnTo>
                  <a:lnTo>
                    <a:pt x="1256" y="615"/>
                  </a:lnTo>
                  <a:lnTo>
                    <a:pt x="1251" y="594"/>
                  </a:lnTo>
                  <a:lnTo>
                    <a:pt x="1239" y="550"/>
                  </a:lnTo>
                  <a:lnTo>
                    <a:pt x="1222" y="509"/>
                  </a:lnTo>
                  <a:lnTo>
                    <a:pt x="1202" y="468"/>
                  </a:lnTo>
                  <a:lnTo>
                    <a:pt x="1192" y="450"/>
                  </a:lnTo>
                  <a:lnTo>
                    <a:pt x="1244" y="385"/>
                  </a:lnTo>
                  <a:lnTo>
                    <a:pt x="1253" y="370"/>
                  </a:lnTo>
                  <a:lnTo>
                    <a:pt x="1257" y="353"/>
                  </a:lnTo>
                  <a:lnTo>
                    <a:pt x="1256" y="335"/>
                  </a:lnTo>
                  <a:lnTo>
                    <a:pt x="1251" y="318"/>
                  </a:lnTo>
                  <a:lnTo>
                    <a:pt x="1240" y="302"/>
                  </a:lnTo>
                  <a:lnTo>
                    <a:pt x="1173" y="234"/>
                  </a:lnTo>
                  <a:lnTo>
                    <a:pt x="1160" y="224"/>
                  </a:lnTo>
                  <a:lnTo>
                    <a:pt x="1145" y="217"/>
                  </a:lnTo>
                  <a:lnTo>
                    <a:pt x="1129" y="215"/>
                  </a:lnTo>
                  <a:lnTo>
                    <a:pt x="1115" y="216"/>
                  </a:lnTo>
                  <a:lnTo>
                    <a:pt x="1102" y="222"/>
                  </a:lnTo>
                  <a:lnTo>
                    <a:pt x="1091" y="228"/>
                  </a:lnTo>
                  <a:lnTo>
                    <a:pt x="1027" y="277"/>
                  </a:lnTo>
                  <a:lnTo>
                    <a:pt x="1008" y="265"/>
                  </a:lnTo>
                  <a:lnTo>
                    <a:pt x="967" y="244"/>
                  </a:lnTo>
                  <a:lnTo>
                    <a:pt x="923" y="224"/>
                  </a:lnTo>
                  <a:lnTo>
                    <a:pt x="879" y="210"/>
                  </a:lnTo>
                  <a:lnTo>
                    <a:pt x="858" y="203"/>
                  </a:lnTo>
                  <a:lnTo>
                    <a:pt x="849" y="122"/>
                  </a:lnTo>
                  <a:lnTo>
                    <a:pt x="845" y="104"/>
                  </a:lnTo>
                  <a:lnTo>
                    <a:pt x="835" y="88"/>
                  </a:lnTo>
                  <a:lnTo>
                    <a:pt x="822" y="76"/>
                  </a:lnTo>
                  <a:lnTo>
                    <a:pt x="807" y="69"/>
                  </a:lnTo>
                  <a:lnTo>
                    <a:pt x="788" y="66"/>
                  </a:lnTo>
                  <a:lnTo>
                    <a:pt x="692" y="64"/>
                  </a:lnTo>
                  <a:close/>
                  <a:moveTo>
                    <a:pt x="692" y="0"/>
                  </a:moveTo>
                  <a:lnTo>
                    <a:pt x="694" y="0"/>
                  </a:lnTo>
                  <a:lnTo>
                    <a:pt x="788" y="1"/>
                  </a:lnTo>
                  <a:lnTo>
                    <a:pt x="816" y="4"/>
                  </a:lnTo>
                  <a:lnTo>
                    <a:pt x="841" y="13"/>
                  </a:lnTo>
                  <a:lnTo>
                    <a:pt x="862" y="26"/>
                  </a:lnTo>
                  <a:lnTo>
                    <a:pt x="882" y="44"/>
                  </a:lnTo>
                  <a:lnTo>
                    <a:pt x="897" y="64"/>
                  </a:lnTo>
                  <a:lnTo>
                    <a:pt x="908" y="88"/>
                  </a:lnTo>
                  <a:lnTo>
                    <a:pt x="913" y="116"/>
                  </a:lnTo>
                  <a:lnTo>
                    <a:pt x="917" y="154"/>
                  </a:lnTo>
                  <a:lnTo>
                    <a:pt x="971" y="174"/>
                  </a:lnTo>
                  <a:lnTo>
                    <a:pt x="1022" y="200"/>
                  </a:lnTo>
                  <a:lnTo>
                    <a:pt x="1051" y="177"/>
                  </a:lnTo>
                  <a:lnTo>
                    <a:pt x="1074" y="163"/>
                  </a:lnTo>
                  <a:lnTo>
                    <a:pt x="1101" y="154"/>
                  </a:lnTo>
                  <a:lnTo>
                    <a:pt x="1129" y="151"/>
                  </a:lnTo>
                  <a:lnTo>
                    <a:pt x="1154" y="153"/>
                  </a:lnTo>
                  <a:lnTo>
                    <a:pt x="1178" y="161"/>
                  </a:lnTo>
                  <a:lnTo>
                    <a:pt x="1200" y="173"/>
                  </a:lnTo>
                  <a:lnTo>
                    <a:pt x="1219" y="189"/>
                  </a:lnTo>
                  <a:lnTo>
                    <a:pt x="1286" y="258"/>
                  </a:lnTo>
                  <a:lnTo>
                    <a:pt x="1303" y="278"/>
                  </a:lnTo>
                  <a:lnTo>
                    <a:pt x="1314" y="302"/>
                  </a:lnTo>
                  <a:lnTo>
                    <a:pt x="1320" y="328"/>
                  </a:lnTo>
                  <a:lnTo>
                    <a:pt x="1321" y="354"/>
                  </a:lnTo>
                  <a:lnTo>
                    <a:pt x="1318" y="379"/>
                  </a:lnTo>
                  <a:lnTo>
                    <a:pt x="1308" y="404"/>
                  </a:lnTo>
                  <a:lnTo>
                    <a:pt x="1294" y="427"/>
                  </a:lnTo>
                  <a:lnTo>
                    <a:pt x="1269" y="458"/>
                  </a:lnTo>
                  <a:lnTo>
                    <a:pt x="1290" y="506"/>
                  </a:lnTo>
                  <a:lnTo>
                    <a:pt x="1307" y="557"/>
                  </a:lnTo>
                  <a:lnTo>
                    <a:pt x="1348" y="562"/>
                  </a:lnTo>
                  <a:lnTo>
                    <a:pt x="1374" y="568"/>
                  </a:lnTo>
                  <a:lnTo>
                    <a:pt x="1398" y="580"/>
                  </a:lnTo>
                  <a:lnTo>
                    <a:pt x="1418" y="595"/>
                  </a:lnTo>
                  <a:lnTo>
                    <a:pt x="1436" y="615"/>
                  </a:lnTo>
                  <a:lnTo>
                    <a:pt x="1448" y="638"/>
                  </a:lnTo>
                  <a:lnTo>
                    <a:pt x="1455" y="663"/>
                  </a:lnTo>
                  <a:lnTo>
                    <a:pt x="1458" y="690"/>
                  </a:lnTo>
                  <a:lnTo>
                    <a:pt x="1457" y="785"/>
                  </a:lnTo>
                  <a:lnTo>
                    <a:pt x="1454" y="812"/>
                  </a:lnTo>
                  <a:lnTo>
                    <a:pt x="1445" y="837"/>
                  </a:lnTo>
                  <a:lnTo>
                    <a:pt x="1432" y="859"/>
                  </a:lnTo>
                  <a:lnTo>
                    <a:pt x="1415" y="879"/>
                  </a:lnTo>
                  <a:lnTo>
                    <a:pt x="1394" y="894"/>
                  </a:lnTo>
                  <a:lnTo>
                    <a:pt x="1370" y="905"/>
                  </a:lnTo>
                  <a:lnTo>
                    <a:pt x="1343" y="911"/>
                  </a:lnTo>
                  <a:lnTo>
                    <a:pt x="1302" y="915"/>
                  </a:lnTo>
                  <a:lnTo>
                    <a:pt x="1282" y="966"/>
                  </a:lnTo>
                  <a:lnTo>
                    <a:pt x="1258" y="1015"/>
                  </a:lnTo>
                  <a:lnTo>
                    <a:pt x="1286" y="1050"/>
                  </a:lnTo>
                  <a:lnTo>
                    <a:pt x="1300" y="1073"/>
                  </a:lnTo>
                  <a:lnTo>
                    <a:pt x="1308" y="1098"/>
                  </a:lnTo>
                  <a:lnTo>
                    <a:pt x="1313" y="1125"/>
                  </a:lnTo>
                  <a:lnTo>
                    <a:pt x="1311" y="1150"/>
                  </a:lnTo>
                  <a:lnTo>
                    <a:pt x="1303" y="1175"/>
                  </a:lnTo>
                  <a:lnTo>
                    <a:pt x="1291" y="1199"/>
                  </a:lnTo>
                  <a:lnTo>
                    <a:pt x="1275" y="1220"/>
                  </a:lnTo>
                  <a:lnTo>
                    <a:pt x="1206" y="1286"/>
                  </a:lnTo>
                  <a:lnTo>
                    <a:pt x="1187" y="1301"/>
                  </a:lnTo>
                  <a:lnTo>
                    <a:pt x="1165" y="1313"/>
                  </a:lnTo>
                  <a:lnTo>
                    <a:pt x="1142" y="1320"/>
                  </a:lnTo>
                  <a:lnTo>
                    <a:pt x="1118" y="1322"/>
                  </a:lnTo>
                  <a:lnTo>
                    <a:pt x="1096" y="1321"/>
                  </a:lnTo>
                  <a:lnTo>
                    <a:pt x="1076" y="1316"/>
                  </a:lnTo>
                  <a:lnTo>
                    <a:pt x="1056" y="1306"/>
                  </a:lnTo>
                  <a:lnTo>
                    <a:pt x="1037" y="1294"/>
                  </a:lnTo>
                  <a:lnTo>
                    <a:pt x="1002" y="1264"/>
                  </a:lnTo>
                  <a:lnTo>
                    <a:pt x="950" y="1287"/>
                  </a:lnTo>
                  <a:lnTo>
                    <a:pt x="898" y="1305"/>
                  </a:lnTo>
                  <a:lnTo>
                    <a:pt x="892" y="1353"/>
                  </a:lnTo>
                  <a:lnTo>
                    <a:pt x="886" y="1378"/>
                  </a:lnTo>
                  <a:lnTo>
                    <a:pt x="874" y="1402"/>
                  </a:lnTo>
                  <a:lnTo>
                    <a:pt x="859" y="1423"/>
                  </a:lnTo>
                  <a:lnTo>
                    <a:pt x="841" y="1439"/>
                  </a:lnTo>
                  <a:lnTo>
                    <a:pt x="818" y="1452"/>
                  </a:lnTo>
                  <a:lnTo>
                    <a:pt x="794" y="1461"/>
                  </a:lnTo>
                  <a:lnTo>
                    <a:pt x="767" y="1463"/>
                  </a:lnTo>
                  <a:lnTo>
                    <a:pt x="764" y="1463"/>
                  </a:lnTo>
                  <a:lnTo>
                    <a:pt x="670" y="1462"/>
                  </a:lnTo>
                  <a:lnTo>
                    <a:pt x="643" y="1459"/>
                  </a:lnTo>
                  <a:lnTo>
                    <a:pt x="618" y="1451"/>
                  </a:lnTo>
                  <a:lnTo>
                    <a:pt x="596" y="1437"/>
                  </a:lnTo>
                  <a:lnTo>
                    <a:pt x="576" y="1420"/>
                  </a:lnTo>
                  <a:lnTo>
                    <a:pt x="561" y="1399"/>
                  </a:lnTo>
                  <a:lnTo>
                    <a:pt x="550" y="1375"/>
                  </a:lnTo>
                  <a:lnTo>
                    <a:pt x="545" y="1348"/>
                  </a:lnTo>
                  <a:lnTo>
                    <a:pt x="539" y="1296"/>
                  </a:lnTo>
                  <a:lnTo>
                    <a:pt x="492" y="1278"/>
                  </a:lnTo>
                  <a:lnTo>
                    <a:pt x="447" y="1256"/>
                  </a:lnTo>
                  <a:lnTo>
                    <a:pt x="406" y="1286"/>
                  </a:lnTo>
                  <a:lnTo>
                    <a:pt x="384" y="1300"/>
                  </a:lnTo>
                  <a:lnTo>
                    <a:pt x="358" y="1310"/>
                  </a:lnTo>
                  <a:lnTo>
                    <a:pt x="329" y="1312"/>
                  </a:lnTo>
                  <a:lnTo>
                    <a:pt x="329" y="1312"/>
                  </a:lnTo>
                  <a:lnTo>
                    <a:pt x="304" y="1310"/>
                  </a:lnTo>
                  <a:lnTo>
                    <a:pt x="280" y="1303"/>
                  </a:lnTo>
                  <a:lnTo>
                    <a:pt x="259" y="1291"/>
                  </a:lnTo>
                  <a:lnTo>
                    <a:pt x="239" y="1274"/>
                  </a:lnTo>
                  <a:lnTo>
                    <a:pt x="172" y="1205"/>
                  </a:lnTo>
                  <a:lnTo>
                    <a:pt x="155" y="1185"/>
                  </a:lnTo>
                  <a:lnTo>
                    <a:pt x="144" y="1161"/>
                  </a:lnTo>
                  <a:lnTo>
                    <a:pt x="138" y="1135"/>
                  </a:lnTo>
                  <a:lnTo>
                    <a:pt x="137" y="1110"/>
                  </a:lnTo>
                  <a:lnTo>
                    <a:pt x="140" y="1084"/>
                  </a:lnTo>
                  <a:lnTo>
                    <a:pt x="150" y="1060"/>
                  </a:lnTo>
                  <a:lnTo>
                    <a:pt x="164" y="1037"/>
                  </a:lnTo>
                  <a:lnTo>
                    <a:pt x="197" y="998"/>
                  </a:lnTo>
                  <a:lnTo>
                    <a:pt x="176" y="953"/>
                  </a:lnTo>
                  <a:lnTo>
                    <a:pt x="160" y="908"/>
                  </a:lnTo>
                  <a:lnTo>
                    <a:pt x="111" y="902"/>
                  </a:lnTo>
                  <a:lnTo>
                    <a:pt x="84" y="895"/>
                  </a:lnTo>
                  <a:lnTo>
                    <a:pt x="61" y="884"/>
                  </a:lnTo>
                  <a:lnTo>
                    <a:pt x="40" y="868"/>
                  </a:lnTo>
                  <a:lnTo>
                    <a:pt x="22" y="848"/>
                  </a:lnTo>
                  <a:lnTo>
                    <a:pt x="11" y="827"/>
                  </a:lnTo>
                  <a:lnTo>
                    <a:pt x="3" y="801"/>
                  </a:lnTo>
                  <a:lnTo>
                    <a:pt x="0" y="774"/>
                  </a:lnTo>
                  <a:lnTo>
                    <a:pt x="1" y="678"/>
                  </a:lnTo>
                  <a:lnTo>
                    <a:pt x="4" y="651"/>
                  </a:lnTo>
                  <a:lnTo>
                    <a:pt x="13" y="627"/>
                  </a:lnTo>
                  <a:lnTo>
                    <a:pt x="26" y="604"/>
                  </a:lnTo>
                  <a:lnTo>
                    <a:pt x="43" y="585"/>
                  </a:lnTo>
                  <a:lnTo>
                    <a:pt x="64" y="570"/>
                  </a:lnTo>
                  <a:lnTo>
                    <a:pt x="88" y="559"/>
                  </a:lnTo>
                  <a:lnTo>
                    <a:pt x="115" y="554"/>
                  </a:lnTo>
                  <a:lnTo>
                    <a:pt x="160" y="548"/>
                  </a:lnTo>
                  <a:lnTo>
                    <a:pt x="177" y="498"/>
                  </a:lnTo>
                  <a:lnTo>
                    <a:pt x="200" y="449"/>
                  </a:lnTo>
                  <a:lnTo>
                    <a:pt x="173" y="413"/>
                  </a:lnTo>
                  <a:lnTo>
                    <a:pt x="158" y="390"/>
                  </a:lnTo>
                  <a:lnTo>
                    <a:pt x="150" y="365"/>
                  </a:lnTo>
                  <a:lnTo>
                    <a:pt x="145" y="340"/>
                  </a:lnTo>
                  <a:lnTo>
                    <a:pt x="148" y="313"/>
                  </a:lnTo>
                  <a:lnTo>
                    <a:pt x="154" y="288"/>
                  </a:lnTo>
                  <a:lnTo>
                    <a:pt x="167" y="265"/>
                  </a:lnTo>
                  <a:lnTo>
                    <a:pt x="183" y="245"/>
                  </a:lnTo>
                  <a:lnTo>
                    <a:pt x="253" y="177"/>
                  </a:lnTo>
                  <a:lnTo>
                    <a:pt x="272" y="162"/>
                  </a:lnTo>
                  <a:lnTo>
                    <a:pt x="293" y="150"/>
                  </a:lnTo>
                  <a:lnTo>
                    <a:pt x="316" y="143"/>
                  </a:lnTo>
                  <a:lnTo>
                    <a:pt x="341" y="141"/>
                  </a:lnTo>
                  <a:lnTo>
                    <a:pt x="362" y="142"/>
                  </a:lnTo>
                  <a:lnTo>
                    <a:pt x="384" y="147"/>
                  </a:lnTo>
                  <a:lnTo>
                    <a:pt x="403" y="157"/>
                  </a:lnTo>
                  <a:lnTo>
                    <a:pt x="421" y="169"/>
                  </a:lnTo>
                  <a:lnTo>
                    <a:pt x="451" y="194"/>
                  </a:lnTo>
                  <a:lnTo>
                    <a:pt x="505" y="169"/>
                  </a:lnTo>
                  <a:lnTo>
                    <a:pt x="561" y="150"/>
                  </a:lnTo>
                  <a:lnTo>
                    <a:pt x="566" y="111"/>
                  </a:lnTo>
                  <a:lnTo>
                    <a:pt x="572" y="85"/>
                  </a:lnTo>
                  <a:lnTo>
                    <a:pt x="583" y="61"/>
                  </a:lnTo>
                  <a:lnTo>
                    <a:pt x="599" y="42"/>
                  </a:lnTo>
                  <a:lnTo>
                    <a:pt x="618" y="24"/>
                  </a:lnTo>
                  <a:lnTo>
                    <a:pt x="640" y="11"/>
                  </a:lnTo>
                  <a:lnTo>
                    <a:pt x="664" y="3"/>
                  </a:lnTo>
                  <a:lnTo>
                    <a:pt x="6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1B9E076C-15D1-468B-90F5-F1A0EF6EF817}"/>
              </a:ext>
            </a:extLst>
          </p:cNvPr>
          <p:cNvGrpSpPr/>
          <p:nvPr/>
        </p:nvGrpSpPr>
        <p:grpSpPr>
          <a:xfrm>
            <a:off x="6792605" y="4266928"/>
            <a:ext cx="672797" cy="820675"/>
            <a:chOff x="4709342" y="3807234"/>
            <a:chExt cx="504598" cy="615506"/>
          </a:xfrm>
        </p:grpSpPr>
        <p:sp>
          <p:nvSpPr>
            <p:cNvPr id="41" name="Text Placeholder 3">
              <a:extLst>
                <a:ext uri="{FF2B5EF4-FFF2-40B4-BE49-F238E27FC236}">
                  <a16:creationId xmlns:a16="http://schemas.microsoft.com/office/drawing/2014/main" xmlns="" id="{1E9253F5-84BD-41BB-AF5E-114F519FA0EE}"/>
                </a:ext>
              </a:extLst>
            </p:cNvPr>
            <p:cNvSpPr txBox="1">
              <a:spLocks/>
            </p:cNvSpPr>
            <p:nvPr/>
          </p:nvSpPr>
          <p:spPr>
            <a:xfrm>
              <a:off x="4758638" y="3807234"/>
              <a:ext cx="455302" cy="61550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algn="l" rtl="0" fontAlgn="base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defRPr lang="en-US" sz="200" b="0" kern="1200" smtClean="0">
                  <a:solidFill>
                    <a:schemeClr val="bg1">
                      <a:lumMod val="7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389626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2pPr>
              <a:lvl3pPr marL="779252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3pPr>
              <a:lvl4pPr marL="1168878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4pPr>
              <a:lvl5pPr marL="1558503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5pPr>
              <a:lvl6pPr marL="1948129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6pPr>
              <a:lvl7pPr marL="2337755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7pPr>
              <a:lvl8pPr marL="2727381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8pPr>
              <a:lvl9pPr marL="3117007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9pPr>
            </a:lstStyle>
            <a:p>
              <a:r>
                <a:rPr lang="en-GB" sz="5333" dirty="0">
                  <a:solidFill>
                    <a:schemeClr val="accent5"/>
                  </a:solidFill>
                  <a:latin typeface="Arial Unicode MS"/>
                </a:rPr>
                <a:t>✓</a:t>
              </a:r>
              <a:r>
                <a:rPr lang="en-GB" sz="5333" dirty="0">
                  <a:solidFill>
                    <a:schemeClr val="accent5"/>
                  </a:solidFill>
                  <a:latin typeface="Arial Narrow" panose="020B0606020202030204" pitchFamily="34" charset="0"/>
                </a:rPr>
                <a:t> 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DB1E7956-1780-4564-B20A-482CD8861815}"/>
                </a:ext>
              </a:extLst>
            </p:cNvPr>
            <p:cNvSpPr/>
            <p:nvPr/>
          </p:nvSpPr>
          <p:spPr>
            <a:xfrm>
              <a:off x="4709342" y="4031079"/>
              <a:ext cx="360000" cy="360000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6000" tIns="96000" rIns="96000" bIns="96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</a:pPr>
              <a:endParaRPr lang="en-GB" sz="2000" b="0" dirty="0"/>
            </a:p>
          </p:txBody>
        </p:sp>
      </p:grpSp>
      <p:sp>
        <p:nvSpPr>
          <p:cNvPr id="45" name="RbNavigator">
            <a:extLst>
              <a:ext uri="{FF2B5EF4-FFF2-40B4-BE49-F238E27FC236}">
                <a16:creationId xmlns:a16="http://schemas.microsoft.com/office/drawing/2014/main" xmlns="" id="{3AD10A08-3B91-45A6-9F02-C97E66631249}"/>
              </a:ext>
            </a:extLst>
          </p:cNvPr>
          <p:cNvSpPr txBox="1"/>
          <p:nvPr/>
        </p:nvSpPr>
        <p:spPr>
          <a:xfrm>
            <a:off x="2820927" y="1"/>
            <a:ext cx="288000" cy="288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+mn-lt"/>
                <a:sym typeface="+mn-lt"/>
              </a:rPr>
              <a:t>0</a:t>
            </a:r>
          </a:p>
        </p:txBody>
      </p:sp>
      <p:sp>
        <p:nvSpPr>
          <p:cNvPr id="46" name="RbSticker">
            <a:extLst>
              <a:ext uri="{FF2B5EF4-FFF2-40B4-BE49-F238E27FC236}">
                <a16:creationId xmlns:a16="http://schemas.microsoft.com/office/drawing/2014/main" xmlns="" id="{912637B8-F480-445A-A0A0-4F986489340C}"/>
              </a:ext>
            </a:extLst>
          </p:cNvPr>
          <p:cNvSpPr txBox="1"/>
          <p:nvPr/>
        </p:nvSpPr>
        <p:spPr>
          <a:xfrm>
            <a:off x="3188804" y="53111"/>
            <a:ext cx="1263166" cy="23544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Preparación</a:t>
            </a:r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7308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xmlns="" id="{EB2886F9-DD5D-4539-A3DF-196A61CF7B2A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5262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a fase 1 tiene como objetivo determinar el nivel de madurez actual de la ciudad, definir su visión y ambición y desarrollar una red de trabajo.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A8B9D028-9077-4C01-87EA-1EA8955E94F9}"/>
              </a:ext>
            </a:extLst>
          </p:cNvPr>
          <p:cNvGrpSpPr/>
          <p:nvPr/>
        </p:nvGrpSpPr>
        <p:grpSpPr>
          <a:xfrm>
            <a:off x="7435307" y="3126787"/>
            <a:ext cx="4395550" cy="500138"/>
            <a:chOff x="7435307" y="3170465"/>
            <a:chExt cx="4395550" cy="500138"/>
          </a:xfrm>
        </p:grpSpPr>
        <p:sp>
          <p:nvSpPr>
            <p:cNvPr id="9" name="Textframe 23">
              <a:extLst>
                <a:ext uri="{FF2B5EF4-FFF2-40B4-BE49-F238E27FC236}">
                  <a16:creationId xmlns:a16="http://schemas.microsoft.com/office/drawing/2014/main" xmlns="" id="{5537C3F2-147F-4FF7-9C0E-55BB0AAB33A7}"/>
                </a:ext>
              </a:extLst>
            </p:cNvPr>
            <p:cNvSpPr txBox="1"/>
            <p:nvPr/>
          </p:nvSpPr>
          <p:spPr>
            <a:xfrm>
              <a:off x="7786869" y="3170466"/>
              <a:ext cx="4043988" cy="50013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Concepción y formulación</a:t>
              </a:r>
            </a:p>
            <a:p>
              <a:pPr marL="285750" indent="-285750" defTabSz="1269968">
                <a:spcBef>
                  <a:spcPts val="267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Taller de Ambición</a:t>
              </a: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" name="RbNavigator">
              <a:extLst>
                <a:ext uri="{FF2B5EF4-FFF2-40B4-BE49-F238E27FC236}">
                  <a16:creationId xmlns:a16="http://schemas.microsoft.com/office/drawing/2014/main" xmlns="" id="{ABAE6239-710F-4AB3-897D-96E6D73E2DB8}"/>
                </a:ext>
              </a:extLst>
            </p:cNvPr>
            <p:cNvSpPr txBox="1"/>
            <p:nvPr/>
          </p:nvSpPr>
          <p:spPr>
            <a:xfrm>
              <a:off x="7435307" y="3170465"/>
              <a:ext cx="269227" cy="2692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B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21E39C44-4D8D-4EC3-A80D-49D8C847EEA6}"/>
              </a:ext>
            </a:extLst>
          </p:cNvPr>
          <p:cNvGrpSpPr/>
          <p:nvPr/>
        </p:nvGrpSpPr>
        <p:grpSpPr>
          <a:xfrm>
            <a:off x="7435307" y="3997701"/>
            <a:ext cx="4944276" cy="500137"/>
            <a:chOff x="7435307" y="3997701"/>
            <a:chExt cx="4944276" cy="500137"/>
          </a:xfrm>
        </p:grpSpPr>
        <p:sp>
          <p:nvSpPr>
            <p:cNvPr id="11" name="Textframe 23">
              <a:extLst>
                <a:ext uri="{FF2B5EF4-FFF2-40B4-BE49-F238E27FC236}">
                  <a16:creationId xmlns:a16="http://schemas.microsoft.com/office/drawing/2014/main" xmlns="" id="{7DE98784-989A-460F-87FA-5C0985C1574C}"/>
                </a:ext>
              </a:extLst>
            </p:cNvPr>
            <p:cNvSpPr txBox="1"/>
            <p:nvPr/>
          </p:nvSpPr>
          <p:spPr>
            <a:xfrm>
              <a:off x="7786868" y="3997701"/>
              <a:ext cx="4592715" cy="50013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Validación</a:t>
              </a:r>
            </a:p>
            <a:p>
              <a:pPr marL="285750" indent="-285750" defTabSz="1269968">
                <a:spcBef>
                  <a:spcPts val="267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Seminario  de </a:t>
              </a:r>
              <a:r>
                <a:rPr lang="es-ES" sz="15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Ambition</a:t>
              </a: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en la academia</a:t>
              </a:r>
              <a:endParaRPr lang="en-US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" name="RbNavigator">
              <a:extLst>
                <a:ext uri="{FF2B5EF4-FFF2-40B4-BE49-F238E27FC236}">
                  <a16:creationId xmlns:a16="http://schemas.microsoft.com/office/drawing/2014/main" xmlns="" id="{0E7EC5DF-DD66-452B-B877-4D5DDA89DF08}"/>
                </a:ext>
              </a:extLst>
            </p:cNvPr>
            <p:cNvSpPr txBox="1"/>
            <p:nvPr/>
          </p:nvSpPr>
          <p:spPr>
            <a:xfrm>
              <a:off x="7435307" y="3997701"/>
              <a:ext cx="269227" cy="2692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5FCDEC4-E185-4ACC-A53D-B84C1E26FFC6}"/>
              </a:ext>
            </a:extLst>
          </p:cNvPr>
          <p:cNvSpPr/>
          <p:nvPr/>
        </p:nvSpPr>
        <p:spPr>
          <a:xfrm>
            <a:off x="2820927" y="1544730"/>
            <a:ext cx="3642196" cy="415756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endParaRPr lang="en-GB" sz="1500" b="0" dirty="0">
              <a:highlight>
                <a:srgbClr val="CEEAB0"/>
              </a:highlight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ListLeanHorizontalTextTopic1">
            <a:extLst>
              <a:ext uri="{FF2B5EF4-FFF2-40B4-BE49-F238E27FC236}">
                <a16:creationId xmlns:a16="http://schemas.microsoft.com/office/drawing/2014/main" xmlns="" id="{E1514C44-CF39-4EB3-903E-3135FD89E26E}"/>
              </a:ext>
            </a:extLst>
          </p:cNvPr>
          <p:cNvSpPr txBox="1">
            <a:spLocks/>
          </p:cNvSpPr>
          <p:nvPr/>
        </p:nvSpPr>
        <p:spPr bwMode="auto">
          <a:xfrm>
            <a:off x="7540083" y="1773674"/>
            <a:ext cx="4704333" cy="2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ma de </a:t>
            </a: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bajar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E92F0E87-184B-4B90-B5D1-2C174E93138C}"/>
              </a:ext>
            </a:extLst>
          </p:cNvPr>
          <p:cNvGrpSpPr/>
          <p:nvPr/>
        </p:nvGrpSpPr>
        <p:grpSpPr>
          <a:xfrm>
            <a:off x="7435307" y="2255874"/>
            <a:ext cx="4185193" cy="769441"/>
            <a:chOff x="7435307" y="2255874"/>
            <a:chExt cx="4185193" cy="769441"/>
          </a:xfrm>
        </p:grpSpPr>
        <p:sp>
          <p:nvSpPr>
            <p:cNvPr id="7" name="Textframe 23">
              <a:extLst>
                <a:ext uri="{FF2B5EF4-FFF2-40B4-BE49-F238E27FC236}">
                  <a16:creationId xmlns:a16="http://schemas.microsoft.com/office/drawing/2014/main" xmlns="" id="{41780C8F-8CC0-44F2-B369-76EADD333AE2}"/>
                </a:ext>
              </a:extLst>
            </p:cNvPr>
            <p:cNvSpPr txBox="1"/>
            <p:nvPr/>
          </p:nvSpPr>
          <p:spPr>
            <a:xfrm>
              <a:off x="7786868" y="2255874"/>
              <a:ext cx="3833632" cy="769441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Recogida de datos</a:t>
              </a:r>
            </a:p>
            <a:p>
              <a:pPr marL="285750" indent="-285750" defTabSz="1269968">
                <a:spcBef>
                  <a:spcPts val="267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SAT y </a:t>
              </a:r>
              <a:r>
                <a:rPr lang="es-ES" sz="15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KPIs</a:t>
              </a:r>
              <a:endParaRPr lang="es-ES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marL="285750" indent="-285750" defTabSz="1269968">
                <a:spcBef>
                  <a:spcPts val="267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Visita de evaluación de expertos</a:t>
              </a:r>
              <a:endParaRPr lang="en-US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" name="RbNavigator">
              <a:extLst>
                <a:ext uri="{FF2B5EF4-FFF2-40B4-BE49-F238E27FC236}">
                  <a16:creationId xmlns:a16="http://schemas.microsoft.com/office/drawing/2014/main" xmlns="" id="{220BD153-C23A-4EB3-8908-E1B9217A513E}"/>
                </a:ext>
              </a:extLst>
            </p:cNvPr>
            <p:cNvSpPr txBox="1"/>
            <p:nvPr/>
          </p:nvSpPr>
          <p:spPr>
            <a:xfrm>
              <a:off x="7435307" y="2255874"/>
              <a:ext cx="269227" cy="269227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</a:t>
              </a:r>
            </a:p>
          </p:txBody>
        </p:sp>
      </p:grpSp>
      <p:sp>
        <p:nvSpPr>
          <p:cNvPr id="13" name="ListLeanHorizontalTextTopic1">
            <a:extLst>
              <a:ext uri="{FF2B5EF4-FFF2-40B4-BE49-F238E27FC236}">
                <a16:creationId xmlns:a16="http://schemas.microsoft.com/office/drawing/2014/main" xmlns="" id="{7F0596CC-B5F6-46A4-87B5-E4D13CF1526B}"/>
              </a:ext>
            </a:extLst>
          </p:cNvPr>
          <p:cNvSpPr txBox="1">
            <a:spLocks/>
          </p:cNvSpPr>
          <p:nvPr/>
        </p:nvSpPr>
        <p:spPr bwMode="auto">
          <a:xfrm>
            <a:off x="7540083" y="4735341"/>
            <a:ext cx="4704333" cy="2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tregas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Textframe 23">
            <a:extLst>
              <a:ext uri="{FF2B5EF4-FFF2-40B4-BE49-F238E27FC236}">
                <a16:creationId xmlns:a16="http://schemas.microsoft.com/office/drawing/2014/main" xmlns="" id="{6D7AAF0D-8DC9-425A-8265-53B6768AA5D4}"/>
              </a:ext>
            </a:extLst>
          </p:cNvPr>
          <p:cNvSpPr txBox="1">
            <a:spLocks/>
          </p:cNvSpPr>
          <p:nvPr/>
        </p:nvSpPr>
        <p:spPr>
          <a:xfrm>
            <a:off x="7435308" y="5118209"/>
            <a:ext cx="4704333" cy="46166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marL="201784" lvl="1" indent="-201784" defTabSz="1269968">
              <a:spcBef>
                <a:spcPts val="267"/>
              </a:spcBef>
              <a:buSzPct val="100000"/>
              <a:buFont typeface="Arial"/>
              <a:buChar char="•"/>
              <a:defRPr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Informe de evaluación &amp; visión común y ambición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para la transformación digital de la ciudad </a:t>
            </a:r>
            <a:endParaRPr lang="en-US" sz="15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RBContent15">
            <a:extLst>
              <a:ext uri="{FF2B5EF4-FFF2-40B4-BE49-F238E27FC236}">
                <a16:creationId xmlns:a16="http://schemas.microsoft.com/office/drawing/2014/main" xmlns="" id="{D3042F9E-0107-4FCC-BE15-02FB89E89A57}"/>
              </a:ext>
            </a:extLst>
          </p:cNvPr>
          <p:cNvSpPr txBox="1">
            <a:spLocks/>
          </p:cNvSpPr>
          <p:nvPr/>
        </p:nvSpPr>
        <p:spPr>
          <a:xfrm>
            <a:off x="2917883" y="2255874"/>
            <a:ext cx="3553256" cy="364202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Determinar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 el nivel actual de 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madurez digital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de la ciudad en base a</a:t>
            </a:r>
          </a:p>
          <a:p>
            <a:pPr marL="742950" lvl="2" indent="-285750">
              <a:spcBef>
                <a:spcPts val="800"/>
              </a:spcBef>
              <a:buSzPct val="100000"/>
              <a:buFontTx/>
              <a:buChar char="-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Herramienta de autoevaluación (SAT) e indicadores clave de desempeño (KPI)</a:t>
            </a:r>
          </a:p>
          <a:p>
            <a:pPr marL="742950" lvl="2" indent="-285750">
              <a:spcBef>
                <a:spcPts val="800"/>
              </a:spcBef>
              <a:buSzPct val="100000"/>
              <a:buFontTx/>
              <a:buChar char="-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Iniciativas digitales en curso</a:t>
            </a:r>
          </a:p>
          <a:p>
            <a:pPr marL="742950" lvl="2" indent="-285750">
              <a:spcBef>
                <a:spcPts val="800"/>
              </a:spcBef>
              <a:buSzPct val="100000"/>
              <a:buFontTx/>
              <a:buChar char="-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Panorama y marco de políticas 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Definir y publicar una visión y ambición común para la transformación digital de la ciudad y la modernización industrial.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Desarrollar una red de actores locales relevantes para participar en la transformación digital.</a:t>
            </a:r>
            <a:endParaRPr lang="en-GB" sz="15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AFD6643C-5ED3-4AC4-96A1-13DBD3EA85CB}"/>
              </a:ext>
            </a:extLst>
          </p:cNvPr>
          <p:cNvCxnSpPr>
            <a:cxnSpLocks/>
          </p:cNvCxnSpPr>
          <p:nvPr/>
        </p:nvCxnSpPr>
        <p:spPr>
          <a:xfrm>
            <a:off x="4762500" y="1905248"/>
            <a:ext cx="1980959" cy="0"/>
          </a:xfrm>
          <a:prstGeom prst="line">
            <a:avLst/>
          </a:prstGeom>
          <a:ln w="28575" cmpd="sng">
            <a:solidFill>
              <a:schemeClr val="accent3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A2EF059C-65B5-4E13-A8B7-E6BD9707F6E1}"/>
              </a:ext>
            </a:extLst>
          </p:cNvPr>
          <p:cNvGrpSpPr>
            <a:grpSpLocks noChangeAspect="1"/>
          </p:cNvGrpSpPr>
          <p:nvPr/>
        </p:nvGrpSpPr>
        <p:grpSpPr>
          <a:xfrm>
            <a:off x="2942204" y="1648237"/>
            <a:ext cx="732116" cy="505625"/>
            <a:chOff x="1720851" y="1301751"/>
            <a:chExt cx="3576638" cy="2470150"/>
          </a:xfrm>
          <a:solidFill>
            <a:schemeClr val="accent5"/>
          </a:solidFill>
        </p:grpSpPr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xmlns="" id="{38B7FB9D-D7BA-4C60-A632-FD5863EB4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088" y="1301751"/>
              <a:ext cx="2389188" cy="2395538"/>
            </a:xfrm>
            <a:custGeom>
              <a:avLst/>
              <a:gdLst>
                <a:gd name="T0" fmla="*/ 1992 w 2074"/>
                <a:gd name="T1" fmla="*/ 1162 h 2080"/>
                <a:gd name="T2" fmla="*/ 1040 w 2074"/>
                <a:gd name="T3" fmla="*/ 2000 h 2080"/>
                <a:gd name="T4" fmla="*/ 80 w 2074"/>
                <a:gd name="T5" fmla="*/ 1040 h 2080"/>
                <a:gd name="T6" fmla="*/ 1040 w 2074"/>
                <a:gd name="T7" fmla="*/ 80 h 2080"/>
                <a:gd name="T8" fmla="*/ 1993 w 2074"/>
                <a:gd name="T9" fmla="*/ 925 h 2080"/>
                <a:gd name="T10" fmla="*/ 2074 w 2074"/>
                <a:gd name="T11" fmla="*/ 925 h 2080"/>
                <a:gd name="T12" fmla="*/ 1040 w 2074"/>
                <a:gd name="T13" fmla="*/ 0 h 2080"/>
                <a:gd name="T14" fmla="*/ 0 w 2074"/>
                <a:gd name="T15" fmla="*/ 1040 h 2080"/>
                <a:gd name="T16" fmla="*/ 1040 w 2074"/>
                <a:gd name="T17" fmla="*/ 2080 h 2080"/>
                <a:gd name="T18" fmla="*/ 2073 w 2074"/>
                <a:gd name="T19" fmla="*/ 1162 h 2080"/>
                <a:gd name="T20" fmla="*/ 1992 w 2074"/>
                <a:gd name="T21" fmla="*/ 1162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4" h="2080">
                  <a:moveTo>
                    <a:pt x="1992" y="1162"/>
                  </a:moveTo>
                  <a:cubicBezTo>
                    <a:pt x="1933" y="1635"/>
                    <a:pt x="1529" y="2000"/>
                    <a:pt x="1040" y="2000"/>
                  </a:cubicBezTo>
                  <a:cubicBezTo>
                    <a:pt x="510" y="2000"/>
                    <a:pt x="80" y="1571"/>
                    <a:pt x="80" y="1040"/>
                  </a:cubicBezTo>
                  <a:cubicBezTo>
                    <a:pt x="80" y="510"/>
                    <a:pt x="510" y="80"/>
                    <a:pt x="1040" y="80"/>
                  </a:cubicBezTo>
                  <a:cubicBezTo>
                    <a:pt x="1531" y="80"/>
                    <a:pt x="1936" y="449"/>
                    <a:pt x="1993" y="925"/>
                  </a:cubicBezTo>
                  <a:cubicBezTo>
                    <a:pt x="2074" y="925"/>
                    <a:pt x="2074" y="925"/>
                    <a:pt x="2074" y="925"/>
                  </a:cubicBezTo>
                  <a:cubicBezTo>
                    <a:pt x="2016" y="405"/>
                    <a:pt x="1575" y="0"/>
                    <a:pt x="1040" y="0"/>
                  </a:cubicBezTo>
                  <a:cubicBezTo>
                    <a:pt x="466" y="0"/>
                    <a:pt x="0" y="466"/>
                    <a:pt x="0" y="1040"/>
                  </a:cubicBezTo>
                  <a:cubicBezTo>
                    <a:pt x="0" y="1615"/>
                    <a:pt x="466" y="2080"/>
                    <a:pt x="1040" y="2080"/>
                  </a:cubicBezTo>
                  <a:cubicBezTo>
                    <a:pt x="1573" y="2080"/>
                    <a:pt x="2013" y="1679"/>
                    <a:pt x="2073" y="1162"/>
                  </a:cubicBezTo>
                  <a:lnTo>
                    <a:pt x="1992" y="1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xmlns="" id="{1B8AFA3D-66A5-4FC8-B43F-38FD8918D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2225676"/>
              <a:ext cx="514350" cy="547688"/>
            </a:xfrm>
            <a:custGeom>
              <a:avLst/>
              <a:gdLst>
                <a:gd name="T0" fmla="*/ 238 w 446"/>
                <a:gd name="T1" fmla="*/ 80 h 475"/>
                <a:gd name="T2" fmla="*/ 346 w 446"/>
                <a:gd name="T3" fmla="*/ 122 h 475"/>
                <a:gd name="T4" fmla="*/ 446 w 446"/>
                <a:gd name="T5" fmla="*/ 122 h 475"/>
                <a:gd name="T6" fmla="*/ 238 w 446"/>
                <a:gd name="T7" fmla="*/ 0 h 475"/>
                <a:gd name="T8" fmla="*/ 0 w 446"/>
                <a:gd name="T9" fmla="*/ 237 h 475"/>
                <a:gd name="T10" fmla="*/ 238 w 446"/>
                <a:gd name="T11" fmla="*/ 475 h 475"/>
                <a:gd name="T12" fmla="*/ 443 w 446"/>
                <a:gd name="T13" fmla="*/ 359 h 475"/>
                <a:gd name="T14" fmla="*/ 339 w 446"/>
                <a:gd name="T15" fmla="*/ 359 h 475"/>
                <a:gd name="T16" fmla="*/ 238 w 446"/>
                <a:gd name="T17" fmla="*/ 395 h 475"/>
                <a:gd name="T18" fmla="*/ 80 w 446"/>
                <a:gd name="T19" fmla="*/ 237 h 475"/>
                <a:gd name="T20" fmla="*/ 238 w 446"/>
                <a:gd name="T21" fmla="*/ 8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6" h="475">
                  <a:moveTo>
                    <a:pt x="238" y="80"/>
                  </a:moveTo>
                  <a:cubicBezTo>
                    <a:pt x="280" y="80"/>
                    <a:pt x="318" y="96"/>
                    <a:pt x="346" y="122"/>
                  </a:cubicBezTo>
                  <a:cubicBezTo>
                    <a:pt x="446" y="122"/>
                    <a:pt x="446" y="122"/>
                    <a:pt x="446" y="122"/>
                  </a:cubicBezTo>
                  <a:cubicBezTo>
                    <a:pt x="406" y="49"/>
                    <a:pt x="328" y="0"/>
                    <a:pt x="238" y="0"/>
                  </a:cubicBezTo>
                  <a:cubicBezTo>
                    <a:pt x="107" y="0"/>
                    <a:pt x="0" y="106"/>
                    <a:pt x="0" y="237"/>
                  </a:cubicBezTo>
                  <a:cubicBezTo>
                    <a:pt x="0" y="369"/>
                    <a:pt x="107" y="475"/>
                    <a:pt x="238" y="475"/>
                  </a:cubicBezTo>
                  <a:cubicBezTo>
                    <a:pt x="325" y="475"/>
                    <a:pt x="401" y="428"/>
                    <a:pt x="443" y="359"/>
                  </a:cubicBezTo>
                  <a:cubicBezTo>
                    <a:pt x="339" y="359"/>
                    <a:pt x="339" y="359"/>
                    <a:pt x="339" y="359"/>
                  </a:cubicBezTo>
                  <a:cubicBezTo>
                    <a:pt x="312" y="381"/>
                    <a:pt x="277" y="395"/>
                    <a:pt x="238" y="395"/>
                  </a:cubicBezTo>
                  <a:cubicBezTo>
                    <a:pt x="151" y="395"/>
                    <a:pt x="80" y="325"/>
                    <a:pt x="80" y="237"/>
                  </a:cubicBezTo>
                  <a:cubicBezTo>
                    <a:pt x="80" y="150"/>
                    <a:pt x="151" y="80"/>
                    <a:pt x="23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xmlns="" id="{A0FB8A26-862C-45DA-BB7E-E5B6A0940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8226" y="1765301"/>
              <a:ext cx="1458913" cy="1468438"/>
            </a:xfrm>
            <a:custGeom>
              <a:avLst/>
              <a:gdLst>
                <a:gd name="T0" fmla="*/ 1184 w 1266"/>
                <a:gd name="T1" fmla="*/ 522 h 1275"/>
                <a:gd name="T2" fmla="*/ 1266 w 1266"/>
                <a:gd name="T3" fmla="*/ 522 h 1275"/>
                <a:gd name="T4" fmla="*/ 638 w 1266"/>
                <a:gd name="T5" fmla="*/ 0 h 1275"/>
                <a:gd name="T6" fmla="*/ 0 w 1266"/>
                <a:gd name="T7" fmla="*/ 637 h 1275"/>
                <a:gd name="T8" fmla="*/ 638 w 1266"/>
                <a:gd name="T9" fmla="*/ 1275 h 1275"/>
                <a:gd name="T10" fmla="*/ 1264 w 1266"/>
                <a:gd name="T11" fmla="*/ 759 h 1275"/>
                <a:gd name="T12" fmla="*/ 1183 w 1266"/>
                <a:gd name="T13" fmla="*/ 759 h 1275"/>
                <a:gd name="T14" fmla="*/ 638 w 1266"/>
                <a:gd name="T15" fmla="*/ 1195 h 1275"/>
                <a:gd name="T16" fmla="*/ 80 w 1266"/>
                <a:gd name="T17" fmla="*/ 637 h 1275"/>
                <a:gd name="T18" fmla="*/ 638 w 1266"/>
                <a:gd name="T19" fmla="*/ 80 h 1275"/>
                <a:gd name="T20" fmla="*/ 1184 w 1266"/>
                <a:gd name="T21" fmla="*/ 522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1275">
                  <a:moveTo>
                    <a:pt x="1184" y="522"/>
                  </a:moveTo>
                  <a:cubicBezTo>
                    <a:pt x="1266" y="522"/>
                    <a:pt x="1266" y="522"/>
                    <a:pt x="1266" y="522"/>
                  </a:cubicBezTo>
                  <a:cubicBezTo>
                    <a:pt x="1211" y="225"/>
                    <a:pt x="951" y="0"/>
                    <a:pt x="638" y="0"/>
                  </a:cubicBezTo>
                  <a:cubicBezTo>
                    <a:pt x="286" y="0"/>
                    <a:pt x="0" y="285"/>
                    <a:pt x="0" y="637"/>
                  </a:cubicBezTo>
                  <a:cubicBezTo>
                    <a:pt x="0" y="990"/>
                    <a:pt x="286" y="1275"/>
                    <a:pt x="638" y="1275"/>
                  </a:cubicBezTo>
                  <a:cubicBezTo>
                    <a:pt x="949" y="1275"/>
                    <a:pt x="1208" y="1053"/>
                    <a:pt x="1264" y="759"/>
                  </a:cubicBezTo>
                  <a:cubicBezTo>
                    <a:pt x="1183" y="759"/>
                    <a:pt x="1183" y="759"/>
                    <a:pt x="1183" y="759"/>
                  </a:cubicBezTo>
                  <a:cubicBezTo>
                    <a:pt x="1127" y="1008"/>
                    <a:pt x="905" y="1195"/>
                    <a:pt x="638" y="1195"/>
                  </a:cubicBezTo>
                  <a:cubicBezTo>
                    <a:pt x="330" y="1195"/>
                    <a:pt x="80" y="945"/>
                    <a:pt x="80" y="637"/>
                  </a:cubicBezTo>
                  <a:cubicBezTo>
                    <a:pt x="80" y="329"/>
                    <a:pt x="330" y="80"/>
                    <a:pt x="638" y="80"/>
                  </a:cubicBezTo>
                  <a:cubicBezTo>
                    <a:pt x="907" y="80"/>
                    <a:pt x="1131" y="269"/>
                    <a:pt x="1184" y="5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xmlns="" id="{475A5465-BAB3-4E3B-9A7C-3210569DD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351" y="2109788"/>
              <a:ext cx="2243138" cy="785813"/>
            </a:xfrm>
            <a:custGeom>
              <a:avLst/>
              <a:gdLst>
                <a:gd name="T0" fmla="*/ 1209 w 1413"/>
                <a:gd name="T1" fmla="*/ 245 h 495"/>
                <a:gd name="T2" fmla="*/ 1413 w 1413"/>
                <a:gd name="T3" fmla="*/ 41 h 495"/>
                <a:gd name="T4" fmla="*/ 1372 w 1413"/>
                <a:gd name="T5" fmla="*/ 0 h 495"/>
                <a:gd name="T6" fmla="*/ 1155 w 1413"/>
                <a:gd name="T7" fmla="*/ 218 h 495"/>
                <a:gd name="T8" fmla="*/ 967 w 1413"/>
                <a:gd name="T9" fmla="*/ 218 h 495"/>
                <a:gd name="T10" fmla="*/ 1143 w 1413"/>
                <a:gd name="T11" fmla="*/ 41 h 495"/>
                <a:gd name="T12" fmla="*/ 1103 w 1413"/>
                <a:gd name="T13" fmla="*/ 0 h 495"/>
                <a:gd name="T14" fmla="*/ 885 w 1413"/>
                <a:gd name="T15" fmla="*/ 218 h 495"/>
                <a:gd name="T16" fmla="*/ 0 w 1413"/>
                <a:gd name="T17" fmla="*/ 218 h 495"/>
                <a:gd name="T18" fmla="*/ 0 w 1413"/>
                <a:gd name="T19" fmla="*/ 276 h 495"/>
                <a:gd name="T20" fmla="*/ 883 w 1413"/>
                <a:gd name="T21" fmla="*/ 276 h 495"/>
                <a:gd name="T22" fmla="*/ 1103 w 1413"/>
                <a:gd name="T23" fmla="*/ 495 h 495"/>
                <a:gd name="T24" fmla="*/ 1143 w 1413"/>
                <a:gd name="T25" fmla="*/ 454 h 495"/>
                <a:gd name="T26" fmla="*/ 965 w 1413"/>
                <a:gd name="T27" fmla="*/ 276 h 495"/>
                <a:gd name="T28" fmla="*/ 1153 w 1413"/>
                <a:gd name="T29" fmla="*/ 276 h 495"/>
                <a:gd name="T30" fmla="*/ 1372 w 1413"/>
                <a:gd name="T31" fmla="*/ 495 h 495"/>
                <a:gd name="T32" fmla="*/ 1413 w 1413"/>
                <a:gd name="T33" fmla="*/ 454 h 495"/>
                <a:gd name="T34" fmla="*/ 1209 w 1413"/>
                <a:gd name="T35" fmla="*/ 250 h 495"/>
                <a:gd name="T36" fmla="*/ 1209 w 1413"/>
                <a:gd name="T37" fmla="*/ 24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13" h="495">
                  <a:moveTo>
                    <a:pt x="1209" y="245"/>
                  </a:moveTo>
                  <a:lnTo>
                    <a:pt x="1413" y="41"/>
                  </a:lnTo>
                  <a:lnTo>
                    <a:pt x="1372" y="0"/>
                  </a:lnTo>
                  <a:lnTo>
                    <a:pt x="1155" y="218"/>
                  </a:lnTo>
                  <a:lnTo>
                    <a:pt x="967" y="218"/>
                  </a:lnTo>
                  <a:lnTo>
                    <a:pt x="1143" y="41"/>
                  </a:lnTo>
                  <a:lnTo>
                    <a:pt x="1103" y="0"/>
                  </a:lnTo>
                  <a:lnTo>
                    <a:pt x="885" y="218"/>
                  </a:lnTo>
                  <a:lnTo>
                    <a:pt x="0" y="218"/>
                  </a:lnTo>
                  <a:lnTo>
                    <a:pt x="0" y="276"/>
                  </a:lnTo>
                  <a:lnTo>
                    <a:pt x="883" y="276"/>
                  </a:lnTo>
                  <a:lnTo>
                    <a:pt x="1103" y="495"/>
                  </a:lnTo>
                  <a:lnTo>
                    <a:pt x="1143" y="454"/>
                  </a:lnTo>
                  <a:lnTo>
                    <a:pt x="965" y="276"/>
                  </a:lnTo>
                  <a:lnTo>
                    <a:pt x="1153" y="276"/>
                  </a:lnTo>
                  <a:lnTo>
                    <a:pt x="1372" y="495"/>
                  </a:lnTo>
                  <a:lnTo>
                    <a:pt x="1413" y="454"/>
                  </a:lnTo>
                  <a:lnTo>
                    <a:pt x="1209" y="250"/>
                  </a:lnTo>
                  <a:lnTo>
                    <a:pt x="1209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xmlns="" id="{1E3A1EB7-AEC5-43BE-9C8A-3CB930AE2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3351213"/>
              <a:ext cx="415925" cy="417513"/>
            </a:xfrm>
            <a:custGeom>
              <a:avLst/>
              <a:gdLst>
                <a:gd name="T0" fmla="*/ 0 w 262"/>
                <a:gd name="T1" fmla="*/ 41 h 263"/>
                <a:gd name="T2" fmla="*/ 222 w 262"/>
                <a:gd name="T3" fmla="*/ 263 h 263"/>
                <a:gd name="T4" fmla="*/ 262 w 262"/>
                <a:gd name="T5" fmla="*/ 221 h 263"/>
                <a:gd name="T6" fmla="*/ 41 w 262"/>
                <a:gd name="T7" fmla="*/ 0 h 263"/>
                <a:gd name="T8" fmla="*/ 0 w 262"/>
                <a:gd name="T9" fmla="*/ 4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3">
                  <a:moveTo>
                    <a:pt x="0" y="41"/>
                  </a:moveTo>
                  <a:lnTo>
                    <a:pt x="222" y="263"/>
                  </a:lnTo>
                  <a:lnTo>
                    <a:pt x="262" y="221"/>
                  </a:lnTo>
                  <a:lnTo>
                    <a:pt x="41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xmlns="" id="{CAC74DC6-B63A-40A9-BF11-2DC29EB18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851" y="3352801"/>
              <a:ext cx="417513" cy="419100"/>
            </a:xfrm>
            <a:custGeom>
              <a:avLst/>
              <a:gdLst>
                <a:gd name="T0" fmla="*/ 0 w 263"/>
                <a:gd name="T1" fmla="*/ 222 h 264"/>
                <a:gd name="T2" fmla="*/ 41 w 263"/>
                <a:gd name="T3" fmla="*/ 264 h 264"/>
                <a:gd name="T4" fmla="*/ 263 w 263"/>
                <a:gd name="T5" fmla="*/ 42 h 264"/>
                <a:gd name="T6" fmla="*/ 222 w 263"/>
                <a:gd name="T7" fmla="*/ 0 h 264"/>
                <a:gd name="T8" fmla="*/ 0 w 263"/>
                <a:gd name="T9" fmla="*/ 22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264">
                  <a:moveTo>
                    <a:pt x="0" y="222"/>
                  </a:moveTo>
                  <a:lnTo>
                    <a:pt x="41" y="264"/>
                  </a:lnTo>
                  <a:lnTo>
                    <a:pt x="263" y="42"/>
                  </a:lnTo>
                  <a:lnTo>
                    <a:pt x="222" y="0"/>
                  </a:lnTo>
                  <a:lnTo>
                    <a:pt x="0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</p:grpSp>
      <p:sp>
        <p:nvSpPr>
          <p:cNvPr id="18" name="ListLeanHorizontalTextTopic1">
            <a:extLst>
              <a:ext uri="{FF2B5EF4-FFF2-40B4-BE49-F238E27FC236}">
                <a16:creationId xmlns:a16="http://schemas.microsoft.com/office/drawing/2014/main" xmlns="" id="{5D2402EE-EA34-4322-86A0-1F27931531E5}"/>
              </a:ext>
            </a:extLst>
          </p:cNvPr>
          <p:cNvSpPr txBox="1">
            <a:spLocks/>
          </p:cNvSpPr>
          <p:nvPr/>
        </p:nvSpPr>
        <p:spPr bwMode="auto">
          <a:xfrm>
            <a:off x="3774792" y="1773674"/>
            <a:ext cx="1017907" cy="26314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bjetivos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B415F6A1-00C1-43BE-8885-0DE7143AE2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22872" y="1595924"/>
            <a:ext cx="612262" cy="605460"/>
            <a:chOff x="1826" y="1368"/>
            <a:chExt cx="363" cy="356"/>
          </a:xfrm>
          <a:solidFill>
            <a:schemeClr val="accent5"/>
          </a:solidFill>
        </p:grpSpPr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xmlns="" id="{755AA74C-F4F1-412A-B036-F2CF58D07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4" y="1434"/>
              <a:ext cx="81" cy="81"/>
            </a:xfrm>
            <a:custGeom>
              <a:avLst/>
              <a:gdLst>
                <a:gd name="T0" fmla="*/ 359 w 810"/>
                <a:gd name="T1" fmla="*/ 68 h 814"/>
                <a:gd name="T2" fmla="*/ 273 w 810"/>
                <a:gd name="T3" fmla="*/ 91 h 814"/>
                <a:gd name="T4" fmla="*/ 196 w 810"/>
                <a:gd name="T5" fmla="*/ 136 h 814"/>
                <a:gd name="T6" fmla="*/ 136 w 810"/>
                <a:gd name="T7" fmla="*/ 198 h 814"/>
                <a:gd name="T8" fmla="*/ 91 w 810"/>
                <a:gd name="T9" fmla="*/ 273 h 814"/>
                <a:gd name="T10" fmla="*/ 67 w 810"/>
                <a:gd name="T11" fmla="*/ 361 h 814"/>
                <a:gd name="T12" fmla="*/ 67 w 810"/>
                <a:gd name="T13" fmla="*/ 453 h 814"/>
                <a:gd name="T14" fmla="*/ 91 w 810"/>
                <a:gd name="T15" fmla="*/ 540 h 814"/>
                <a:gd name="T16" fmla="*/ 136 w 810"/>
                <a:gd name="T17" fmla="*/ 615 h 814"/>
                <a:gd name="T18" fmla="*/ 196 w 810"/>
                <a:gd name="T19" fmla="*/ 677 h 814"/>
                <a:gd name="T20" fmla="*/ 273 w 810"/>
                <a:gd name="T21" fmla="*/ 722 h 814"/>
                <a:gd name="T22" fmla="*/ 359 w 810"/>
                <a:gd name="T23" fmla="*/ 746 h 814"/>
                <a:gd name="T24" fmla="*/ 451 w 810"/>
                <a:gd name="T25" fmla="*/ 746 h 814"/>
                <a:gd name="T26" fmla="*/ 537 w 810"/>
                <a:gd name="T27" fmla="*/ 722 h 814"/>
                <a:gd name="T28" fmla="*/ 613 w 810"/>
                <a:gd name="T29" fmla="*/ 677 h 814"/>
                <a:gd name="T30" fmla="*/ 675 w 810"/>
                <a:gd name="T31" fmla="*/ 615 h 814"/>
                <a:gd name="T32" fmla="*/ 719 w 810"/>
                <a:gd name="T33" fmla="*/ 540 h 814"/>
                <a:gd name="T34" fmla="*/ 743 w 810"/>
                <a:gd name="T35" fmla="*/ 453 h 814"/>
                <a:gd name="T36" fmla="*/ 743 w 810"/>
                <a:gd name="T37" fmla="*/ 361 h 814"/>
                <a:gd name="T38" fmla="*/ 719 w 810"/>
                <a:gd name="T39" fmla="*/ 273 h 814"/>
                <a:gd name="T40" fmla="*/ 675 w 810"/>
                <a:gd name="T41" fmla="*/ 198 h 814"/>
                <a:gd name="T42" fmla="*/ 613 w 810"/>
                <a:gd name="T43" fmla="*/ 136 h 814"/>
                <a:gd name="T44" fmla="*/ 537 w 810"/>
                <a:gd name="T45" fmla="*/ 91 h 814"/>
                <a:gd name="T46" fmla="*/ 451 w 810"/>
                <a:gd name="T47" fmla="*/ 68 h 814"/>
                <a:gd name="T48" fmla="*/ 405 w 810"/>
                <a:gd name="T49" fmla="*/ 0 h 814"/>
                <a:gd name="T50" fmla="*/ 504 w 810"/>
                <a:gd name="T51" fmla="*/ 12 h 814"/>
                <a:gd name="T52" fmla="*/ 596 w 810"/>
                <a:gd name="T53" fmla="*/ 47 h 814"/>
                <a:gd name="T54" fmla="*/ 674 w 810"/>
                <a:gd name="T55" fmla="*/ 103 h 814"/>
                <a:gd name="T56" fmla="*/ 737 w 810"/>
                <a:gd name="T57" fmla="*/ 174 h 814"/>
                <a:gd name="T58" fmla="*/ 783 w 810"/>
                <a:gd name="T59" fmla="*/ 260 h 814"/>
                <a:gd name="T60" fmla="*/ 807 w 810"/>
                <a:gd name="T61" fmla="*/ 355 h 814"/>
                <a:gd name="T62" fmla="*/ 807 w 810"/>
                <a:gd name="T63" fmla="*/ 458 h 814"/>
                <a:gd name="T64" fmla="*/ 783 w 810"/>
                <a:gd name="T65" fmla="*/ 554 h 814"/>
                <a:gd name="T66" fmla="*/ 737 w 810"/>
                <a:gd name="T67" fmla="*/ 639 h 814"/>
                <a:gd name="T68" fmla="*/ 674 w 810"/>
                <a:gd name="T69" fmla="*/ 710 h 814"/>
                <a:gd name="T70" fmla="*/ 596 w 810"/>
                <a:gd name="T71" fmla="*/ 766 h 814"/>
                <a:gd name="T72" fmla="*/ 504 w 810"/>
                <a:gd name="T73" fmla="*/ 801 h 814"/>
                <a:gd name="T74" fmla="*/ 405 w 810"/>
                <a:gd name="T75" fmla="*/ 814 h 814"/>
                <a:gd name="T76" fmla="*/ 305 w 810"/>
                <a:gd name="T77" fmla="*/ 801 h 814"/>
                <a:gd name="T78" fmla="*/ 215 w 810"/>
                <a:gd name="T79" fmla="*/ 766 h 814"/>
                <a:gd name="T80" fmla="*/ 136 w 810"/>
                <a:gd name="T81" fmla="*/ 710 h 814"/>
                <a:gd name="T82" fmla="*/ 72 w 810"/>
                <a:gd name="T83" fmla="*/ 639 h 814"/>
                <a:gd name="T84" fmla="*/ 27 w 810"/>
                <a:gd name="T85" fmla="*/ 554 h 814"/>
                <a:gd name="T86" fmla="*/ 3 w 810"/>
                <a:gd name="T87" fmla="*/ 458 h 814"/>
                <a:gd name="T88" fmla="*/ 3 w 810"/>
                <a:gd name="T89" fmla="*/ 355 h 814"/>
                <a:gd name="T90" fmla="*/ 27 w 810"/>
                <a:gd name="T91" fmla="*/ 260 h 814"/>
                <a:gd name="T92" fmla="*/ 72 w 810"/>
                <a:gd name="T93" fmla="*/ 174 h 814"/>
                <a:gd name="T94" fmla="*/ 136 w 810"/>
                <a:gd name="T95" fmla="*/ 103 h 814"/>
                <a:gd name="T96" fmla="*/ 215 w 810"/>
                <a:gd name="T97" fmla="*/ 47 h 814"/>
                <a:gd name="T98" fmla="*/ 305 w 810"/>
                <a:gd name="T99" fmla="*/ 12 h 814"/>
                <a:gd name="T100" fmla="*/ 405 w 810"/>
                <a:gd name="T10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10" h="814">
                  <a:moveTo>
                    <a:pt x="405" y="65"/>
                  </a:moveTo>
                  <a:lnTo>
                    <a:pt x="359" y="68"/>
                  </a:lnTo>
                  <a:lnTo>
                    <a:pt x="314" y="77"/>
                  </a:lnTo>
                  <a:lnTo>
                    <a:pt x="273" y="91"/>
                  </a:lnTo>
                  <a:lnTo>
                    <a:pt x="233" y="112"/>
                  </a:lnTo>
                  <a:lnTo>
                    <a:pt x="196" y="136"/>
                  </a:lnTo>
                  <a:lnTo>
                    <a:pt x="164" y="165"/>
                  </a:lnTo>
                  <a:lnTo>
                    <a:pt x="136" y="198"/>
                  </a:lnTo>
                  <a:lnTo>
                    <a:pt x="111" y="234"/>
                  </a:lnTo>
                  <a:lnTo>
                    <a:pt x="91" y="273"/>
                  </a:lnTo>
                  <a:lnTo>
                    <a:pt x="76" y="316"/>
                  </a:lnTo>
                  <a:lnTo>
                    <a:pt x="67" y="361"/>
                  </a:lnTo>
                  <a:lnTo>
                    <a:pt x="64" y="407"/>
                  </a:lnTo>
                  <a:lnTo>
                    <a:pt x="67" y="453"/>
                  </a:lnTo>
                  <a:lnTo>
                    <a:pt x="76" y="497"/>
                  </a:lnTo>
                  <a:lnTo>
                    <a:pt x="91" y="540"/>
                  </a:lnTo>
                  <a:lnTo>
                    <a:pt x="111" y="579"/>
                  </a:lnTo>
                  <a:lnTo>
                    <a:pt x="136" y="615"/>
                  </a:lnTo>
                  <a:lnTo>
                    <a:pt x="164" y="649"/>
                  </a:lnTo>
                  <a:lnTo>
                    <a:pt x="196" y="677"/>
                  </a:lnTo>
                  <a:lnTo>
                    <a:pt x="233" y="702"/>
                  </a:lnTo>
                  <a:lnTo>
                    <a:pt x="273" y="722"/>
                  </a:lnTo>
                  <a:lnTo>
                    <a:pt x="314" y="736"/>
                  </a:lnTo>
                  <a:lnTo>
                    <a:pt x="359" y="746"/>
                  </a:lnTo>
                  <a:lnTo>
                    <a:pt x="405" y="748"/>
                  </a:lnTo>
                  <a:lnTo>
                    <a:pt x="451" y="746"/>
                  </a:lnTo>
                  <a:lnTo>
                    <a:pt x="496" y="736"/>
                  </a:lnTo>
                  <a:lnTo>
                    <a:pt x="537" y="722"/>
                  </a:lnTo>
                  <a:lnTo>
                    <a:pt x="577" y="702"/>
                  </a:lnTo>
                  <a:lnTo>
                    <a:pt x="613" y="677"/>
                  </a:lnTo>
                  <a:lnTo>
                    <a:pt x="646" y="649"/>
                  </a:lnTo>
                  <a:lnTo>
                    <a:pt x="675" y="615"/>
                  </a:lnTo>
                  <a:lnTo>
                    <a:pt x="699" y="579"/>
                  </a:lnTo>
                  <a:lnTo>
                    <a:pt x="719" y="540"/>
                  </a:lnTo>
                  <a:lnTo>
                    <a:pt x="734" y="497"/>
                  </a:lnTo>
                  <a:lnTo>
                    <a:pt x="743" y="453"/>
                  </a:lnTo>
                  <a:lnTo>
                    <a:pt x="746" y="407"/>
                  </a:lnTo>
                  <a:lnTo>
                    <a:pt x="743" y="361"/>
                  </a:lnTo>
                  <a:lnTo>
                    <a:pt x="734" y="316"/>
                  </a:lnTo>
                  <a:lnTo>
                    <a:pt x="719" y="273"/>
                  </a:lnTo>
                  <a:lnTo>
                    <a:pt x="699" y="234"/>
                  </a:lnTo>
                  <a:lnTo>
                    <a:pt x="675" y="198"/>
                  </a:lnTo>
                  <a:lnTo>
                    <a:pt x="646" y="165"/>
                  </a:lnTo>
                  <a:lnTo>
                    <a:pt x="613" y="136"/>
                  </a:lnTo>
                  <a:lnTo>
                    <a:pt x="577" y="112"/>
                  </a:lnTo>
                  <a:lnTo>
                    <a:pt x="537" y="91"/>
                  </a:lnTo>
                  <a:lnTo>
                    <a:pt x="496" y="77"/>
                  </a:lnTo>
                  <a:lnTo>
                    <a:pt x="451" y="68"/>
                  </a:lnTo>
                  <a:lnTo>
                    <a:pt x="405" y="65"/>
                  </a:lnTo>
                  <a:close/>
                  <a:moveTo>
                    <a:pt x="405" y="0"/>
                  </a:moveTo>
                  <a:lnTo>
                    <a:pt x="455" y="4"/>
                  </a:lnTo>
                  <a:lnTo>
                    <a:pt x="504" y="12"/>
                  </a:lnTo>
                  <a:lnTo>
                    <a:pt x="551" y="28"/>
                  </a:lnTo>
                  <a:lnTo>
                    <a:pt x="596" y="47"/>
                  </a:lnTo>
                  <a:lnTo>
                    <a:pt x="636" y="72"/>
                  </a:lnTo>
                  <a:lnTo>
                    <a:pt x="674" y="103"/>
                  </a:lnTo>
                  <a:lnTo>
                    <a:pt x="708" y="137"/>
                  </a:lnTo>
                  <a:lnTo>
                    <a:pt x="737" y="174"/>
                  </a:lnTo>
                  <a:lnTo>
                    <a:pt x="762" y="215"/>
                  </a:lnTo>
                  <a:lnTo>
                    <a:pt x="783" y="260"/>
                  </a:lnTo>
                  <a:lnTo>
                    <a:pt x="798" y="307"/>
                  </a:lnTo>
                  <a:lnTo>
                    <a:pt x="807" y="355"/>
                  </a:lnTo>
                  <a:lnTo>
                    <a:pt x="810" y="407"/>
                  </a:lnTo>
                  <a:lnTo>
                    <a:pt x="807" y="458"/>
                  </a:lnTo>
                  <a:lnTo>
                    <a:pt x="798" y="507"/>
                  </a:lnTo>
                  <a:lnTo>
                    <a:pt x="783" y="554"/>
                  </a:lnTo>
                  <a:lnTo>
                    <a:pt x="762" y="598"/>
                  </a:lnTo>
                  <a:lnTo>
                    <a:pt x="737" y="639"/>
                  </a:lnTo>
                  <a:lnTo>
                    <a:pt x="708" y="676"/>
                  </a:lnTo>
                  <a:lnTo>
                    <a:pt x="674" y="710"/>
                  </a:lnTo>
                  <a:lnTo>
                    <a:pt x="636" y="741"/>
                  </a:lnTo>
                  <a:lnTo>
                    <a:pt x="596" y="766"/>
                  </a:lnTo>
                  <a:lnTo>
                    <a:pt x="551" y="785"/>
                  </a:lnTo>
                  <a:lnTo>
                    <a:pt x="504" y="801"/>
                  </a:lnTo>
                  <a:lnTo>
                    <a:pt x="455" y="810"/>
                  </a:lnTo>
                  <a:lnTo>
                    <a:pt x="405" y="814"/>
                  </a:lnTo>
                  <a:lnTo>
                    <a:pt x="354" y="810"/>
                  </a:lnTo>
                  <a:lnTo>
                    <a:pt x="305" y="801"/>
                  </a:lnTo>
                  <a:lnTo>
                    <a:pt x="258" y="785"/>
                  </a:lnTo>
                  <a:lnTo>
                    <a:pt x="215" y="766"/>
                  </a:lnTo>
                  <a:lnTo>
                    <a:pt x="174" y="741"/>
                  </a:lnTo>
                  <a:lnTo>
                    <a:pt x="136" y="710"/>
                  </a:lnTo>
                  <a:lnTo>
                    <a:pt x="102" y="676"/>
                  </a:lnTo>
                  <a:lnTo>
                    <a:pt x="72" y="639"/>
                  </a:lnTo>
                  <a:lnTo>
                    <a:pt x="47" y="598"/>
                  </a:lnTo>
                  <a:lnTo>
                    <a:pt x="27" y="554"/>
                  </a:lnTo>
                  <a:lnTo>
                    <a:pt x="13" y="507"/>
                  </a:lnTo>
                  <a:lnTo>
                    <a:pt x="3" y="458"/>
                  </a:lnTo>
                  <a:lnTo>
                    <a:pt x="0" y="407"/>
                  </a:lnTo>
                  <a:lnTo>
                    <a:pt x="3" y="355"/>
                  </a:lnTo>
                  <a:lnTo>
                    <a:pt x="13" y="307"/>
                  </a:lnTo>
                  <a:lnTo>
                    <a:pt x="27" y="260"/>
                  </a:lnTo>
                  <a:lnTo>
                    <a:pt x="47" y="215"/>
                  </a:lnTo>
                  <a:lnTo>
                    <a:pt x="72" y="174"/>
                  </a:lnTo>
                  <a:lnTo>
                    <a:pt x="102" y="137"/>
                  </a:lnTo>
                  <a:lnTo>
                    <a:pt x="136" y="103"/>
                  </a:lnTo>
                  <a:lnTo>
                    <a:pt x="174" y="72"/>
                  </a:lnTo>
                  <a:lnTo>
                    <a:pt x="215" y="47"/>
                  </a:lnTo>
                  <a:lnTo>
                    <a:pt x="258" y="28"/>
                  </a:lnTo>
                  <a:lnTo>
                    <a:pt x="305" y="12"/>
                  </a:lnTo>
                  <a:lnTo>
                    <a:pt x="354" y="4"/>
                  </a:lnTo>
                  <a:lnTo>
                    <a:pt x="4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xmlns="" id="{970D767B-C89C-45B8-88CE-D487AECEFC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6" y="1368"/>
              <a:ext cx="215" cy="216"/>
            </a:xfrm>
            <a:custGeom>
              <a:avLst/>
              <a:gdLst>
                <a:gd name="T0" fmla="*/ 909 w 2152"/>
                <a:gd name="T1" fmla="*/ 102 h 2159"/>
                <a:gd name="T2" fmla="*/ 762 w 2152"/>
                <a:gd name="T3" fmla="*/ 314 h 2159"/>
                <a:gd name="T4" fmla="*/ 509 w 2152"/>
                <a:gd name="T5" fmla="*/ 271 h 2159"/>
                <a:gd name="T6" fmla="*/ 437 w 2152"/>
                <a:gd name="T7" fmla="*/ 284 h 2159"/>
                <a:gd name="T8" fmla="*/ 263 w 2152"/>
                <a:gd name="T9" fmla="*/ 513 h 2159"/>
                <a:gd name="T10" fmla="*/ 307 w 2152"/>
                <a:gd name="T11" fmla="*/ 801 h 2159"/>
                <a:gd name="T12" fmla="*/ 87 w 2152"/>
                <a:gd name="T13" fmla="*/ 922 h 2159"/>
                <a:gd name="T14" fmla="*/ 67 w 2152"/>
                <a:gd name="T15" fmla="*/ 1215 h 2159"/>
                <a:gd name="T16" fmla="*/ 288 w 2152"/>
                <a:gd name="T17" fmla="*/ 1279 h 2159"/>
                <a:gd name="T18" fmla="*/ 379 w 2152"/>
                <a:gd name="T19" fmla="*/ 1494 h 2159"/>
                <a:gd name="T20" fmla="*/ 267 w 2152"/>
                <a:gd name="T21" fmla="*/ 1698 h 2159"/>
                <a:gd name="T22" fmla="*/ 482 w 2152"/>
                <a:gd name="T23" fmla="*/ 1893 h 2159"/>
                <a:gd name="T24" fmla="*/ 673 w 2152"/>
                <a:gd name="T25" fmla="*/ 1783 h 2159"/>
                <a:gd name="T26" fmla="*/ 896 w 2152"/>
                <a:gd name="T27" fmla="*/ 2038 h 2159"/>
                <a:gd name="T28" fmla="*/ 958 w 2152"/>
                <a:gd name="T29" fmla="*/ 2095 h 2159"/>
                <a:gd name="T30" fmla="*/ 1242 w 2152"/>
                <a:gd name="T31" fmla="*/ 2056 h 2159"/>
                <a:gd name="T32" fmla="*/ 1420 w 2152"/>
                <a:gd name="T33" fmla="*/ 1818 h 2159"/>
                <a:gd name="T34" fmla="*/ 1657 w 2152"/>
                <a:gd name="T35" fmla="*/ 1890 h 2159"/>
                <a:gd name="T36" fmla="*/ 1874 w 2152"/>
                <a:gd name="T37" fmla="*/ 1714 h 2159"/>
                <a:gd name="T38" fmla="*/ 1880 w 2152"/>
                <a:gd name="T39" fmla="*/ 1630 h 2159"/>
                <a:gd name="T40" fmla="*/ 1870 w 2152"/>
                <a:gd name="T41" fmla="*/ 1289 h 2159"/>
                <a:gd name="T42" fmla="*/ 2078 w 2152"/>
                <a:gd name="T43" fmla="*/ 1222 h 2159"/>
                <a:gd name="T44" fmla="*/ 2078 w 2152"/>
                <a:gd name="T45" fmla="*/ 925 h 2159"/>
                <a:gd name="T46" fmla="*/ 1872 w 2152"/>
                <a:gd name="T47" fmla="*/ 858 h 2159"/>
                <a:gd name="T48" fmla="*/ 1879 w 2152"/>
                <a:gd name="T49" fmla="*/ 528 h 2159"/>
                <a:gd name="T50" fmla="*/ 1874 w 2152"/>
                <a:gd name="T51" fmla="*/ 444 h 2159"/>
                <a:gd name="T52" fmla="*/ 1657 w 2152"/>
                <a:gd name="T53" fmla="*/ 267 h 2159"/>
                <a:gd name="T54" fmla="*/ 1447 w 2152"/>
                <a:gd name="T55" fmla="*/ 336 h 2159"/>
                <a:gd name="T56" fmla="*/ 1257 w 2152"/>
                <a:gd name="T57" fmla="*/ 120 h 2159"/>
                <a:gd name="T58" fmla="*/ 1193 w 2152"/>
                <a:gd name="T59" fmla="*/ 64 h 2159"/>
                <a:gd name="T60" fmla="*/ 1246 w 2152"/>
                <a:gd name="T61" fmla="*/ 10 h 2159"/>
                <a:gd name="T62" fmla="*/ 1321 w 2152"/>
                <a:gd name="T63" fmla="*/ 113 h 2159"/>
                <a:gd name="T64" fmla="*/ 1592 w 2152"/>
                <a:gd name="T65" fmla="*/ 229 h 2159"/>
                <a:gd name="T66" fmla="*/ 1696 w 2152"/>
                <a:gd name="T67" fmla="*/ 204 h 2159"/>
                <a:gd name="T68" fmla="*/ 1936 w 2152"/>
                <a:gd name="T69" fmla="*/ 420 h 2159"/>
                <a:gd name="T70" fmla="*/ 1944 w 2152"/>
                <a:gd name="T71" fmla="*/ 545 h 2159"/>
                <a:gd name="T72" fmla="*/ 1928 w 2152"/>
                <a:gd name="T73" fmla="*/ 821 h 2159"/>
                <a:gd name="T74" fmla="*/ 2128 w 2152"/>
                <a:gd name="T75" fmla="*/ 886 h 2159"/>
                <a:gd name="T76" fmla="*/ 2150 w 2152"/>
                <a:gd name="T77" fmla="*/ 1215 h 2159"/>
                <a:gd name="T78" fmla="*/ 2066 w 2152"/>
                <a:gd name="T79" fmla="*/ 1309 h 2159"/>
                <a:gd name="T80" fmla="*/ 1856 w 2152"/>
                <a:gd name="T81" fmla="*/ 1495 h 2159"/>
                <a:gd name="T82" fmla="*/ 1956 w 2152"/>
                <a:gd name="T83" fmla="*/ 1690 h 2159"/>
                <a:gd name="T84" fmla="*/ 1742 w 2152"/>
                <a:gd name="T85" fmla="*/ 1935 h 2159"/>
                <a:gd name="T86" fmla="*/ 1629 w 2152"/>
                <a:gd name="T87" fmla="*/ 1949 h 2159"/>
                <a:gd name="T88" fmla="*/ 1384 w 2152"/>
                <a:gd name="T89" fmla="*/ 1904 h 2159"/>
                <a:gd name="T90" fmla="*/ 1278 w 2152"/>
                <a:gd name="T91" fmla="*/ 2118 h 2159"/>
                <a:gd name="T92" fmla="*/ 958 w 2152"/>
                <a:gd name="T93" fmla="*/ 2159 h 2159"/>
                <a:gd name="T94" fmla="*/ 850 w 2152"/>
                <a:gd name="T95" fmla="*/ 2096 h 2159"/>
                <a:gd name="T96" fmla="*/ 711 w 2152"/>
                <a:gd name="T97" fmla="*/ 1875 h 2159"/>
                <a:gd name="T98" fmla="*/ 503 w 2152"/>
                <a:gd name="T99" fmla="*/ 1955 h 2159"/>
                <a:gd name="T100" fmla="*/ 411 w 2152"/>
                <a:gd name="T101" fmla="*/ 1935 h 2159"/>
                <a:gd name="T102" fmla="*/ 197 w 2152"/>
                <a:gd name="T103" fmla="*/ 1688 h 2159"/>
                <a:gd name="T104" fmla="*/ 301 w 2152"/>
                <a:gd name="T105" fmla="*/ 1489 h 2159"/>
                <a:gd name="T106" fmla="*/ 87 w 2152"/>
                <a:gd name="T107" fmla="*/ 1317 h 2159"/>
                <a:gd name="T108" fmla="*/ 3 w 2152"/>
                <a:gd name="T109" fmla="*/ 1223 h 2159"/>
                <a:gd name="T110" fmla="*/ 24 w 2152"/>
                <a:gd name="T111" fmla="*/ 895 h 2159"/>
                <a:gd name="T112" fmla="*/ 231 w 2152"/>
                <a:gd name="T113" fmla="*/ 829 h 2159"/>
                <a:gd name="T114" fmla="*/ 208 w 2152"/>
                <a:gd name="T115" fmla="*/ 545 h 2159"/>
                <a:gd name="T116" fmla="*/ 215 w 2152"/>
                <a:gd name="T117" fmla="*/ 420 h 2159"/>
                <a:gd name="T118" fmla="*/ 457 w 2152"/>
                <a:gd name="T119" fmla="*/ 204 h 2159"/>
                <a:gd name="T120" fmla="*/ 561 w 2152"/>
                <a:gd name="T121" fmla="*/ 229 h 2159"/>
                <a:gd name="T122" fmla="*/ 841 w 2152"/>
                <a:gd name="T123" fmla="*/ 113 h 2159"/>
                <a:gd name="T124" fmla="*/ 916 w 2152"/>
                <a:gd name="T125" fmla="*/ 1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2" h="2159">
                  <a:moveTo>
                    <a:pt x="968" y="64"/>
                  </a:moveTo>
                  <a:lnTo>
                    <a:pt x="950" y="66"/>
                  </a:lnTo>
                  <a:lnTo>
                    <a:pt x="933" y="75"/>
                  </a:lnTo>
                  <a:lnTo>
                    <a:pt x="919" y="87"/>
                  </a:lnTo>
                  <a:lnTo>
                    <a:pt x="909" y="102"/>
                  </a:lnTo>
                  <a:lnTo>
                    <a:pt x="905" y="120"/>
                  </a:lnTo>
                  <a:lnTo>
                    <a:pt x="888" y="272"/>
                  </a:lnTo>
                  <a:lnTo>
                    <a:pt x="866" y="278"/>
                  </a:lnTo>
                  <a:lnTo>
                    <a:pt x="813" y="294"/>
                  </a:lnTo>
                  <a:lnTo>
                    <a:pt x="762" y="314"/>
                  </a:lnTo>
                  <a:lnTo>
                    <a:pt x="710" y="338"/>
                  </a:lnTo>
                  <a:lnTo>
                    <a:pt x="661" y="364"/>
                  </a:lnTo>
                  <a:lnTo>
                    <a:pt x="643" y="376"/>
                  </a:lnTo>
                  <a:lnTo>
                    <a:pt x="521" y="279"/>
                  </a:lnTo>
                  <a:lnTo>
                    <a:pt x="509" y="271"/>
                  </a:lnTo>
                  <a:lnTo>
                    <a:pt x="496" y="267"/>
                  </a:lnTo>
                  <a:lnTo>
                    <a:pt x="482" y="266"/>
                  </a:lnTo>
                  <a:lnTo>
                    <a:pt x="466" y="268"/>
                  </a:lnTo>
                  <a:lnTo>
                    <a:pt x="450" y="274"/>
                  </a:lnTo>
                  <a:lnTo>
                    <a:pt x="437" y="284"/>
                  </a:lnTo>
                  <a:lnTo>
                    <a:pt x="277" y="444"/>
                  </a:lnTo>
                  <a:lnTo>
                    <a:pt x="267" y="459"/>
                  </a:lnTo>
                  <a:lnTo>
                    <a:pt x="260" y="477"/>
                  </a:lnTo>
                  <a:lnTo>
                    <a:pt x="259" y="494"/>
                  </a:lnTo>
                  <a:lnTo>
                    <a:pt x="263" y="513"/>
                  </a:lnTo>
                  <a:lnTo>
                    <a:pt x="273" y="529"/>
                  </a:lnTo>
                  <a:lnTo>
                    <a:pt x="373" y="656"/>
                  </a:lnTo>
                  <a:lnTo>
                    <a:pt x="362" y="674"/>
                  </a:lnTo>
                  <a:lnTo>
                    <a:pt x="332" y="736"/>
                  </a:lnTo>
                  <a:lnTo>
                    <a:pt x="307" y="801"/>
                  </a:lnTo>
                  <a:lnTo>
                    <a:pt x="287" y="866"/>
                  </a:lnTo>
                  <a:lnTo>
                    <a:pt x="282" y="888"/>
                  </a:lnTo>
                  <a:lnTo>
                    <a:pt x="121" y="907"/>
                  </a:lnTo>
                  <a:lnTo>
                    <a:pt x="102" y="912"/>
                  </a:lnTo>
                  <a:lnTo>
                    <a:pt x="87" y="922"/>
                  </a:lnTo>
                  <a:lnTo>
                    <a:pt x="75" y="935"/>
                  </a:lnTo>
                  <a:lnTo>
                    <a:pt x="67" y="952"/>
                  </a:lnTo>
                  <a:lnTo>
                    <a:pt x="64" y="970"/>
                  </a:lnTo>
                  <a:lnTo>
                    <a:pt x="64" y="1196"/>
                  </a:lnTo>
                  <a:lnTo>
                    <a:pt x="67" y="1215"/>
                  </a:lnTo>
                  <a:lnTo>
                    <a:pt x="75" y="1232"/>
                  </a:lnTo>
                  <a:lnTo>
                    <a:pt x="87" y="1245"/>
                  </a:lnTo>
                  <a:lnTo>
                    <a:pt x="102" y="1255"/>
                  </a:lnTo>
                  <a:lnTo>
                    <a:pt x="121" y="1259"/>
                  </a:lnTo>
                  <a:lnTo>
                    <a:pt x="288" y="1279"/>
                  </a:lnTo>
                  <a:lnTo>
                    <a:pt x="295" y="1300"/>
                  </a:lnTo>
                  <a:lnTo>
                    <a:pt x="314" y="1361"/>
                  </a:lnTo>
                  <a:lnTo>
                    <a:pt x="339" y="1419"/>
                  </a:lnTo>
                  <a:lnTo>
                    <a:pt x="368" y="1476"/>
                  </a:lnTo>
                  <a:lnTo>
                    <a:pt x="379" y="1494"/>
                  </a:lnTo>
                  <a:lnTo>
                    <a:pt x="273" y="1628"/>
                  </a:lnTo>
                  <a:lnTo>
                    <a:pt x="263" y="1645"/>
                  </a:lnTo>
                  <a:lnTo>
                    <a:pt x="259" y="1663"/>
                  </a:lnTo>
                  <a:lnTo>
                    <a:pt x="260" y="1681"/>
                  </a:lnTo>
                  <a:lnTo>
                    <a:pt x="267" y="1698"/>
                  </a:lnTo>
                  <a:lnTo>
                    <a:pt x="277" y="1714"/>
                  </a:lnTo>
                  <a:lnTo>
                    <a:pt x="437" y="1873"/>
                  </a:lnTo>
                  <a:lnTo>
                    <a:pt x="450" y="1884"/>
                  </a:lnTo>
                  <a:lnTo>
                    <a:pt x="466" y="1890"/>
                  </a:lnTo>
                  <a:lnTo>
                    <a:pt x="482" y="1893"/>
                  </a:lnTo>
                  <a:lnTo>
                    <a:pt x="496" y="1890"/>
                  </a:lnTo>
                  <a:lnTo>
                    <a:pt x="509" y="1886"/>
                  </a:lnTo>
                  <a:lnTo>
                    <a:pt x="521" y="1878"/>
                  </a:lnTo>
                  <a:lnTo>
                    <a:pt x="655" y="1773"/>
                  </a:lnTo>
                  <a:lnTo>
                    <a:pt x="673" y="1783"/>
                  </a:lnTo>
                  <a:lnTo>
                    <a:pt x="732" y="1814"/>
                  </a:lnTo>
                  <a:lnTo>
                    <a:pt x="793" y="1840"/>
                  </a:lnTo>
                  <a:lnTo>
                    <a:pt x="855" y="1861"/>
                  </a:lnTo>
                  <a:lnTo>
                    <a:pt x="876" y="1866"/>
                  </a:lnTo>
                  <a:lnTo>
                    <a:pt x="896" y="2038"/>
                  </a:lnTo>
                  <a:lnTo>
                    <a:pt x="901" y="2056"/>
                  </a:lnTo>
                  <a:lnTo>
                    <a:pt x="911" y="2072"/>
                  </a:lnTo>
                  <a:lnTo>
                    <a:pt x="924" y="2084"/>
                  </a:lnTo>
                  <a:lnTo>
                    <a:pt x="940" y="2091"/>
                  </a:lnTo>
                  <a:lnTo>
                    <a:pt x="958" y="2095"/>
                  </a:lnTo>
                  <a:lnTo>
                    <a:pt x="1185" y="2095"/>
                  </a:lnTo>
                  <a:lnTo>
                    <a:pt x="1203" y="2091"/>
                  </a:lnTo>
                  <a:lnTo>
                    <a:pt x="1220" y="2084"/>
                  </a:lnTo>
                  <a:lnTo>
                    <a:pt x="1233" y="2072"/>
                  </a:lnTo>
                  <a:lnTo>
                    <a:pt x="1242" y="2056"/>
                  </a:lnTo>
                  <a:lnTo>
                    <a:pt x="1248" y="2038"/>
                  </a:lnTo>
                  <a:lnTo>
                    <a:pt x="1266" y="1872"/>
                  </a:lnTo>
                  <a:lnTo>
                    <a:pt x="1288" y="1865"/>
                  </a:lnTo>
                  <a:lnTo>
                    <a:pt x="1354" y="1846"/>
                  </a:lnTo>
                  <a:lnTo>
                    <a:pt x="1420" y="1818"/>
                  </a:lnTo>
                  <a:lnTo>
                    <a:pt x="1483" y="1787"/>
                  </a:lnTo>
                  <a:lnTo>
                    <a:pt x="1502" y="1776"/>
                  </a:lnTo>
                  <a:lnTo>
                    <a:pt x="1631" y="1878"/>
                  </a:lnTo>
                  <a:lnTo>
                    <a:pt x="1643" y="1886"/>
                  </a:lnTo>
                  <a:lnTo>
                    <a:pt x="1657" y="1890"/>
                  </a:lnTo>
                  <a:lnTo>
                    <a:pt x="1670" y="1893"/>
                  </a:lnTo>
                  <a:lnTo>
                    <a:pt x="1687" y="1890"/>
                  </a:lnTo>
                  <a:lnTo>
                    <a:pt x="1703" y="1884"/>
                  </a:lnTo>
                  <a:lnTo>
                    <a:pt x="1716" y="1874"/>
                  </a:lnTo>
                  <a:lnTo>
                    <a:pt x="1874" y="1714"/>
                  </a:lnTo>
                  <a:lnTo>
                    <a:pt x="1886" y="1698"/>
                  </a:lnTo>
                  <a:lnTo>
                    <a:pt x="1892" y="1682"/>
                  </a:lnTo>
                  <a:lnTo>
                    <a:pt x="1893" y="1663"/>
                  </a:lnTo>
                  <a:lnTo>
                    <a:pt x="1889" y="1646"/>
                  </a:lnTo>
                  <a:lnTo>
                    <a:pt x="1880" y="1630"/>
                  </a:lnTo>
                  <a:lnTo>
                    <a:pt x="1779" y="1501"/>
                  </a:lnTo>
                  <a:lnTo>
                    <a:pt x="1790" y="1482"/>
                  </a:lnTo>
                  <a:lnTo>
                    <a:pt x="1822" y="1420"/>
                  </a:lnTo>
                  <a:lnTo>
                    <a:pt x="1849" y="1355"/>
                  </a:lnTo>
                  <a:lnTo>
                    <a:pt x="1870" y="1289"/>
                  </a:lnTo>
                  <a:lnTo>
                    <a:pt x="1876" y="1268"/>
                  </a:lnTo>
                  <a:lnTo>
                    <a:pt x="2032" y="1251"/>
                  </a:lnTo>
                  <a:lnTo>
                    <a:pt x="2050" y="1245"/>
                  </a:lnTo>
                  <a:lnTo>
                    <a:pt x="2066" y="1235"/>
                  </a:lnTo>
                  <a:lnTo>
                    <a:pt x="2078" y="1222"/>
                  </a:lnTo>
                  <a:lnTo>
                    <a:pt x="2085" y="1206"/>
                  </a:lnTo>
                  <a:lnTo>
                    <a:pt x="2088" y="1187"/>
                  </a:lnTo>
                  <a:lnTo>
                    <a:pt x="2088" y="960"/>
                  </a:lnTo>
                  <a:lnTo>
                    <a:pt x="2085" y="942"/>
                  </a:lnTo>
                  <a:lnTo>
                    <a:pt x="2078" y="925"/>
                  </a:lnTo>
                  <a:lnTo>
                    <a:pt x="2066" y="912"/>
                  </a:lnTo>
                  <a:lnTo>
                    <a:pt x="2050" y="902"/>
                  </a:lnTo>
                  <a:lnTo>
                    <a:pt x="2032" y="898"/>
                  </a:lnTo>
                  <a:lnTo>
                    <a:pt x="1878" y="879"/>
                  </a:lnTo>
                  <a:lnTo>
                    <a:pt x="1872" y="858"/>
                  </a:lnTo>
                  <a:lnTo>
                    <a:pt x="1852" y="793"/>
                  </a:lnTo>
                  <a:lnTo>
                    <a:pt x="1827" y="730"/>
                  </a:lnTo>
                  <a:lnTo>
                    <a:pt x="1794" y="668"/>
                  </a:lnTo>
                  <a:lnTo>
                    <a:pt x="1784" y="649"/>
                  </a:lnTo>
                  <a:lnTo>
                    <a:pt x="1879" y="528"/>
                  </a:lnTo>
                  <a:lnTo>
                    <a:pt x="1889" y="512"/>
                  </a:lnTo>
                  <a:lnTo>
                    <a:pt x="1893" y="494"/>
                  </a:lnTo>
                  <a:lnTo>
                    <a:pt x="1892" y="477"/>
                  </a:lnTo>
                  <a:lnTo>
                    <a:pt x="1885" y="459"/>
                  </a:lnTo>
                  <a:lnTo>
                    <a:pt x="1874" y="444"/>
                  </a:lnTo>
                  <a:lnTo>
                    <a:pt x="1716" y="284"/>
                  </a:lnTo>
                  <a:lnTo>
                    <a:pt x="1703" y="274"/>
                  </a:lnTo>
                  <a:lnTo>
                    <a:pt x="1687" y="268"/>
                  </a:lnTo>
                  <a:lnTo>
                    <a:pt x="1671" y="266"/>
                  </a:lnTo>
                  <a:lnTo>
                    <a:pt x="1657" y="267"/>
                  </a:lnTo>
                  <a:lnTo>
                    <a:pt x="1643" y="271"/>
                  </a:lnTo>
                  <a:lnTo>
                    <a:pt x="1631" y="279"/>
                  </a:lnTo>
                  <a:lnTo>
                    <a:pt x="1513" y="373"/>
                  </a:lnTo>
                  <a:lnTo>
                    <a:pt x="1495" y="362"/>
                  </a:lnTo>
                  <a:lnTo>
                    <a:pt x="1447" y="336"/>
                  </a:lnTo>
                  <a:lnTo>
                    <a:pt x="1398" y="313"/>
                  </a:lnTo>
                  <a:lnTo>
                    <a:pt x="1347" y="293"/>
                  </a:lnTo>
                  <a:lnTo>
                    <a:pt x="1296" y="278"/>
                  </a:lnTo>
                  <a:lnTo>
                    <a:pt x="1274" y="272"/>
                  </a:lnTo>
                  <a:lnTo>
                    <a:pt x="1257" y="120"/>
                  </a:lnTo>
                  <a:lnTo>
                    <a:pt x="1251" y="102"/>
                  </a:lnTo>
                  <a:lnTo>
                    <a:pt x="1242" y="87"/>
                  </a:lnTo>
                  <a:lnTo>
                    <a:pt x="1228" y="75"/>
                  </a:lnTo>
                  <a:lnTo>
                    <a:pt x="1212" y="66"/>
                  </a:lnTo>
                  <a:lnTo>
                    <a:pt x="1193" y="64"/>
                  </a:lnTo>
                  <a:lnTo>
                    <a:pt x="968" y="64"/>
                  </a:lnTo>
                  <a:close/>
                  <a:moveTo>
                    <a:pt x="968" y="0"/>
                  </a:moveTo>
                  <a:lnTo>
                    <a:pt x="1193" y="0"/>
                  </a:lnTo>
                  <a:lnTo>
                    <a:pt x="1221" y="2"/>
                  </a:lnTo>
                  <a:lnTo>
                    <a:pt x="1246" y="10"/>
                  </a:lnTo>
                  <a:lnTo>
                    <a:pt x="1268" y="24"/>
                  </a:lnTo>
                  <a:lnTo>
                    <a:pt x="1288" y="41"/>
                  </a:lnTo>
                  <a:lnTo>
                    <a:pt x="1303" y="62"/>
                  </a:lnTo>
                  <a:lnTo>
                    <a:pt x="1314" y="86"/>
                  </a:lnTo>
                  <a:lnTo>
                    <a:pt x="1321" y="113"/>
                  </a:lnTo>
                  <a:lnTo>
                    <a:pt x="1333" y="221"/>
                  </a:lnTo>
                  <a:lnTo>
                    <a:pt x="1394" y="242"/>
                  </a:lnTo>
                  <a:lnTo>
                    <a:pt x="1451" y="266"/>
                  </a:lnTo>
                  <a:lnTo>
                    <a:pt x="1508" y="295"/>
                  </a:lnTo>
                  <a:lnTo>
                    <a:pt x="1592" y="229"/>
                  </a:lnTo>
                  <a:lnTo>
                    <a:pt x="1609" y="217"/>
                  </a:lnTo>
                  <a:lnTo>
                    <a:pt x="1629" y="208"/>
                  </a:lnTo>
                  <a:lnTo>
                    <a:pt x="1649" y="203"/>
                  </a:lnTo>
                  <a:lnTo>
                    <a:pt x="1671" y="200"/>
                  </a:lnTo>
                  <a:lnTo>
                    <a:pt x="1696" y="204"/>
                  </a:lnTo>
                  <a:lnTo>
                    <a:pt x="1720" y="210"/>
                  </a:lnTo>
                  <a:lnTo>
                    <a:pt x="1742" y="222"/>
                  </a:lnTo>
                  <a:lnTo>
                    <a:pt x="1761" y="239"/>
                  </a:lnTo>
                  <a:lnTo>
                    <a:pt x="1920" y="398"/>
                  </a:lnTo>
                  <a:lnTo>
                    <a:pt x="1936" y="420"/>
                  </a:lnTo>
                  <a:lnTo>
                    <a:pt x="1948" y="443"/>
                  </a:lnTo>
                  <a:lnTo>
                    <a:pt x="1956" y="469"/>
                  </a:lnTo>
                  <a:lnTo>
                    <a:pt x="1957" y="495"/>
                  </a:lnTo>
                  <a:lnTo>
                    <a:pt x="1953" y="520"/>
                  </a:lnTo>
                  <a:lnTo>
                    <a:pt x="1944" y="545"/>
                  </a:lnTo>
                  <a:lnTo>
                    <a:pt x="1930" y="568"/>
                  </a:lnTo>
                  <a:lnTo>
                    <a:pt x="1861" y="656"/>
                  </a:lnTo>
                  <a:lnTo>
                    <a:pt x="1887" y="709"/>
                  </a:lnTo>
                  <a:lnTo>
                    <a:pt x="1909" y="764"/>
                  </a:lnTo>
                  <a:lnTo>
                    <a:pt x="1928" y="821"/>
                  </a:lnTo>
                  <a:lnTo>
                    <a:pt x="2040" y="834"/>
                  </a:lnTo>
                  <a:lnTo>
                    <a:pt x="2066" y="839"/>
                  </a:lnTo>
                  <a:lnTo>
                    <a:pt x="2090" y="851"/>
                  </a:lnTo>
                  <a:lnTo>
                    <a:pt x="2110" y="866"/>
                  </a:lnTo>
                  <a:lnTo>
                    <a:pt x="2128" y="886"/>
                  </a:lnTo>
                  <a:lnTo>
                    <a:pt x="2141" y="908"/>
                  </a:lnTo>
                  <a:lnTo>
                    <a:pt x="2150" y="934"/>
                  </a:lnTo>
                  <a:lnTo>
                    <a:pt x="2152" y="960"/>
                  </a:lnTo>
                  <a:lnTo>
                    <a:pt x="2152" y="1187"/>
                  </a:lnTo>
                  <a:lnTo>
                    <a:pt x="2150" y="1215"/>
                  </a:lnTo>
                  <a:lnTo>
                    <a:pt x="2141" y="1240"/>
                  </a:lnTo>
                  <a:lnTo>
                    <a:pt x="2128" y="1262"/>
                  </a:lnTo>
                  <a:lnTo>
                    <a:pt x="2110" y="1281"/>
                  </a:lnTo>
                  <a:lnTo>
                    <a:pt x="2090" y="1298"/>
                  </a:lnTo>
                  <a:lnTo>
                    <a:pt x="2066" y="1309"/>
                  </a:lnTo>
                  <a:lnTo>
                    <a:pt x="2040" y="1314"/>
                  </a:lnTo>
                  <a:lnTo>
                    <a:pt x="1926" y="1327"/>
                  </a:lnTo>
                  <a:lnTo>
                    <a:pt x="1907" y="1385"/>
                  </a:lnTo>
                  <a:lnTo>
                    <a:pt x="1883" y="1441"/>
                  </a:lnTo>
                  <a:lnTo>
                    <a:pt x="1856" y="1495"/>
                  </a:lnTo>
                  <a:lnTo>
                    <a:pt x="1930" y="1589"/>
                  </a:lnTo>
                  <a:lnTo>
                    <a:pt x="1944" y="1612"/>
                  </a:lnTo>
                  <a:lnTo>
                    <a:pt x="1954" y="1637"/>
                  </a:lnTo>
                  <a:lnTo>
                    <a:pt x="1957" y="1663"/>
                  </a:lnTo>
                  <a:lnTo>
                    <a:pt x="1956" y="1690"/>
                  </a:lnTo>
                  <a:lnTo>
                    <a:pt x="1949" y="1715"/>
                  </a:lnTo>
                  <a:lnTo>
                    <a:pt x="1938" y="1739"/>
                  </a:lnTo>
                  <a:lnTo>
                    <a:pt x="1920" y="1759"/>
                  </a:lnTo>
                  <a:lnTo>
                    <a:pt x="1761" y="1920"/>
                  </a:lnTo>
                  <a:lnTo>
                    <a:pt x="1742" y="1935"/>
                  </a:lnTo>
                  <a:lnTo>
                    <a:pt x="1719" y="1947"/>
                  </a:lnTo>
                  <a:lnTo>
                    <a:pt x="1696" y="1955"/>
                  </a:lnTo>
                  <a:lnTo>
                    <a:pt x="1670" y="1957"/>
                  </a:lnTo>
                  <a:lnTo>
                    <a:pt x="1649" y="1955"/>
                  </a:lnTo>
                  <a:lnTo>
                    <a:pt x="1629" y="1949"/>
                  </a:lnTo>
                  <a:lnTo>
                    <a:pt x="1609" y="1941"/>
                  </a:lnTo>
                  <a:lnTo>
                    <a:pt x="1592" y="1929"/>
                  </a:lnTo>
                  <a:lnTo>
                    <a:pt x="1496" y="1853"/>
                  </a:lnTo>
                  <a:lnTo>
                    <a:pt x="1440" y="1881"/>
                  </a:lnTo>
                  <a:lnTo>
                    <a:pt x="1384" y="1904"/>
                  </a:lnTo>
                  <a:lnTo>
                    <a:pt x="1325" y="1922"/>
                  </a:lnTo>
                  <a:lnTo>
                    <a:pt x="1311" y="2045"/>
                  </a:lnTo>
                  <a:lnTo>
                    <a:pt x="1305" y="2072"/>
                  </a:lnTo>
                  <a:lnTo>
                    <a:pt x="1295" y="2096"/>
                  </a:lnTo>
                  <a:lnTo>
                    <a:pt x="1278" y="2118"/>
                  </a:lnTo>
                  <a:lnTo>
                    <a:pt x="1259" y="2135"/>
                  </a:lnTo>
                  <a:lnTo>
                    <a:pt x="1237" y="2148"/>
                  </a:lnTo>
                  <a:lnTo>
                    <a:pt x="1212" y="2156"/>
                  </a:lnTo>
                  <a:lnTo>
                    <a:pt x="1185" y="2159"/>
                  </a:lnTo>
                  <a:lnTo>
                    <a:pt x="958" y="2159"/>
                  </a:lnTo>
                  <a:lnTo>
                    <a:pt x="932" y="2156"/>
                  </a:lnTo>
                  <a:lnTo>
                    <a:pt x="906" y="2148"/>
                  </a:lnTo>
                  <a:lnTo>
                    <a:pt x="884" y="2135"/>
                  </a:lnTo>
                  <a:lnTo>
                    <a:pt x="865" y="2118"/>
                  </a:lnTo>
                  <a:lnTo>
                    <a:pt x="850" y="2096"/>
                  </a:lnTo>
                  <a:lnTo>
                    <a:pt x="838" y="2072"/>
                  </a:lnTo>
                  <a:lnTo>
                    <a:pt x="832" y="2045"/>
                  </a:lnTo>
                  <a:lnTo>
                    <a:pt x="817" y="1917"/>
                  </a:lnTo>
                  <a:lnTo>
                    <a:pt x="764" y="1898"/>
                  </a:lnTo>
                  <a:lnTo>
                    <a:pt x="711" y="1875"/>
                  </a:lnTo>
                  <a:lnTo>
                    <a:pt x="660" y="1850"/>
                  </a:lnTo>
                  <a:lnTo>
                    <a:pt x="561" y="1929"/>
                  </a:lnTo>
                  <a:lnTo>
                    <a:pt x="543" y="1941"/>
                  </a:lnTo>
                  <a:lnTo>
                    <a:pt x="523" y="1949"/>
                  </a:lnTo>
                  <a:lnTo>
                    <a:pt x="503" y="1955"/>
                  </a:lnTo>
                  <a:lnTo>
                    <a:pt x="482" y="1957"/>
                  </a:lnTo>
                  <a:lnTo>
                    <a:pt x="482" y="1957"/>
                  </a:lnTo>
                  <a:lnTo>
                    <a:pt x="457" y="1954"/>
                  </a:lnTo>
                  <a:lnTo>
                    <a:pt x="433" y="1947"/>
                  </a:lnTo>
                  <a:lnTo>
                    <a:pt x="411" y="1935"/>
                  </a:lnTo>
                  <a:lnTo>
                    <a:pt x="392" y="1919"/>
                  </a:lnTo>
                  <a:lnTo>
                    <a:pt x="232" y="1759"/>
                  </a:lnTo>
                  <a:lnTo>
                    <a:pt x="215" y="1738"/>
                  </a:lnTo>
                  <a:lnTo>
                    <a:pt x="203" y="1714"/>
                  </a:lnTo>
                  <a:lnTo>
                    <a:pt x="197" y="1688"/>
                  </a:lnTo>
                  <a:lnTo>
                    <a:pt x="195" y="1662"/>
                  </a:lnTo>
                  <a:lnTo>
                    <a:pt x="199" y="1637"/>
                  </a:lnTo>
                  <a:lnTo>
                    <a:pt x="208" y="1612"/>
                  </a:lnTo>
                  <a:lnTo>
                    <a:pt x="222" y="1589"/>
                  </a:lnTo>
                  <a:lnTo>
                    <a:pt x="301" y="1489"/>
                  </a:lnTo>
                  <a:lnTo>
                    <a:pt x="277" y="1440"/>
                  </a:lnTo>
                  <a:lnTo>
                    <a:pt x="257" y="1389"/>
                  </a:lnTo>
                  <a:lnTo>
                    <a:pt x="239" y="1338"/>
                  </a:lnTo>
                  <a:lnTo>
                    <a:pt x="113" y="1324"/>
                  </a:lnTo>
                  <a:lnTo>
                    <a:pt x="87" y="1317"/>
                  </a:lnTo>
                  <a:lnTo>
                    <a:pt x="62" y="1306"/>
                  </a:lnTo>
                  <a:lnTo>
                    <a:pt x="41" y="1291"/>
                  </a:lnTo>
                  <a:lnTo>
                    <a:pt x="24" y="1271"/>
                  </a:lnTo>
                  <a:lnTo>
                    <a:pt x="11" y="1249"/>
                  </a:lnTo>
                  <a:lnTo>
                    <a:pt x="3" y="1223"/>
                  </a:lnTo>
                  <a:lnTo>
                    <a:pt x="0" y="1196"/>
                  </a:lnTo>
                  <a:lnTo>
                    <a:pt x="0" y="970"/>
                  </a:lnTo>
                  <a:lnTo>
                    <a:pt x="3" y="943"/>
                  </a:lnTo>
                  <a:lnTo>
                    <a:pt x="11" y="918"/>
                  </a:lnTo>
                  <a:lnTo>
                    <a:pt x="24" y="895"/>
                  </a:lnTo>
                  <a:lnTo>
                    <a:pt x="41" y="876"/>
                  </a:lnTo>
                  <a:lnTo>
                    <a:pt x="62" y="860"/>
                  </a:lnTo>
                  <a:lnTo>
                    <a:pt x="87" y="849"/>
                  </a:lnTo>
                  <a:lnTo>
                    <a:pt x="113" y="842"/>
                  </a:lnTo>
                  <a:lnTo>
                    <a:pt x="231" y="829"/>
                  </a:lnTo>
                  <a:lnTo>
                    <a:pt x="248" y="773"/>
                  </a:lnTo>
                  <a:lnTo>
                    <a:pt x="271" y="717"/>
                  </a:lnTo>
                  <a:lnTo>
                    <a:pt x="296" y="662"/>
                  </a:lnTo>
                  <a:lnTo>
                    <a:pt x="222" y="568"/>
                  </a:lnTo>
                  <a:lnTo>
                    <a:pt x="208" y="545"/>
                  </a:lnTo>
                  <a:lnTo>
                    <a:pt x="199" y="520"/>
                  </a:lnTo>
                  <a:lnTo>
                    <a:pt x="195" y="495"/>
                  </a:lnTo>
                  <a:lnTo>
                    <a:pt x="196" y="469"/>
                  </a:lnTo>
                  <a:lnTo>
                    <a:pt x="203" y="444"/>
                  </a:lnTo>
                  <a:lnTo>
                    <a:pt x="215" y="420"/>
                  </a:lnTo>
                  <a:lnTo>
                    <a:pt x="232" y="398"/>
                  </a:lnTo>
                  <a:lnTo>
                    <a:pt x="392" y="239"/>
                  </a:lnTo>
                  <a:lnTo>
                    <a:pt x="411" y="222"/>
                  </a:lnTo>
                  <a:lnTo>
                    <a:pt x="433" y="210"/>
                  </a:lnTo>
                  <a:lnTo>
                    <a:pt x="457" y="204"/>
                  </a:lnTo>
                  <a:lnTo>
                    <a:pt x="482" y="202"/>
                  </a:lnTo>
                  <a:lnTo>
                    <a:pt x="504" y="203"/>
                  </a:lnTo>
                  <a:lnTo>
                    <a:pt x="524" y="208"/>
                  </a:lnTo>
                  <a:lnTo>
                    <a:pt x="543" y="217"/>
                  </a:lnTo>
                  <a:lnTo>
                    <a:pt x="561" y="229"/>
                  </a:lnTo>
                  <a:lnTo>
                    <a:pt x="648" y="298"/>
                  </a:lnTo>
                  <a:lnTo>
                    <a:pt x="706" y="268"/>
                  </a:lnTo>
                  <a:lnTo>
                    <a:pt x="767" y="242"/>
                  </a:lnTo>
                  <a:lnTo>
                    <a:pt x="829" y="221"/>
                  </a:lnTo>
                  <a:lnTo>
                    <a:pt x="841" y="113"/>
                  </a:lnTo>
                  <a:lnTo>
                    <a:pt x="847" y="86"/>
                  </a:lnTo>
                  <a:lnTo>
                    <a:pt x="858" y="62"/>
                  </a:lnTo>
                  <a:lnTo>
                    <a:pt x="874" y="41"/>
                  </a:lnTo>
                  <a:lnTo>
                    <a:pt x="893" y="24"/>
                  </a:lnTo>
                  <a:lnTo>
                    <a:pt x="916" y="10"/>
                  </a:lnTo>
                  <a:lnTo>
                    <a:pt x="941" y="2"/>
                  </a:lnTo>
                  <a:lnTo>
                    <a:pt x="9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xmlns="" id="{8C8FCDC0-9AB3-4C59-820D-68A03C0B06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1" y="1475"/>
              <a:ext cx="178" cy="179"/>
            </a:xfrm>
            <a:custGeom>
              <a:avLst/>
              <a:gdLst>
                <a:gd name="T0" fmla="*/ 702 w 1780"/>
                <a:gd name="T1" fmla="*/ 103 h 1789"/>
                <a:gd name="T2" fmla="*/ 609 w 1780"/>
                <a:gd name="T3" fmla="*/ 282 h 1789"/>
                <a:gd name="T4" fmla="*/ 374 w 1780"/>
                <a:gd name="T5" fmla="*/ 285 h 1789"/>
                <a:gd name="T6" fmla="*/ 209 w 1780"/>
                <a:gd name="T7" fmla="*/ 424 h 1789"/>
                <a:gd name="T8" fmla="*/ 211 w 1780"/>
                <a:gd name="T9" fmla="*/ 507 h 1789"/>
                <a:gd name="T10" fmla="*/ 237 w 1780"/>
                <a:gd name="T11" fmla="*/ 777 h 1789"/>
                <a:gd name="T12" fmla="*/ 72 w 1780"/>
                <a:gd name="T13" fmla="*/ 855 h 1789"/>
                <a:gd name="T14" fmla="*/ 90 w 1780"/>
                <a:gd name="T15" fmla="*/ 1079 h 1789"/>
                <a:gd name="T16" fmla="*/ 272 w 1780"/>
                <a:gd name="T17" fmla="*/ 1128 h 1789"/>
                <a:gd name="T18" fmla="*/ 285 w 1780"/>
                <a:gd name="T19" fmla="*/ 1391 h 1789"/>
                <a:gd name="T20" fmla="*/ 297 w 1780"/>
                <a:gd name="T21" fmla="*/ 1472 h 1789"/>
                <a:gd name="T22" fmla="*/ 471 w 1780"/>
                <a:gd name="T23" fmla="*/ 1586 h 1789"/>
                <a:gd name="T24" fmla="*/ 661 w 1780"/>
                <a:gd name="T25" fmla="*/ 1513 h 1789"/>
                <a:gd name="T26" fmla="*/ 817 w 1780"/>
                <a:gd name="T27" fmla="*/ 1692 h 1789"/>
                <a:gd name="T28" fmla="*/ 1032 w 1780"/>
                <a:gd name="T29" fmla="*/ 1712 h 1789"/>
                <a:gd name="T30" fmla="*/ 1090 w 1780"/>
                <a:gd name="T31" fmla="*/ 1652 h 1789"/>
                <a:gd name="T32" fmla="*/ 1267 w 1780"/>
                <a:gd name="T33" fmla="*/ 1440 h 1789"/>
                <a:gd name="T34" fmla="*/ 1423 w 1780"/>
                <a:gd name="T35" fmla="*/ 1506 h 1789"/>
                <a:gd name="T36" fmla="*/ 1581 w 1780"/>
                <a:gd name="T37" fmla="*/ 1349 h 1789"/>
                <a:gd name="T38" fmla="*/ 1485 w 1780"/>
                <a:gd name="T39" fmla="*/ 1192 h 1789"/>
                <a:gd name="T40" fmla="*/ 1550 w 1780"/>
                <a:gd name="T41" fmla="*/ 990 h 1789"/>
                <a:gd name="T42" fmla="*/ 1714 w 1780"/>
                <a:gd name="T43" fmla="*/ 918 h 1789"/>
                <a:gd name="T44" fmla="*/ 1676 w 1780"/>
                <a:gd name="T45" fmla="*/ 698 h 1789"/>
                <a:gd name="T46" fmla="*/ 1498 w 1780"/>
                <a:gd name="T47" fmla="*/ 610 h 1789"/>
                <a:gd name="T48" fmla="*/ 1502 w 1780"/>
                <a:gd name="T49" fmla="*/ 382 h 1789"/>
                <a:gd name="T50" fmla="*/ 1364 w 1780"/>
                <a:gd name="T51" fmla="*/ 216 h 1789"/>
                <a:gd name="T52" fmla="*/ 1295 w 1780"/>
                <a:gd name="T53" fmla="*/ 208 h 1789"/>
                <a:gd name="T54" fmla="*/ 1070 w 1780"/>
                <a:gd name="T55" fmla="*/ 244 h 1789"/>
                <a:gd name="T56" fmla="*/ 952 w 1780"/>
                <a:gd name="T57" fmla="*/ 83 h 1789"/>
                <a:gd name="T58" fmla="*/ 932 w 1780"/>
                <a:gd name="T59" fmla="*/ 2 h 1789"/>
                <a:gd name="T60" fmla="*/ 1025 w 1780"/>
                <a:gd name="T61" fmla="*/ 77 h 1789"/>
                <a:gd name="T62" fmla="*/ 1188 w 1780"/>
                <a:gd name="T63" fmla="*/ 217 h 1789"/>
                <a:gd name="T64" fmla="*/ 1325 w 1780"/>
                <a:gd name="T65" fmla="*/ 136 h 1789"/>
                <a:gd name="T66" fmla="*/ 1525 w 1780"/>
                <a:gd name="T67" fmla="*/ 267 h 1789"/>
                <a:gd name="T68" fmla="*/ 1568 w 1780"/>
                <a:gd name="T69" fmla="*/ 385 h 1789"/>
                <a:gd name="T70" fmla="*/ 1552 w 1780"/>
                <a:gd name="T71" fmla="*/ 576 h 1789"/>
                <a:gd name="T72" fmla="*/ 1718 w 1780"/>
                <a:gd name="T73" fmla="*/ 648 h 1789"/>
                <a:gd name="T74" fmla="*/ 1780 w 1780"/>
                <a:gd name="T75" fmla="*/ 894 h 1789"/>
                <a:gd name="T76" fmla="*/ 1728 w 1780"/>
                <a:gd name="T77" fmla="*/ 1009 h 1789"/>
                <a:gd name="T78" fmla="*/ 1580 w 1780"/>
                <a:gd name="T79" fmla="*/ 1135 h 1789"/>
                <a:gd name="T80" fmla="*/ 1649 w 1780"/>
                <a:gd name="T81" fmla="*/ 1309 h 1789"/>
                <a:gd name="T82" fmla="*/ 1520 w 1780"/>
                <a:gd name="T83" fmla="*/ 1526 h 1789"/>
                <a:gd name="T84" fmla="*/ 1423 w 1780"/>
                <a:gd name="T85" fmla="*/ 1571 h 1789"/>
                <a:gd name="T86" fmla="*/ 1285 w 1780"/>
                <a:gd name="T87" fmla="*/ 1505 h 1789"/>
                <a:gd name="T88" fmla="*/ 1150 w 1780"/>
                <a:gd name="T89" fmla="*/ 1680 h 1789"/>
                <a:gd name="T90" fmla="*/ 1065 w 1780"/>
                <a:gd name="T91" fmla="*/ 1771 h 1789"/>
                <a:gd name="T92" fmla="*/ 823 w 1780"/>
                <a:gd name="T93" fmla="*/ 1779 h 1789"/>
                <a:gd name="T94" fmla="*/ 748 w 1780"/>
                <a:gd name="T95" fmla="*/ 1688 h 1789"/>
                <a:gd name="T96" fmla="*/ 523 w 1780"/>
                <a:gd name="T97" fmla="*/ 1633 h 1789"/>
                <a:gd name="T98" fmla="*/ 412 w 1780"/>
                <a:gd name="T99" fmla="*/ 1645 h 1789"/>
                <a:gd name="T100" fmla="*/ 223 w 1780"/>
                <a:gd name="T101" fmla="*/ 1480 h 1789"/>
                <a:gd name="T102" fmla="*/ 232 w 1780"/>
                <a:gd name="T103" fmla="*/ 1355 h 1789"/>
                <a:gd name="T104" fmla="*/ 109 w 1780"/>
                <a:gd name="T105" fmla="*/ 1164 h 1789"/>
                <a:gd name="T106" fmla="*/ 18 w 1780"/>
                <a:gd name="T107" fmla="*/ 1077 h 1789"/>
                <a:gd name="T108" fmla="*/ 17 w 1780"/>
                <a:gd name="T109" fmla="*/ 819 h 1789"/>
                <a:gd name="T110" fmla="*/ 177 w 1780"/>
                <a:gd name="T111" fmla="*/ 744 h 1789"/>
                <a:gd name="T112" fmla="*/ 136 w 1780"/>
                <a:gd name="T113" fmla="*/ 506 h 1789"/>
                <a:gd name="T114" fmla="*/ 160 w 1780"/>
                <a:gd name="T115" fmla="*/ 383 h 1789"/>
                <a:gd name="T116" fmla="*/ 335 w 1780"/>
                <a:gd name="T117" fmla="*/ 219 h 1789"/>
                <a:gd name="T118" fmla="*/ 487 w 1780"/>
                <a:gd name="T119" fmla="*/ 279 h 1789"/>
                <a:gd name="T120" fmla="*/ 630 w 1780"/>
                <a:gd name="T121" fmla="*/ 109 h 1789"/>
                <a:gd name="T122" fmla="*/ 715 w 1780"/>
                <a:gd name="T123" fmla="*/ 18 h 1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0" h="1789">
                  <a:moveTo>
                    <a:pt x="902" y="64"/>
                  </a:moveTo>
                  <a:lnTo>
                    <a:pt x="747" y="77"/>
                  </a:lnTo>
                  <a:lnTo>
                    <a:pt x="729" y="82"/>
                  </a:lnTo>
                  <a:lnTo>
                    <a:pt x="714" y="91"/>
                  </a:lnTo>
                  <a:lnTo>
                    <a:pt x="702" y="103"/>
                  </a:lnTo>
                  <a:lnTo>
                    <a:pt x="693" y="120"/>
                  </a:lnTo>
                  <a:lnTo>
                    <a:pt x="690" y="138"/>
                  </a:lnTo>
                  <a:lnTo>
                    <a:pt x="686" y="252"/>
                  </a:lnTo>
                  <a:lnTo>
                    <a:pt x="666" y="260"/>
                  </a:lnTo>
                  <a:lnTo>
                    <a:pt x="609" y="282"/>
                  </a:lnTo>
                  <a:lnTo>
                    <a:pt x="556" y="311"/>
                  </a:lnTo>
                  <a:lnTo>
                    <a:pt x="506" y="344"/>
                  </a:lnTo>
                  <a:lnTo>
                    <a:pt x="488" y="357"/>
                  </a:lnTo>
                  <a:lnTo>
                    <a:pt x="391" y="292"/>
                  </a:lnTo>
                  <a:lnTo>
                    <a:pt x="374" y="285"/>
                  </a:lnTo>
                  <a:lnTo>
                    <a:pt x="357" y="281"/>
                  </a:lnTo>
                  <a:lnTo>
                    <a:pt x="338" y="285"/>
                  </a:lnTo>
                  <a:lnTo>
                    <a:pt x="323" y="292"/>
                  </a:lnTo>
                  <a:lnTo>
                    <a:pt x="309" y="304"/>
                  </a:lnTo>
                  <a:lnTo>
                    <a:pt x="209" y="424"/>
                  </a:lnTo>
                  <a:lnTo>
                    <a:pt x="199" y="440"/>
                  </a:lnTo>
                  <a:lnTo>
                    <a:pt x="195" y="457"/>
                  </a:lnTo>
                  <a:lnTo>
                    <a:pt x="195" y="475"/>
                  </a:lnTo>
                  <a:lnTo>
                    <a:pt x="200" y="492"/>
                  </a:lnTo>
                  <a:lnTo>
                    <a:pt x="211" y="507"/>
                  </a:lnTo>
                  <a:lnTo>
                    <a:pt x="294" y="597"/>
                  </a:lnTo>
                  <a:lnTo>
                    <a:pt x="285" y="617"/>
                  </a:lnTo>
                  <a:lnTo>
                    <a:pt x="265" y="668"/>
                  </a:lnTo>
                  <a:lnTo>
                    <a:pt x="249" y="721"/>
                  </a:lnTo>
                  <a:lnTo>
                    <a:pt x="237" y="777"/>
                  </a:lnTo>
                  <a:lnTo>
                    <a:pt x="234" y="799"/>
                  </a:lnTo>
                  <a:lnTo>
                    <a:pt x="113" y="823"/>
                  </a:lnTo>
                  <a:lnTo>
                    <a:pt x="97" y="829"/>
                  </a:lnTo>
                  <a:lnTo>
                    <a:pt x="82" y="840"/>
                  </a:lnTo>
                  <a:lnTo>
                    <a:pt x="72" y="855"/>
                  </a:lnTo>
                  <a:lnTo>
                    <a:pt x="65" y="871"/>
                  </a:lnTo>
                  <a:lnTo>
                    <a:pt x="64" y="890"/>
                  </a:lnTo>
                  <a:lnTo>
                    <a:pt x="77" y="1046"/>
                  </a:lnTo>
                  <a:lnTo>
                    <a:pt x="82" y="1063"/>
                  </a:lnTo>
                  <a:lnTo>
                    <a:pt x="90" y="1079"/>
                  </a:lnTo>
                  <a:lnTo>
                    <a:pt x="103" y="1091"/>
                  </a:lnTo>
                  <a:lnTo>
                    <a:pt x="119" y="1099"/>
                  </a:lnTo>
                  <a:lnTo>
                    <a:pt x="137" y="1102"/>
                  </a:lnTo>
                  <a:lnTo>
                    <a:pt x="264" y="1107"/>
                  </a:lnTo>
                  <a:lnTo>
                    <a:pt x="272" y="1128"/>
                  </a:lnTo>
                  <a:lnTo>
                    <a:pt x="293" y="1174"/>
                  </a:lnTo>
                  <a:lnTo>
                    <a:pt x="317" y="1220"/>
                  </a:lnTo>
                  <a:lnTo>
                    <a:pt x="344" y="1264"/>
                  </a:lnTo>
                  <a:lnTo>
                    <a:pt x="356" y="1283"/>
                  </a:lnTo>
                  <a:lnTo>
                    <a:pt x="285" y="1391"/>
                  </a:lnTo>
                  <a:lnTo>
                    <a:pt x="277" y="1407"/>
                  </a:lnTo>
                  <a:lnTo>
                    <a:pt x="274" y="1424"/>
                  </a:lnTo>
                  <a:lnTo>
                    <a:pt x="277" y="1442"/>
                  </a:lnTo>
                  <a:lnTo>
                    <a:pt x="284" y="1458"/>
                  </a:lnTo>
                  <a:lnTo>
                    <a:pt x="297" y="1472"/>
                  </a:lnTo>
                  <a:lnTo>
                    <a:pt x="416" y="1574"/>
                  </a:lnTo>
                  <a:lnTo>
                    <a:pt x="428" y="1582"/>
                  </a:lnTo>
                  <a:lnTo>
                    <a:pt x="442" y="1586"/>
                  </a:lnTo>
                  <a:lnTo>
                    <a:pt x="456" y="1588"/>
                  </a:lnTo>
                  <a:lnTo>
                    <a:pt x="471" y="1586"/>
                  </a:lnTo>
                  <a:lnTo>
                    <a:pt x="485" y="1581"/>
                  </a:lnTo>
                  <a:lnTo>
                    <a:pt x="498" y="1572"/>
                  </a:lnTo>
                  <a:lnTo>
                    <a:pt x="592" y="1483"/>
                  </a:lnTo>
                  <a:lnTo>
                    <a:pt x="611" y="1492"/>
                  </a:lnTo>
                  <a:lnTo>
                    <a:pt x="661" y="1513"/>
                  </a:lnTo>
                  <a:lnTo>
                    <a:pt x="713" y="1530"/>
                  </a:lnTo>
                  <a:lnTo>
                    <a:pt x="764" y="1542"/>
                  </a:lnTo>
                  <a:lnTo>
                    <a:pt x="785" y="1547"/>
                  </a:lnTo>
                  <a:lnTo>
                    <a:pt x="812" y="1674"/>
                  </a:lnTo>
                  <a:lnTo>
                    <a:pt x="817" y="1692"/>
                  </a:lnTo>
                  <a:lnTo>
                    <a:pt x="828" y="1706"/>
                  </a:lnTo>
                  <a:lnTo>
                    <a:pt x="842" y="1717"/>
                  </a:lnTo>
                  <a:lnTo>
                    <a:pt x="859" y="1724"/>
                  </a:lnTo>
                  <a:lnTo>
                    <a:pt x="878" y="1725"/>
                  </a:lnTo>
                  <a:lnTo>
                    <a:pt x="1032" y="1712"/>
                  </a:lnTo>
                  <a:lnTo>
                    <a:pt x="1051" y="1707"/>
                  </a:lnTo>
                  <a:lnTo>
                    <a:pt x="1066" y="1698"/>
                  </a:lnTo>
                  <a:lnTo>
                    <a:pt x="1078" y="1685"/>
                  </a:lnTo>
                  <a:lnTo>
                    <a:pt x="1087" y="1669"/>
                  </a:lnTo>
                  <a:lnTo>
                    <a:pt x="1090" y="1652"/>
                  </a:lnTo>
                  <a:lnTo>
                    <a:pt x="1094" y="1524"/>
                  </a:lnTo>
                  <a:lnTo>
                    <a:pt x="1115" y="1517"/>
                  </a:lnTo>
                  <a:lnTo>
                    <a:pt x="1167" y="1495"/>
                  </a:lnTo>
                  <a:lnTo>
                    <a:pt x="1218" y="1469"/>
                  </a:lnTo>
                  <a:lnTo>
                    <a:pt x="1267" y="1440"/>
                  </a:lnTo>
                  <a:lnTo>
                    <a:pt x="1285" y="1428"/>
                  </a:lnTo>
                  <a:lnTo>
                    <a:pt x="1389" y="1497"/>
                  </a:lnTo>
                  <a:lnTo>
                    <a:pt x="1406" y="1504"/>
                  </a:lnTo>
                  <a:lnTo>
                    <a:pt x="1423" y="1506"/>
                  </a:lnTo>
                  <a:lnTo>
                    <a:pt x="1423" y="1506"/>
                  </a:lnTo>
                  <a:lnTo>
                    <a:pt x="1441" y="1504"/>
                  </a:lnTo>
                  <a:lnTo>
                    <a:pt x="1458" y="1497"/>
                  </a:lnTo>
                  <a:lnTo>
                    <a:pt x="1471" y="1485"/>
                  </a:lnTo>
                  <a:lnTo>
                    <a:pt x="1571" y="1366"/>
                  </a:lnTo>
                  <a:lnTo>
                    <a:pt x="1581" y="1349"/>
                  </a:lnTo>
                  <a:lnTo>
                    <a:pt x="1586" y="1332"/>
                  </a:lnTo>
                  <a:lnTo>
                    <a:pt x="1585" y="1314"/>
                  </a:lnTo>
                  <a:lnTo>
                    <a:pt x="1580" y="1297"/>
                  </a:lnTo>
                  <a:lnTo>
                    <a:pt x="1569" y="1283"/>
                  </a:lnTo>
                  <a:lnTo>
                    <a:pt x="1485" y="1192"/>
                  </a:lnTo>
                  <a:lnTo>
                    <a:pt x="1495" y="1172"/>
                  </a:lnTo>
                  <a:lnTo>
                    <a:pt x="1516" y="1120"/>
                  </a:lnTo>
                  <a:lnTo>
                    <a:pt x="1534" y="1066"/>
                  </a:lnTo>
                  <a:lnTo>
                    <a:pt x="1546" y="1012"/>
                  </a:lnTo>
                  <a:lnTo>
                    <a:pt x="1550" y="990"/>
                  </a:lnTo>
                  <a:lnTo>
                    <a:pt x="1666" y="966"/>
                  </a:lnTo>
                  <a:lnTo>
                    <a:pt x="1683" y="959"/>
                  </a:lnTo>
                  <a:lnTo>
                    <a:pt x="1697" y="950"/>
                  </a:lnTo>
                  <a:lnTo>
                    <a:pt x="1708" y="935"/>
                  </a:lnTo>
                  <a:lnTo>
                    <a:pt x="1714" y="918"/>
                  </a:lnTo>
                  <a:lnTo>
                    <a:pt x="1716" y="899"/>
                  </a:lnTo>
                  <a:lnTo>
                    <a:pt x="1702" y="743"/>
                  </a:lnTo>
                  <a:lnTo>
                    <a:pt x="1698" y="726"/>
                  </a:lnTo>
                  <a:lnTo>
                    <a:pt x="1689" y="710"/>
                  </a:lnTo>
                  <a:lnTo>
                    <a:pt x="1676" y="698"/>
                  </a:lnTo>
                  <a:lnTo>
                    <a:pt x="1660" y="690"/>
                  </a:lnTo>
                  <a:lnTo>
                    <a:pt x="1643" y="686"/>
                  </a:lnTo>
                  <a:lnTo>
                    <a:pt x="1525" y="683"/>
                  </a:lnTo>
                  <a:lnTo>
                    <a:pt x="1519" y="662"/>
                  </a:lnTo>
                  <a:lnTo>
                    <a:pt x="1498" y="610"/>
                  </a:lnTo>
                  <a:lnTo>
                    <a:pt x="1472" y="561"/>
                  </a:lnTo>
                  <a:lnTo>
                    <a:pt x="1442" y="513"/>
                  </a:lnTo>
                  <a:lnTo>
                    <a:pt x="1431" y="495"/>
                  </a:lnTo>
                  <a:lnTo>
                    <a:pt x="1495" y="399"/>
                  </a:lnTo>
                  <a:lnTo>
                    <a:pt x="1502" y="382"/>
                  </a:lnTo>
                  <a:lnTo>
                    <a:pt x="1506" y="364"/>
                  </a:lnTo>
                  <a:lnTo>
                    <a:pt x="1503" y="347"/>
                  </a:lnTo>
                  <a:lnTo>
                    <a:pt x="1496" y="331"/>
                  </a:lnTo>
                  <a:lnTo>
                    <a:pt x="1484" y="316"/>
                  </a:lnTo>
                  <a:lnTo>
                    <a:pt x="1364" y="216"/>
                  </a:lnTo>
                  <a:lnTo>
                    <a:pt x="1352" y="207"/>
                  </a:lnTo>
                  <a:lnTo>
                    <a:pt x="1339" y="203"/>
                  </a:lnTo>
                  <a:lnTo>
                    <a:pt x="1325" y="201"/>
                  </a:lnTo>
                  <a:lnTo>
                    <a:pt x="1309" y="203"/>
                  </a:lnTo>
                  <a:lnTo>
                    <a:pt x="1295" y="208"/>
                  </a:lnTo>
                  <a:lnTo>
                    <a:pt x="1281" y="218"/>
                  </a:lnTo>
                  <a:lnTo>
                    <a:pt x="1200" y="295"/>
                  </a:lnTo>
                  <a:lnTo>
                    <a:pt x="1180" y="285"/>
                  </a:lnTo>
                  <a:lnTo>
                    <a:pt x="1127" y="262"/>
                  </a:lnTo>
                  <a:lnTo>
                    <a:pt x="1070" y="244"/>
                  </a:lnTo>
                  <a:lnTo>
                    <a:pt x="1013" y="231"/>
                  </a:lnTo>
                  <a:lnTo>
                    <a:pt x="992" y="227"/>
                  </a:lnTo>
                  <a:lnTo>
                    <a:pt x="969" y="114"/>
                  </a:lnTo>
                  <a:lnTo>
                    <a:pt x="963" y="97"/>
                  </a:lnTo>
                  <a:lnTo>
                    <a:pt x="952" y="83"/>
                  </a:lnTo>
                  <a:lnTo>
                    <a:pt x="938" y="72"/>
                  </a:lnTo>
                  <a:lnTo>
                    <a:pt x="920" y="65"/>
                  </a:lnTo>
                  <a:lnTo>
                    <a:pt x="902" y="64"/>
                  </a:lnTo>
                  <a:close/>
                  <a:moveTo>
                    <a:pt x="907" y="0"/>
                  </a:moveTo>
                  <a:lnTo>
                    <a:pt x="932" y="2"/>
                  </a:lnTo>
                  <a:lnTo>
                    <a:pt x="956" y="10"/>
                  </a:lnTo>
                  <a:lnTo>
                    <a:pt x="978" y="22"/>
                  </a:lnTo>
                  <a:lnTo>
                    <a:pt x="996" y="37"/>
                  </a:lnTo>
                  <a:lnTo>
                    <a:pt x="1013" y="55"/>
                  </a:lnTo>
                  <a:lnTo>
                    <a:pt x="1025" y="77"/>
                  </a:lnTo>
                  <a:lnTo>
                    <a:pt x="1031" y="101"/>
                  </a:lnTo>
                  <a:lnTo>
                    <a:pt x="1047" y="171"/>
                  </a:lnTo>
                  <a:lnTo>
                    <a:pt x="1094" y="183"/>
                  </a:lnTo>
                  <a:lnTo>
                    <a:pt x="1142" y="198"/>
                  </a:lnTo>
                  <a:lnTo>
                    <a:pt x="1188" y="217"/>
                  </a:lnTo>
                  <a:lnTo>
                    <a:pt x="1238" y="170"/>
                  </a:lnTo>
                  <a:lnTo>
                    <a:pt x="1256" y="156"/>
                  </a:lnTo>
                  <a:lnTo>
                    <a:pt x="1278" y="145"/>
                  </a:lnTo>
                  <a:lnTo>
                    <a:pt x="1301" y="138"/>
                  </a:lnTo>
                  <a:lnTo>
                    <a:pt x="1325" y="136"/>
                  </a:lnTo>
                  <a:lnTo>
                    <a:pt x="1347" y="138"/>
                  </a:lnTo>
                  <a:lnTo>
                    <a:pt x="1367" y="144"/>
                  </a:lnTo>
                  <a:lnTo>
                    <a:pt x="1388" y="154"/>
                  </a:lnTo>
                  <a:lnTo>
                    <a:pt x="1407" y="166"/>
                  </a:lnTo>
                  <a:lnTo>
                    <a:pt x="1525" y="267"/>
                  </a:lnTo>
                  <a:lnTo>
                    <a:pt x="1544" y="287"/>
                  </a:lnTo>
                  <a:lnTo>
                    <a:pt x="1558" y="309"/>
                  </a:lnTo>
                  <a:lnTo>
                    <a:pt x="1567" y="334"/>
                  </a:lnTo>
                  <a:lnTo>
                    <a:pt x="1570" y="359"/>
                  </a:lnTo>
                  <a:lnTo>
                    <a:pt x="1568" y="385"/>
                  </a:lnTo>
                  <a:lnTo>
                    <a:pt x="1561" y="411"/>
                  </a:lnTo>
                  <a:lnTo>
                    <a:pt x="1548" y="435"/>
                  </a:lnTo>
                  <a:lnTo>
                    <a:pt x="1508" y="495"/>
                  </a:lnTo>
                  <a:lnTo>
                    <a:pt x="1532" y="535"/>
                  </a:lnTo>
                  <a:lnTo>
                    <a:pt x="1552" y="576"/>
                  </a:lnTo>
                  <a:lnTo>
                    <a:pt x="1571" y="620"/>
                  </a:lnTo>
                  <a:lnTo>
                    <a:pt x="1645" y="622"/>
                  </a:lnTo>
                  <a:lnTo>
                    <a:pt x="1671" y="625"/>
                  </a:lnTo>
                  <a:lnTo>
                    <a:pt x="1696" y="635"/>
                  </a:lnTo>
                  <a:lnTo>
                    <a:pt x="1718" y="648"/>
                  </a:lnTo>
                  <a:lnTo>
                    <a:pt x="1736" y="666"/>
                  </a:lnTo>
                  <a:lnTo>
                    <a:pt x="1751" y="688"/>
                  </a:lnTo>
                  <a:lnTo>
                    <a:pt x="1761" y="712"/>
                  </a:lnTo>
                  <a:lnTo>
                    <a:pt x="1767" y="738"/>
                  </a:lnTo>
                  <a:lnTo>
                    <a:pt x="1780" y="894"/>
                  </a:lnTo>
                  <a:lnTo>
                    <a:pt x="1779" y="921"/>
                  </a:lnTo>
                  <a:lnTo>
                    <a:pt x="1773" y="947"/>
                  </a:lnTo>
                  <a:lnTo>
                    <a:pt x="1762" y="970"/>
                  </a:lnTo>
                  <a:lnTo>
                    <a:pt x="1746" y="991"/>
                  </a:lnTo>
                  <a:lnTo>
                    <a:pt x="1728" y="1009"/>
                  </a:lnTo>
                  <a:lnTo>
                    <a:pt x="1705" y="1022"/>
                  </a:lnTo>
                  <a:lnTo>
                    <a:pt x="1679" y="1029"/>
                  </a:lnTo>
                  <a:lnTo>
                    <a:pt x="1605" y="1045"/>
                  </a:lnTo>
                  <a:lnTo>
                    <a:pt x="1594" y="1090"/>
                  </a:lnTo>
                  <a:lnTo>
                    <a:pt x="1580" y="1135"/>
                  </a:lnTo>
                  <a:lnTo>
                    <a:pt x="1561" y="1180"/>
                  </a:lnTo>
                  <a:lnTo>
                    <a:pt x="1615" y="1238"/>
                  </a:lnTo>
                  <a:lnTo>
                    <a:pt x="1632" y="1260"/>
                  </a:lnTo>
                  <a:lnTo>
                    <a:pt x="1644" y="1283"/>
                  </a:lnTo>
                  <a:lnTo>
                    <a:pt x="1649" y="1309"/>
                  </a:lnTo>
                  <a:lnTo>
                    <a:pt x="1650" y="1334"/>
                  </a:lnTo>
                  <a:lnTo>
                    <a:pt x="1646" y="1360"/>
                  </a:lnTo>
                  <a:lnTo>
                    <a:pt x="1635" y="1384"/>
                  </a:lnTo>
                  <a:lnTo>
                    <a:pt x="1621" y="1407"/>
                  </a:lnTo>
                  <a:lnTo>
                    <a:pt x="1520" y="1526"/>
                  </a:lnTo>
                  <a:lnTo>
                    <a:pt x="1505" y="1541"/>
                  </a:lnTo>
                  <a:lnTo>
                    <a:pt x="1486" y="1554"/>
                  </a:lnTo>
                  <a:lnTo>
                    <a:pt x="1466" y="1563"/>
                  </a:lnTo>
                  <a:lnTo>
                    <a:pt x="1446" y="1570"/>
                  </a:lnTo>
                  <a:lnTo>
                    <a:pt x="1423" y="1571"/>
                  </a:lnTo>
                  <a:lnTo>
                    <a:pt x="1423" y="1571"/>
                  </a:lnTo>
                  <a:lnTo>
                    <a:pt x="1399" y="1569"/>
                  </a:lnTo>
                  <a:lnTo>
                    <a:pt x="1375" y="1562"/>
                  </a:lnTo>
                  <a:lnTo>
                    <a:pt x="1353" y="1550"/>
                  </a:lnTo>
                  <a:lnTo>
                    <a:pt x="1285" y="1505"/>
                  </a:lnTo>
                  <a:lnTo>
                    <a:pt x="1243" y="1529"/>
                  </a:lnTo>
                  <a:lnTo>
                    <a:pt x="1201" y="1551"/>
                  </a:lnTo>
                  <a:lnTo>
                    <a:pt x="1156" y="1570"/>
                  </a:lnTo>
                  <a:lnTo>
                    <a:pt x="1154" y="1653"/>
                  </a:lnTo>
                  <a:lnTo>
                    <a:pt x="1150" y="1680"/>
                  </a:lnTo>
                  <a:lnTo>
                    <a:pt x="1141" y="1704"/>
                  </a:lnTo>
                  <a:lnTo>
                    <a:pt x="1128" y="1727"/>
                  </a:lnTo>
                  <a:lnTo>
                    <a:pt x="1110" y="1745"/>
                  </a:lnTo>
                  <a:lnTo>
                    <a:pt x="1089" y="1760"/>
                  </a:lnTo>
                  <a:lnTo>
                    <a:pt x="1065" y="1771"/>
                  </a:lnTo>
                  <a:lnTo>
                    <a:pt x="1038" y="1776"/>
                  </a:lnTo>
                  <a:lnTo>
                    <a:pt x="883" y="1789"/>
                  </a:lnTo>
                  <a:lnTo>
                    <a:pt x="872" y="1789"/>
                  </a:lnTo>
                  <a:lnTo>
                    <a:pt x="847" y="1787"/>
                  </a:lnTo>
                  <a:lnTo>
                    <a:pt x="823" y="1779"/>
                  </a:lnTo>
                  <a:lnTo>
                    <a:pt x="802" y="1767"/>
                  </a:lnTo>
                  <a:lnTo>
                    <a:pt x="783" y="1752"/>
                  </a:lnTo>
                  <a:lnTo>
                    <a:pt x="767" y="1733"/>
                  </a:lnTo>
                  <a:lnTo>
                    <a:pt x="755" y="1712"/>
                  </a:lnTo>
                  <a:lnTo>
                    <a:pt x="748" y="1688"/>
                  </a:lnTo>
                  <a:lnTo>
                    <a:pt x="731" y="1601"/>
                  </a:lnTo>
                  <a:lnTo>
                    <a:pt x="667" y="1584"/>
                  </a:lnTo>
                  <a:lnTo>
                    <a:pt x="605" y="1560"/>
                  </a:lnTo>
                  <a:lnTo>
                    <a:pt x="542" y="1619"/>
                  </a:lnTo>
                  <a:lnTo>
                    <a:pt x="523" y="1633"/>
                  </a:lnTo>
                  <a:lnTo>
                    <a:pt x="503" y="1644"/>
                  </a:lnTo>
                  <a:lnTo>
                    <a:pt x="480" y="1650"/>
                  </a:lnTo>
                  <a:lnTo>
                    <a:pt x="456" y="1653"/>
                  </a:lnTo>
                  <a:lnTo>
                    <a:pt x="434" y="1650"/>
                  </a:lnTo>
                  <a:lnTo>
                    <a:pt x="412" y="1645"/>
                  </a:lnTo>
                  <a:lnTo>
                    <a:pt x="393" y="1635"/>
                  </a:lnTo>
                  <a:lnTo>
                    <a:pt x="374" y="1623"/>
                  </a:lnTo>
                  <a:lnTo>
                    <a:pt x="255" y="1522"/>
                  </a:lnTo>
                  <a:lnTo>
                    <a:pt x="236" y="1502"/>
                  </a:lnTo>
                  <a:lnTo>
                    <a:pt x="223" y="1480"/>
                  </a:lnTo>
                  <a:lnTo>
                    <a:pt x="214" y="1456"/>
                  </a:lnTo>
                  <a:lnTo>
                    <a:pt x="210" y="1430"/>
                  </a:lnTo>
                  <a:lnTo>
                    <a:pt x="212" y="1404"/>
                  </a:lnTo>
                  <a:lnTo>
                    <a:pt x="219" y="1379"/>
                  </a:lnTo>
                  <a:lnTo>
                    <a:pt x="232" y="1355"/>
                  </a:lnTo>
                  <a:lnTo>
                    <a:pt x="278" y="1283"/>
                  </a:lnTo>
                  <a:lnTo>
                    <a:pt x="247" y="1227"/>
                  </a:lnTo>
                  <a:lnTo>
                    <a:pt x="220" y="1170"/>
                  </a:lnTo>
                  <a:lnTo>
                    <a:pt x="135" y="1167"/>
                  </a:lnTo>
                  <a:lnTo>
                    <a:pt x="109" y="1164"/>
                  </a:lnTo>
                  <a:lnTo>
                    <a:pt x="84" y="1155"/>
                  </a:lnTo>
                  <a:lnTo>
                    <a:pt x="62" y="1141"/>
                  </a:lnTo>
                  <a:lnTo>
                    <a:pt x="43" y="1123"/>
                  </a:lnTo>
                  <a:lnTo>
                    <a:pt x="28" y="1102"/>
                  </a:lnTo>
                  <a:lnTo>
                    <a:pt x="18" y="1077"/>
                  </a:lnTo>
                  <a:lnTo>
                    <a:pt x="13" y="1051"/>
                  </a:lnTo>
                  <a:lnTo>
                    <a:pt x="0" y="895"/>
                  </a:lnTo>
                  <a:lnTo>
                    <a:pt x="0" y="868"/>
                  </a:lnTo>
                  <a:lnTo>
                    <a:pt x="6" y="843"/>
                  </a:lnTo>
                  <a:lnTo>
                    <a:pt x="17" y="819"/>
                  </a:lnTo>
                  <a:lnTo>
                    <a:pt x="33" y="798"/>
                  </a:lnTo>
                  <a:lnTo>
                    <a:pt x="52" y="781"/>
                  </a:lnTo>
                  <a:lnTo>
                    <a:pt x="75" y="768"/>
                  </a:lnTo>
                  <a:lnTo>
                    <a:pt x="101" y="760"/>
                  </a:lnTo>
                  <a:lnTo>
                    <a:pt x="177" y="744"/>
                  </a:lnTo>
                  <a:lnTo>
                    <a:pt x="195" y="676"/>
                  </a:lnTo>
                  <a:lnTo>
                    <a:pt x="219" y="610"/>
                  </a:lnTo>
                  <a:lnTo>
                    <a:pt x="164" y="551"/>
                  </a:lnTo>
                  <a:lnTo>
                    <a:pt x="148" y="530"/>
                  </a:lnTo>
                  <a:lnTo>
                    <a:pt x="136" y="506"/>
                  </a:lnTo>
                  <a:lnTo>
                    <a:pt x="131" y="481"/>
                  </a:lnTo>
                  <a:lnTo>
                    <a:pt x="129" y="455"/>
                  </a:lnTo>
                  <a:lnTo>
                    <a:pt x="135" y="430"/>
                  </a:lnTo>
                  <a:lnTo>
                    <a:pt x="145" y="405"/>
                  </a:lnTo>
                  <a:lnTo>
                    <a:pt x="160" y="383"/>
                  </a:lnTo>
                  <a:lnTo>
                    <a:pt x="260" y="263"/>
                  </a:lnTo>
                  <a:lnTo>
                    <a:pt x="275" y="246"/>
                  </a:lnTo>
                  <a:lnTo>
                    <a:pt x="294" y="234"/>
                  </a:lnTo>
                  <a:lnTo>
                    <a:pt x="313" y="225"/>
                  </a:lnTo>
                  <a:lnTo>
                    <a:pt x="335" y="219"/>
                  </a:lnTo>
                  <a:lnTo>
                    <a:pt x="357" y="217"/>
                  </a:lnTo>
                  <a:lnTo>
                    <a:pt x="381" y="220"/>
                  </a:lnTo>
                  <a:lnTo>
                    <a:pt x="405" y="227"/>
                  </a:lnTo>
                  <a:lnTo>
                    <a:pt x="426" y="239"/>
                  </a:lnTo>
                  <a:lnTo>
                    <a:pt x="487" y="279"/>
                  </a:lnTo>
                  <a:lnTo>
                    <a:pt x="531" y="252"/>
                  </a:lnTo>
                  <a:lnTo>
                    <a:pt x="577" y="228"/>
                  </a:lnTo>
                  <a:lnTo>
                    <a:pt x="623" y="207"/>
                  </a:lnTo>
                  <a:lnTo>
                    <a:pt x="625" y="136"/>
                  </a:lnTo>
                  <a:lnTo>
                    <a:pt x="630" y="109"/>
                  </a:lnTo>
                  <a:lnTo>
                    <a:pt x="639" y="85"/>
                  </a:lnTo>
                  <a:lnTo>
                    <a:pt x="652" y="62"/>
                  </a:lnTo>
                  <a:lnTo>
                    <a:pt x="670" y="43"/>
                  </a:lnTo>
                  <a:lnTo>
                    <a:pt x="691" y="29"/>
                  </a:lnTo>
                  <a:lnTo>
                    <a:pt x="715" y="18"/>
                  </a:lnTo>
                  <a:lnTo>
                    <a:pt x="742" y="13"/>
                  </a:lnTo>
                  <a:lnTo>
                    <a:pt x="897" y="0"/>
                  </a:lnTo>
                  <a:lnTo>
                    <a:pt x="902" y="0"/>
                  </a:lnTo>
                  <a:lnTo>
                    <a:pt x="9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xmlns="" id="{2AA29743-2073-4FCA-B4FC-E1532A8E9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6" y="1530"/>
              <a:ext cx="68" cy="68"/>
            </a:xfrm>
            <a:custGeom>
              <a:avLst/>
              <a:gdLst>
                <a:gd name="T0" fmla="*/ 314 w 674"/>
                <a:gd name="T1" fmla="*/ 65 h 677"/>
                <a:gd name="T2" fmla="*/ 245 w 674"/>
                <a:gd name="T3" fmla="*/ 81 h 677"/>
                <a:gd name="T4" fmla="*/ 182 w 674"/>
                <a:gd name="T5" fmla="*/ 113 h 677"/>
                <a:gd name="T6" fmla="*/ 128 w 674"/>
                <a:gd name="T7" fmla="*/ 161 h 677"/>
                <a:gd name="T8" fmla="*/ 90 w 674"/>
                <a:gd name="T9" fmla="*/ 223 h 677"/>
                <a:gd name="T10" fmla="*/ 68 w 674"/>
                <a:gd name="T11" fmla="*/ 289 h 677"/>
                <a:gd name="T12" fmla="*/ 65 w 674"/>
                <a:gd name="T13" fmla="*/ 361 h 677"/>
                <a:gd name="T14" fmla="*/ 85 w 674"/>
                <a:gd name="T15" fmla="*/ 442 h 677"/>
                <a:gd name="T16" fmla="*/ 125 w 674"/>
                <a:gd name="T17" fmla="*/ 511 h 677"/>
                <a:gd name="T18" fmla="*/ 184 w 674"/>
                <a:gd name="T19" fmla="*/ 564 h 677"/>
                <a:gd name="T20" fmla="*/ 256 w 674"/>
                <a:gd name="T21" fmla="*/ 600 h 677"/>
                <a:gd name="T22" fmla="*/ 337 w 674"/>
                <a:gd name="T23" fmla="*/ 612 h 677"/>
                <a:gd name="T24" fmla="*/ 396 w 674"/>
                <a:gd name="T25" fmla="*/ 606 h 677"/>
                <a:gd name="T26" fmla="*/ 462 w 674"/>
                <a:gd name="T27" fmla="*/ 582 h 677"/>
                <a:gd name="T28" fmla="*/ 521 w 674"/>
                <a:gd name="T29" fmla="*/ 541 h 677"/>
                <a:gd name="T30" fmla="*/ 568 w 674"/>
                <a:gd name="T31" fmla="*/ 486 h 677"/>
                <a:gd name="T32" fmla="*/ 598 w 674"/>
                <a:gd name="T33" fmla="*/ 421 h 677"/>
                <a:gd name="T34" fmla="*/ 610 w 674"/>
                <a:gd name="T35" fmla="*/ 351 h 677"/>
                <a:gd name="T36" fmla="*/ 603 w 674"/>
                <a:gd name="T37" fmla="*/ 274 h 677"/>
                <a:gd name="T38" fmla="*/ 572 w 674"/>
                <a:gd name="T39" fmla="*/ 199 h 677"/>
                <a:gd name="T40" fmla="*/ 522 w 674"/>
                <a:gd name="T41" fmla="*/ 137 h 677"/>
                <a:gd name="T42" fmla="*/ 457 w 674"/>
                <a:gd name="T43" fmla="*/ 92 h 677"/>
                <a:gd name="T44" fmla="*/ 380 w 674"/>
                <a:gd name="T45" fmla="*/ 68 h 677"/>
                <a:gd name="T46" fmla="*/ 338 w 674"/>
                <a:gd name="T47" fmla="*/ 0 h 677"/>
                <a:gd name="T48" fmla="*/ 430 w 674"/>
                <a:gd name="T49" fmla="*/ 13 h 677"/>
                <a:gd name="T50" fmla="*/ 512 w 674"/>
                <a:gd name="T51" fmla="*/ 49 h 677"/>
                <a:gd name="T52" fmla="*/ 582 w 674"/>
                <a:gd name="T53" fmla="*/ 106 h 677"/>
                <a:gd name="T54" fmla="*/ 634 w 674"/>
                <a:gd name="T55" fmla="*/ 178 h 677"/>
                <a:gd name="T56" fmla="*/ 667 w 674"/>
                <a:gd name="T57" fmla="*/ 263 h 677"/>
                <a:gd name="T58" fmla="*/ 674 w 674"/>
                <a:gd name="T59" fmla="*/ 355 h 677"/>
                <a:gd name="T60" fmla="*/ 659 w 674"/>
                <a:gd name="T61" fmla="*/ 441 h 677"/>
                <a:gd name="T62" fmla="*/ 622 w 674"/>
                <a:gd name="T63" fmla="*/ 521 h 677"/>
                <a:gd name="T64" fmla="*/ 564 w 674"/>
                <a:gd name="T65" fmla="*/ 589 h 677"/>
                <a:gd name="T66" fmla="*/ 493 w 674"/>
                <a:gd name="T67" fmla="*/ 640 h 677"/>
                <a:gd name="T68" fmla="*/ 410 w 674"/>
                <a:gd name="T69" fmla="*/ 669 h 677"/>
                <a:gd name="T70" fmla="*/ 337 w 674"/>
                <a:gd name="T71" fmla="*/ 677 h 677"/>
                <a:gd name="T72" fmla="*/ 246 w 674"/>
                <a:gd name="T73" fmla="*/ 664 h 677"/>
                <a:gd name="T74" fmla="*/ 163 w 674"/>
                <a:gd name="T75" fmla="*/ 628 h 677"/>
                <a:gd name="T76" fmla="*/ 93 w 674"/>
                <a:gd name="T77" fmla="*/ 572 h 677"/>
                <a:gd name="T78" fmla="*/ 40 w 674"/>
                <a:gd name="T79" fmla="*/ 499 h 677"/>
                <a:gd name="T80" fmla="*/ 9 w 674"/>
                <a:gd name="T81" fmla="*/ 414 h 677"/>
                <a:gd name="T82" fmla="*/ 0 w 674"/>
                <a:gd name="T83" fmla="*/ 322 h 677"/>
                <a:gd name="T84" fmla="*/ 15 w 674"/>
                <a:gd name="T85" fmla="*/ 236 h 677"/>
                <a:gd name="T86" fmla="*/ 53 w 674"/>
                <a:gd name="T87" fmla="*/ 156 h 677"/>
                <a:gd name="T88" fmla="*/ 111 w 674"/>
                <a:gd name="T89" fmla="*/ 87 h 677"/>
                <a:gd name="T90" fmla="*/ 183 w 674"/>
                <a:gd name="T91" fmla="*/ 37 h 677"/>
                <a:gd name="T92" fmla="*/ 265 w 674"/>
                <a:gd name="T93" fmla="*/ 8 h 677"/>
                <a:gd name="T94" fmla="*/ 338 w 674"/>
                <a:gd name="T95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74" h="677">
                  <a:moveTo>
                    <a:pt x="338" y="64"/>
                  </a:moveTo>
                  <a:lnTo>
                    <a:pt x="314" y="65"/>
                  </a:lnTo>
                  <a:lnTo>
                    <a:pt x="278" y="71"/>
                  </a:lnTo>
                  <a:lnTo>
                    <a:pt x="245" y="81"/>
                  </a:lnTo>
                  <a:lnTo>
                    <a:pt x="212" y="95"/>
                  </a:lnTo>
                  <a:lnTo>
                    <a:pt x="182" y="113"/>
                  </a:lnTo>
                  <a:lnTo>
                    <a:pt x="153" y="135"/>
                  </a:lnTo>
                  <a:lnTo>
                    <a:pt x="128" y="161"/>
                  </a:lnTo>
                  <a:lnTo>
                    <a:pt x="108" y="191"/>
                  </a:lnTo>
                  <a:lnTo>
                    <a:pt x="90" y="223"/>
                  </a:lnTo>
                  <a:lnTo>
                    <a:pt x="77" y="255"/>
                  </a:lnTo>
                  <a:lnTo>
                    <a:pt x="68" y="289"/>
                  </a:lnTo>
                  <a:lnTo>
                    <a:pt x="64" y="325"/>
                  </a:lnTo>
                  <a:lnTo>
                    <a:pt x="65" y="361"/>
                  </a:lnTo>
                  <a:lnTo>
                    <a:pt x="72" y="403"/>
                  </a:lnTo>
                  <a:lnTo>
                    <a:pt x="85" y="442"/>
                  </a:lnTo>
                  <a:lnTo>
                    <a:pt x="102" y="478"/>
                  </a:lnTo>
                  <a:lnTo>
                    <a:pt x="125" y="511"/>
                  </a:lnTo>
                  <a:lnTo>
                    <a:pt x="152" y="540"/>
                  </a:lnTo>
                  <a:lnTo>
                    <a:pt x="184" y="564"/>
                  </a:lnTo>
                  <a:lnTo>
                    <a:pt x="219" y="585"/>
                  </a:lnTo>
                  <a:lnTo>
                    <a:pt x="256" y="600"/>
                  </a:lnTo>
                  <a:lnTo>
                    <a:pt x="296" y="609"/>
                  </a:lnTo>
                  <a:lnTo>
                    <a:pt x="337" y="612"/>
                  </a:lnTo>
                  <a:lnTo>
                    <a:pt x="360" y="611"/>
                  </a:lnTo>
                  <a:lnTo>
                    <a:pt x="396" y="606"/>
                  </a:lnTo>
                  <a:lnTo>
                    <a:pt x="431" y="596"/>
                  </a:lnTo>
                  <a:lnTo>
                    <a:pt x="462" y="582"/>
                  </a:lnTo>
                  <a:lnTo>
                    <a:pt x="493" y="564"/>
                  </a:lnTo>
                  <a:lnTo>
                    <a:pt x="521" y="541"/>
                  </a:lnTo>
                  <a:lnTo>
                    <a:pt x="546" y="515"/>
                  </a:lnTo>
                  <a:lnTo>
                    <a:pt x="568" y="486"/>
                  </a:lnTo>
                  <a:lnTo>
                    <a:pt x="585" y="455"/>
                  </a:lnTo>
                  <a:lnTo>
                    <a:pt x="598" y="421"/>
                  </a:lnTo>
                  <a:lnTo>
                    <a:pt x="606" y="387"/>
                  </a:lnTo>
                  <a:lnTo>
                    <a:pt x="610" y="351"/>
                  </a:lnTo>
                  <a:lnTo>
                    <a:pt x="609" y="315"/>
                  </a:lnTo>
                  <a:lnTo>
                    <a:pt x="603" y="274"/>
                  </a:lnTo>
                  <a:lnTo>
                    <a:pt x="591" y="236"/>
                  </a:lnTo>
                  <a:lnTo>
                    <a:pt x="572" y="199"/>
                  </a:lnTo>
                  <a:lnTo>
                    <a:pt x="549" y="166"/>
                  </a:lnTo>
                  <a:lnTo>
                    <a:pt x="522" y="137"/>
                  </a:lnTo>
                  <a:lnTo>
                    <a:pt x="491" y="112"/>
                  </a:lnTo>
                  <a:lnTo>
                    <a:pt x="457" y="92"/>
                  </a:lnTo>
                  <a:lnTo>
                    <a:pt x="419" y="77"/>
                  </a:lnTo>
                  <a:lnTo>
                    <a:pt x="380" y="68"/>
                  </a:lnTo>
                  <a:lnTo>
                    <a:pt x="338" y="64"/>
                  </a:lnTo>
                  <a:close/>
                  <a:moveTo>
                    <a:pt x="338" y="0"/>
                  </a:moveTo>
                  <a:lnTo>
                    <a:pt x="385" y="3"/>
                  </a:lnTo>
                  <a:lnTo>
                    <a:pt x="430" y="13"/>
                  </a:lnTo>
                  <a:lnTo>
                    <a:pt x="472" y="28"/>
                  </a:lnTo>
                  <a:lnTo>
                    <a:pt x="512" y="49"/>
                  </a:lnTo>
                  <a:lnTo>
                    <a:pt x="548" y="75"/>
                  </a:lnTo>
                  <a:lnTo>
                    <a:pt x="582" y="106"/>
                  </a:lnTo>
                  <a:lnTo>
                    <a:pt x="610" y="140"/>
                  </a:lnTo>
                  <a:lnTo>
                    <a:pt x="634" y="178"/>
                  </a:lnTo>
                  <a:lnTo>
                    <a:pt x="653" y="219"/>
                  </a:lnTo>
                  <a:lnTo>
                    <a:pt x="667" y="263"/>
                  </a:lnTo>
                  <a:lnTo>
                    <a:pt x="673" y="310"/>
                  </a:lnTo>
                  <a:lnTo>
                    <a:pt x="674" y="355"/>
                  </a:lnTo>
                  <a:lnTo>
                    <a:pt x="670" y="398"/>
                  </a:lnTo>
                  <a:lnTo>
                    <a:pt x="659" y="441"/>
                  </a:lnTo>
                  <a:lnTo>
                    <a:pt x="643" y="482"/>
                  </a:lnTo>
                  <a:lnTo>
                    <a:pt x="622" y="521"/>
                  </a:lnTo>
                  <a:lnTo>
                    <a:pt x="595" y="557"/>
                  </a:lnTo>
                  <a:lnTo>
                    <a:pt x="564" y="589"/>
                  </a:lnTo>
                  <a:lnTo>
                    <a:pt x="530" y="617"/>
                  </a:lnTo>
                  <a:lnTo>
                    <a:pt x="493" y="640"/>
                  </a:lnTo>
                  <a:lnTo>
                    <a:pt x="452" y="657"/>
                  </a:lnTo>
                  <a:lnTo>
                    <a:pt x="410" y="669"/>
                  </a:lnTo>
                  <a:lnTo>
                    <a:pt x="365" y="676"/>
                  </a:lnTo>
                  <a:lnTo>
                    <a:pt x="337" y="677"/>
                  </a:lnTo>
                  <a:lnTo>
                    <a:pt x="290" y="673"/>
                  </a:lnTo>
                  <a:lnTo>
                    <a:pt x="246" y="664"/>
                  </a:lnTo>
                  <a:lnTo>
                    <a:pt x="202" y="648"/>
                  </a:lnTo>
                  <a:lnTo>
                    <a:pt x="163" y="628"/>
                  </a:lnTo>
                  <a:lnTo>
                    <a:pt x="126" y="601"/>
                  </a:lnTo>
                  <a:lnTo>
                    <a:pt x="93" y="572"/>
                  </a:lnTo>
                  <a:lnTo>
                    <a:pt x="64" y="537"/>
                  </a:lnTo>
                  <a:lnTo>
                    <a:pt x="40" y="499"/>
                  </a:lnTo>
                  <a:lnTo>
                    <a:pt x="22" y="457"/>
                  </a:lnTo>
                  <a:lnTo>
                    <a:pt x="9" y="414"/>
                  </a:lnTo>
                  <a:lnTo>
                    <a:pt x="1" y="367"/>
                  </a:lnTo>
                  <a:lnTo>
                    <a:pt x="0" y="322"/>
                  </a:lnTo>
                  <a:lnTo>
                    <a:pt x="5" y="278"/>
                  </a:lnTo>
                  <a:lnTo>
                    <a:pt x="15" y="236"/>
                  </a:lnTo>
                  <a:lnTo>
                    <a:pt x="31" y="195"/>
                  </a:lnTo>
                  <a:lnTo>
                    <a:pt x="53" y="156"/>
                  </a:lnTo>
                  <a:lnTo>
                    <a:pt x="79" y="120"/>
                  </a:lnTo>
                  <a:lnTo>
                    <a:pt x="111" y="87"/>
                  </a:lnTo>
                  <a:lnTo>
                    <a:pt x="145" y="60"/>
                  </a:lnTo>
                  <a:lnTo>
                    <a:pt x="183" y="37"/>
                  </a:lnTo>
                  <a:lnTo>
                    <a:pt x="223" y="20"/>
                  </a:lnTo>
                  <a:lnTo>
                    <a:pt x="265" y="8"/>
                  </a:lnTo>
                  <a:lnTo>
                    <a:pt x="309" y="1"/>
                  </a:lnTo>
                  <a:lnTo>
                    <a:pt x="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xmlns="" id="{DD4F9B72-A774-4A47-9015-A6F36F067F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0" y="1622"/>
              <a:ext cx="56" cy="56"/>
            </a:xfrm>
            <a:custGeom>
              <a:avLst/>
              <a:gdLst>
                <a:gd name="T0" fmla="*/ 246 w 561"/>
                <a:gd name="T1" fmla="*/ 68 h 564"/>
                <a:gd name="T2" fmla="*/ 183 w 561"/>
                <a:gd name="T3" fmla="*/ 89 h 564"/>
                <a:gd name="T4" fmla="*/ 130 w 561"/>
                <a:gd name="T5" fmla="*/ 128 h 564"/>
                <a:gd name="T6" fmla="*/ 89 w 561"/>
                <a:gd name="T7" fmla="*/ 181 h 564"/>
                <a:gd name="T8" fmla="*/ 68 w 561"/>
                <a:gd name="T9" fmla="*/ 245 h 564"/>
                <a:gd name="T10" fmla="*/ 66 w 561"/>
                <a:gd name="T11" fmla="*/ 315 h 564"/>
                <a:gd name="T12" fmla="*/ 87 w 561"/>
                <a:gd name="T13" fmla="*/ 379 h 564"/>
                <a:gd name="T14" fmla="*/ 126 w 561"/>
                <a:gd name="T15" fmla="*/ 434 h 564"/>
                <a:gd name="T16" fmla="*/ 180 w 561"/>
                <a:gd name="T17" fmla="*/ 474 h 564"/>
                <a:gd name="T18" fmla="*/ 244 w 561"/>
                <a:gd name="T19" fmla="*/ 496 h 564"/>
                <a:gd name="T20" fmla="*/ 281 w 561"/>
                <a:gd name="T21" fmla="*/ 499 h 564"/>
                <a:gd name="T22" fmla="*/ 348 w 561"/>
                <a:gd name="T23" fmla="*/ 488 h 564"/>
                <a:gd name="T24" fmla="*/ 408 w 561"/>
                <a:gd name="T25" fmla="*/ 458 h 564"/>
                <a:gd name="T26" fmla="*/ 455 w 561"/>
                <a:gd name="T27" fmla="*/ 412 h 564"/>
                <a:gd name="T28" fmla="*/ 486 w 561"/>
                <a:gd name="T29" fmla="*/ 353 h 564"/>
                <a:gd name="T30" fmla="*/ 497 w 561"/>
                <a:gd name="T31" fmla="*/ 285 h 564"/>
                <a:gd name="T32" fmla="*/ 487 w 561"/>
                <a:gd name="T33" fmla="*/ 218 h 564"/>
                <a:gd name="T34" fmla="*/ 458 w 561"/>
                <a:gd name="T35" fmla="*/ 157 h 564"/>
                <a:gd name="T36" fmla="*/ 410 w 561"/>
                <a:gd name="T37" fmla="*/ 107 h 564"/>
                <a:gd name="T38" fmla="*/ 350 w 561"/>
                <a:gd name="T39" fmla="*/ 77 h 564"/>
                <a:gd name="T40" fmla="*/ 284 w 561"/>
                <a:gd name="T41" fmla="*/ 65 h 564"/>
                <a:gd name="T42" fmla="*/ 281 w 561"/>
                <a:gd name="T43" fmla="*/ 0 h 564"/>
                <a:gd name="T44" fmla="*/ 321 w 561"/>
                <a:gd name="T45" fmla="*/ 4 h 564"/>
                <a:gd name="T46" fmla="*/ 392 w 561"/>
                <a:gd name="T47" fmla="*/ 23 h 564"/>
                <a:gd name="T48" fmla="*/ 454 w 561"/>
                <a:gd name="T49" fmla="*/ 60 h 564"/>
                <a:gd name="T50" fmla="*/ 506 w 561"/>
                <a:gd name="T51" fmla="*/ 114 h 564"/>
                <a:gd name="T52" fmla="*/ 542 w 561"/>
                <a:gd name="T53" fmla="*/ 177 h 564"/>
                <a:gd name="T54" fmla="*/ 560 w 561"/>
                <a:gd name="T55" fmla="*/ 248 h 564"/>
                <a:gd name="T56" fmla="*/ 558 w 561"/>
                <a:gd name="T57" fmla="*/ 327 h 564"/>
                <a:gd name="T58" fmla="*/ 534 w 561"/>
                <a:gd name="T59" fmla="*/ 403 h 564"/>
                <a:gd name="T60" fmla="*/ 492 w 561"/>
                <a:gd name="T61" fmla="*/ 469 h 564"/>
                <a:gd name="T62" fmla="*/ 433 w 561"/>
                <a:gd name="T63" fmla="*/ 519 h 564"/>
                <a:gd name="T64" fmla="*/ 361 w 561"/>
                <a:gd name="T65" fmla="*/ 553 h 564"/>
                <a:gd name="T66" fmla="*/ 281 w 561"/>
                <a:gd name="T67" fmla="*/ 564 h 564"/>
                <a:gd name="T68" fmla="*/ 236 w 561"/>
                <a:gd name="T69" fmla="*/ 560 h 564"/>
                <a:gd name="T70" fmla="*/ 160 w 561"/>
                <a:gd name="T71" fmla="*/ 536 h 564"/>
                <a:gd name="T72" fmla="*/ 95 w 561"/>
                <a:gd name="T73" fmla="*/ 493 h 564"/>
                <a:gd name="T74" fmla="*/ 44 w 561"/>
                <a:gd name="T75" fmla="*/ 433 h 564"/>
                <a:gd name="T76" fmla="*/ 11 w 561"/>
                <a:gd name="T77" fmla="*/ 361 h 564"/>
                <a:gd name="T78" fmla="*/ 0 w 561"/>
                <a:gd name="T79" fmla="*/ 279 h 564"/>
                <a:gd name="T80" fmla="*/ 13 w 561"/>
                <a:gd name="T81" fmla="*/ 199 h 564"/>
                <a:gd name="T82" fmla="*/ 47 w 561"/>
                <a:gd name="T83" fmla="*/ 127 h 564"/>
                <a:gd name="T84" fmla="*/ 98 w 561"/>
                <a:gd name="T85" fmla="*/ 69 h 564"/>
                <a:gd name="T86" fmla="*/ 164 w 561"/>
                <a:gd name="T87" fmla="*/ 27 h 564"/>
                <a:gd name="T88" fmla="*/ 241 w 561"/>
                <a:gd name="T89" fmla="*/ 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1" h="564">
                  <a:moveTo>
                    <a:pt x="281" y="65"/>
                  </a:moveTo>
                  <a:lnTo>
                    <a:pt x="246" y="68"/>
                  </a:lnTo>
                  <a:lnTo>
                    <a:pt x="213" y="76"/>
                  </a:lnTo>
                  <a:lnTo>
                    <a:pt x="183" y="89"/>
                  </a:lnTo>
                  <a:lnTo>
                    <a:pt x="155" y="106"/>
                  </a:lnTo>
                  <a:lnTo>
                    <a:pt x="130" y="128"/>
                  </a:lnTo>
                  <a:lnTo>
                    <a:pt x="108" y="153"/>
                  </a:lnTo>
                  <a:lnTo>
                    <a:pt x="89" y="181"/>
                  </a:lnTo>
                  <a:lnTo>
                    <a:pt x="76" y="212"/>
                  </a:lnTo>
                  <a:lnTo>
                    <a:pt x="68" y="245"/>
                  </a:lnTo>
                  <a:lnTo>
                    <a:pt x="64" y="280"/>
                  </a:lnTo>
                  <a:lnTo>
                    <a:pt x="66" y="315"/>
                  </a:lnTo>
                  <a:lnTo>
                    <a:pt x="75" y="349"/>
                  </a:lnTo>
                  <a:lnTo>
                    <a:pt x="87" y="379"/>
                  </a:lnTo>
                  <a:lnTo>
                    <a:pt x="105" y="409"/>
                  </a:lnTo>
                  <a:lnTo>
                    <a:pt x="126" y="434"/>
                  </a:lnTo>
                  <a:lnTo>
                    <a:pt x="151" y="456"/>
                  </a:lnTo>
                  <a:lnTo>
                    <a:pt x="180" y="474"/>
                  </a:lnTo>
                  <a:lnTo>
                    <a:pt x="210" y="487"/>
                  </a:lnTo>
                  <a:lnTo>
                    <a:pt x="244" y="496"/>
                  </a:lnTo>
                  <a:lnTo>
                    <a:pt x="279" y="499"/>
                  </a:lnTo>
                  <a:lnTo>
                    <a:pt x="281" y="499"/>
                  </a:lnTo>
                  <a:lnTo>
                    <a:pt x="316" y="497"/>
                  </a:lnTo>
                  <a:lnTo>
                    <a:pt x="348" y="488"/>
                  </a:lnTo>
                  <a:lnTo>
                    <a:pt x="380" y="475"/>
                  </a:lnTo>
                  <a:lnTo>
                    <a:pt x="408" y="458"/>
                  </a:lnTo>
                  <a:lnTo>
                    <a:pt x="433" y="437"/>
                  </a:lnTo>
                  <a:lnTo>
                    <a:pt x="455" y="412"/>
                  </a:lnTo>
                  <a:lnTo>
                    <a:pt x="472" y="384"/>
                  </a:lnTo>
                  <a:lnTo>
                    <a:pt x="486" y="353"/>
                  </a:lnTo>
                  <a:lnTo>
                    <a:pt x="494" y="319"/>
                  </a:lnTo>
                  <a:lnTo>
                    <a:pt x="497" y="285"/>
                  </a:lnTo>
                  <a:lnTo>
                    <a:pt x="495" y="250"/>
                  </a:lnTo>
                  <a:lnTo>
                    <a:pt x="487" y="218"/>
                  </a:lnTo>
                  <a:lnTo>
                    <a:pt x="476" y="186"/>
                  </a:lnTo>
                  <a:lnTo>
                    <a:pt x="458" y="157"/>
                  </a:lnTo>
                  <a:lnTo>
                    <a:pt x="436" y="130"/>
                  </a:lnTo>
                  <a:lnTo>
                    <a:pt x="410" y="107"/>
                  </a:lnTo>
                  <a:lnTo>
                    <a:pt x="382" y="90"/>
                  </a:lnTo>
                  <a:lnTo>
                    <a:pt x="350" y="77"/>
                  </a:lnTo>
                  <a:lnTo>
                    <a:pt x="318" y="68"/>
                  </a:lnTo>
                  <a:lnTo>
                    <a:pt x="284" y="65"/>
                  </a:lnTo>
                  <a:lnTo>
                    <a:pt x="281" y="65"/>
                  </a:lnTo>
                  <a:close/>
                  <a:moveTo>
                    <a:pt x="281" y="0"/>
                  </a:moveTo>
                  <a:lnTo>
                    <a:pt x="284" y="0"/>
                  </a:lnTo>
                  <a:lnTo>
                    <a:pt x="321" y="4"/>
                  </a:lnTo>
                  <a:lnTo>
                    <a:pt x="357" y="11"/>
                  </a:lnTo>
                  <a:lnTo>
                    <a:pt x="392" y="23"/>
                  </a:lnTo>
                  <a:lnTo>
                    <a:pt x="424" y="40"/>
                  </a:lnTo>
                  <a:lnTo>
                    <a:pt x="454" y="60"/>
                  </a:lnTo>
                  <a:lnTo>
                    <a:pt x="482" y="86"/>
                  </a:lnTo>
                  <a:lnTo>
                    <a:pt x="506" y="114"/>
                  </a:lnTo>
                  <a:lnTo>
                    <a:pt x="527" y="145"/>
                  </a:lnTo>
                  <a:lnTo>
                    <a:pt x="542" y="177"/>
                  </a:lnTo>
                  <a:lnTo>
                    <a:pt x="553" y="212"/>
                  </a:lnTo>
                  <a:lnTo>
                    <a:pt x="560" y="248"/>
                  </a:lnTo>
                  <a:lnTo>
                    <a:pt x="561" y="285"/>
                  </a:lnTo>
                  <a:lnTo>
                    <a:pt x="558" y="327"/>
                  </a:lnTo>
                  <a:lnTo>
                    <a:pt x="549" y="366"/>
                  </a:lnTo>
                  <a:lnTo>
                    <a:pt x="534" y="403"/>
                  </a:lnTo>
                  <a:lnTo>
                    <a:pt x="516" y="437"/>
                  </a:lnTo>
                  <a:lnTo>
                    <a:pt x="492" y="469"/>
                  </a:lnTo>
                  <a:lnTo>
                    <a:pt x="464" y="496"/>
                  </a:lnTo>
                  <a:lnTo>
                    <a:pt x="433" y="519"/>
                  </a:lnTo>
                  <a:lnTo>
                    <a:pt x="398" y="539"/>
                  </a:lnTo>
                  <a:lnTo>
                    <a:pt x="361" y="553"/>
                  </a:lnTo>
                  <a:lnTo>
                    <a:pt x="322" y="562"/>
                  </a:lnTo>
                  <a:lnTo>
                    <a:pt x="281" y="564"/>
                  </a:lnTo>
                  <a:lnTo>
                    <a:pt x="278" y="564"/>
                  </a:lnTo>
                  <a:lnTo>
                    <a:pt x="236" y="560"/>
                  </a:lnTo>
                  <a:lnTo>
                    <a:pt x="197" y="552"/>
                  </a:lnTo>
                  <a:lnTo>
                    <a:pt x="160" y="536"/>
                  </a:lnTo>
                  <a:lnTo>
                    <a:pt x="125" y="517"/>
                  </a:lnTo>
                  <a:lnTo>
                    <a:pt x="95" y="493"/>
                  </a:lnTo>
                  <a:lnTo>
                    <a:pt x="68" y="464"/>
                  </a:lnTo>
                  <a:lnTo>
                    <a:pt x="44" y="433"/>
                  </a:lnTo>
                  <a:lnTo>
                    <a:pt x="25" y="398"/>
                  </a:lnTo>
                  <a:lnTo>
                    <a:pt x="11" y="361"/>
                  </a:lnTo>
                  <a:lnTo>
                    <a:pt x="2" y="320"/>
                  </a:lnTo>
                  <a:lnTo>
                    <a:pt x="0" y="279"/>
                  </a:lnTo>
                  <a:lnTo>
                    <a:pt x="3" y="237"/>
                  </a:lnTo>
                  <a:lnTo>
                    <a:pt x="13" y="199"/>
                  </a:lnTo>
                  <a:lnTo>
                    <a:pt x="27" y="162"/>
                  </a:lnTo>
                  <a:lnTo>
                    <a:pt x="47" y="127"/>
                  </a:lnTo>
                  <a:lnTo>
                    <a:pt x="71" y="96"/>
                  </a:lnTo>
                  <a:lnTo>
                    <a:pt x="98" y="69"/>
                  </a:lnTo>
                  <a:lnTo>
                    <a:pt x="130" y="45"/>
                  </a:lnTo>
                  <a:lnTo>
                    <a:pt x="164" y="27"/>
                  </a:lnTo>
                  <a:lnTo>
                    <a:pt x="201" y="12"/>
                  </a:lnTo>
                  <a:lnTo>
                    <a:pt x="241" y="4"/>
                  </a:lnTo>
                  <a:lnTo>
                    <a:pt x="2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Freeform 42">
              <a:extLst>
                <a:ext uri="{FF2B5EF4-FFF2-40B4-BE49-F238E27FC236}">
                  <a16:creationId xmlns:a16="http://schemas.microsoft.com/office/drawing/2014/main" xmlns="" id="{542E15F9-C798-4C32-ADF6-2522198EE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5" y="1578"/>
              <a:ext cx="146" cy="146"/>
            </a:xfrm>
            <a:custGeom>
              <a:avLst/>
              <a:gdLst>
                <a:gd name="T0" fmla="*/ 635 w 1458"/>
                <a:gd name="T1" fmla="*/ 102 h 1463"/>
                <a:gd name="T2" fmla="*/ 507 w 1458"/>
                <a:gd name="T3" fmla="*/ 238 h 1463"/>
                <a:gd name="T4" fmla="*/ 355 w 1458"/>
                <a:gd name="T5" fmla="*/ 206 h 1463"/>
                <a:gd name="T6" fmla="*/ 229 w 1458"/>
                <a:gd name="T7" fmla="*/ 290 h 1463"/>
                <a:gd name="T8" fmla="*/ 223 w 1458"/>
                <a:gd name="T9" fmla="*/ 373 h 1463"/>
                <a:gd name="T10" fmla="*/ 215 w 1458"/>
                <a:gd name="T11" fmla="*/ 586 h 1463"/>
                <a:gd name="T12" fmla="*/ 76 w 1458"/>
                <a:gd name="T13" fmla="*/ 644 h 1463"/>
                <a:gd name="T14" fmla="*/ 74 w 1458"/>
                <a:gd name="T15" fmla="*/ 809 h 1463"/>
                <a:gd name="T16" fmla="*/ 216 w 1458"/>
                <a:gd name="T17" fmla="*/ 870 h 1463"/>
                <a:gd name="T18" fmla="*/ 214 w 1458"/>
                <a:gd name="T19" fmla="*/ 1078 h 1463"/>
                <a:gd name="T20" fmla="*/ 218 w 1458"/>
                <a:gd name="T21" fmla="*/ 1161 h 1463"/>
                <a:gd name="T22" fmla="*/ 343 w 1458"/>
                <a:gd name="T23" fmla="*/ 1247 h 1463"/>
                <a:gd name="T24" fmla="*/ 499 w 1458"/>
                <a:gd name="T25" fmla="*/ 1210 h 1463"/>
                <a:gd name="T26" fmla="*/ 613 w 1458"/>
                <a:gd name="T27" fmla="*/ 1359 h 1463"/>
                <a:gd name="T28" fmla="*/ 767 w 1458"/>
                <a:gd name="T29" fmla="*/ 1399 h 1463"/>
                <a:gd name="T30" fmla="*/ 829 w 1458"/>
                <a:gd name="T31" fmla="*/ 1344 h 1463"/>
                <a:gd name="T32" fmla="*/ 990 w 1458"/>
                <a:gd name="T33" fmla="*/ 1198 h 1463"/>
                <a:gd name="T34" fmla="*/ 1118 w 1458"/>
                <a:gd name="T35" fmla="*/ 1258 h 1463"/>
                <a:gd name="T36" fmla="*/ 1240 w 1458"/>
                <a:gd name="T37" fmla="*/ 1158 h 1463"/>
                <a:gd name="T38" fmla="*/ 1181 w 1458"/>
                <a:gd name="T39" fmla="*/ 1020 h 1463"/>
                <a:gd name="T40" fmla="*/ 1253 w 1458"/>
                <a:gd name="T41" fmla="*/ 855 h 1463"/>
                <a:gd name="T42" fmla="*/ 1390 w 1458"/>
                <a:gd name="T43" fmla="*/ 804 h 1463"/>
                <a:gd name="T44" fmla="*/ 1373 w 1458"/>
                <a:gd name="T45" fmla="*/ 641 h 1463"/>
                <a:gd name="T46" fmla="*/ 1239 w 1458"/>
                <a:gd name="T47" fmla="*/ 550 h 1463"/>
                <a:gd name="T48" fmla="*/ 1253 w 1458"/>
                <a:gd name="T49" fmla="*/ 370 h 1463"/>
                <a:gd name="T50" fmla="*/ 1173 w 1458"/>
                <a:gd name="T51" fmla="*/ 234 h 1463"/>
                <a:gd name="T52" fmla="*/ 1102 w 1458"/>
                <a:gd name="T53" fmla="*/ 222 h 1463"/>
                <a:gd name="T54" fmla="*/ 923 w 1458"/>
                <a:gd name="T55" fmla="*/ 224 h 1463"/>
                <a:gd name="T56" fmla="*/ 835 w 1458"/>
                <a:gd name="T57" fmla="*/ 88 h 1463"/>
                <a:gd name="T58" fmla="*/ 692 w 1458"/>
                <a:gd name="T59" fmla="*/ 0 h 1463"/>
                <a:gd name="T60" fmla="*/ 862 w 1458"/>
                <a:gd name="T61" fmla="*/ 26 h 1463"/>
                <a:gd name="T62" fmla="*/ 917 w 1458"/>
                <a:gd name="T63" fmla="*/ 154 h 1463"/>
                <a:gd name="T64" fmla="*/ 1101 w 1458"/>
                <a:gd name="T65" fmla="*/ 154 h 1463"/>
                <a:gd name="T66" fmla="*/ 1219 w 1458"/>
                <a:gd name="T67" fmla="*/ 189 h 1463"/>
                <a:gd name="T68" fmla="*/ 1321 w 1458"/>
                <a:gd name="T69" fmla="*/ 354 h 1463"/>
                <a:gd name="T70" fmla="*/ 1290 w 1458"/>
                <a:gd name="T71" fmla="*/ 506 h 1463"/>
                <a:gd name="T72" fmla="*/ 1418 w 1458"/>
                <a:gd name="T73" fmla="*/ 595 h 1463"/>
                <a:gd name="T74" fmla="*/ 1457 w 1458"/>
                <a:gd name="T75" fmla="*/ 785 h 1463"/>
                <a:gd name="T76" fmla="*/ 1394 w 1458"/>
                <a:gd name="T77" fmla="*/ 894 h 1463"/>
                <a:gd name="T78" fmla="*/ 1258 w 1458"/>
                <a:gd name="T79" fmla="*/ 1015 h 1463"/>
                <a:gd name="T80" fmla="*/ 1311 w 1458"/>
                <a:gd name="T81" fmla="*/ 1150 h 1463"/>
                <a:gd name="T82" fmla="*/ 1187 w 1458"/>
                <a:gd name="T83" fmla="*/ 1301 h 1463"/>
                <a:gd name="T84" fmla="*/ 1076 w 1458"/>
                <a:gd name="T85" fmla="*/ 1316 h 1463"/>
                <a:gd name="T86" fmla="*/ 898 w 1458"/>
                <a:gd name="T87" fmla="*/ 1305 h 1463"/>
                <a:gd name="T88" fmla="*/ 841 w 1458"/>
                <a:gd name="T89" fmla="*/ 1439 h 1463"/>
                <a:gd name="T90" fmla="*/ 670 w 1458"/>
                <a:gd name="T91" fmla="*/ 1462 h 1463"/>
                <a:gd name="T92" fmla="*/ 561 w 1458"/>
                <a:gd name="T93" fmla="*/ 1399 h 1463"/>
                <a:gd name="T94" fmla="*/ 447 w 1458"/>
                <a:gd name="T95" fmla="*/ 1256 h 1463"/>
                <a:gd name="T96" fmla="*/ 329 w 1458"/>
                <a:gd name="T97" fmla="*/ 1312 h 1463"/>
                <a:gd name="T98" fmla="*/ 172 w 1458"/>
                <a:gd name="T99" fmla="*/ 1205 h 1463"/>
                <a:gd name="T100" fmla="*/ 140 w 1458"/>
                <a:gd name="T101" fmla="*/ 1084 h 1463"/>
                <a:gd name="T102" fmla="*/ 160 w 1458"/>
                <a:gd name="T103" fmla="*/ 908 h 1463"/>
                <a:gd name="T104" fmla="*/ 22 w 1458"/>
                <a:gd name="T105" fmla="*/ 848 h 1463"/>
                <a:gd name="T106" fmla="*/ 4 w 1458"/>
                <a:gd name="T107" fmla="*/ 651 h 1463"/>
                <a:gd name="T108" fmla="*/ 88 w 1458"/>
                <a:gd name="T109" fmla="*/ 559 h 1463"/>
                <a:gd name="T110" fmla="*/ 173 w 1458"/>
                <a:gd name="T111" fmla="*/ 413 h 1463"/>
                <a:gd name="T112" fmla="*/ 154 w 1458"/>
                <a:gd name="T113" fmla="*/ 288 h 1463"/>
                <a:gd name="T114" fmla="*/ 293 w 1458"/>
                <a:gd name="T115" fmla="*/ 150 h 1463"/>
                <a:gd name="T116" fmla="*/ 403 w 1458"/>
                <a:gd name="T117" fmla="*/ 157 h 1463"/>
                <a:gd name="T118" fmla="*/ 566 w 1458"/>
                <a:gd name="T119" fmla="*/ 111 h 1463"/>
                <a:gd name="T120" fmla="*/ 640 w 1458"/>
                <a:gd name="T121" fmla="*/ 11 h 1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58" h="1463">
                  <a:moveTo>
                    <a:pt x="692" y="64"/>
                  </a:moveTo>
                  <a:lnTo>
                    <a:pt x="673" y="68"/>
                  </a:lnTo>
                  <a:lnTo>
                    <a:pt x="658" y="75"/>
                  </a:lnTo>
                  <a:lnTo>
                    <a:pt x="644" y="86"/>
                  </a:lnTo>
                  <a:lnTo>
                    <a:pt x="635" y="102"/>
                  </a:lnTo>
                  <a:lnTo>
                    <a:pt x="630" y="119"/>
                  </a:lnTo>
                  <a:lnTo>
                    <a:pt x="620" y="200"/>
                  </a:lnTo>
                  <a:lnTo>
                    <a:pt x="598" y="205"/>
                  </a:lnTo>
                  <a:lnTo>
                    <a:pt x="552" y="220"/>
                  </a:lnTo>
                  <a:lnTo>
                    <a:pt x="507" y="238"/>
                  </a:lnTo>
                  <a:lnTo>
                    <a:pt x="464" y="261"/>
                  </a:lnTo>
                  <a:lnTo>
                    <a:pt x="445" y="272"/>
                  </a:lnTo>
                  <a:lnTo>
                    <a:pt x="380" y="220"/>
                  </a:lnTo>
                  <a:lnTo>
                    <a:pt x="368" y="212"/>
                  </a:lnTo>
                  <a:lnTo>
                    <a:pt x="355" y="206"/>
                  </a:lnTo>
                  <a:lnTo>
                    <a:pt x="341" y="205"/>
                  </a:lnTo>
                  <a:lnTo>
                    <a:pt x="325" y="207"/>
                  </a:lnTo>
                  <a:lnTo>
                    <a:pt x="311" y="213"/>
                  </a:lnTo>
                  <a:lnTo>
                    <a:pt x="298" y="223"/>
                  </a:lnTo>
                  <a:lnTo>
                    <a:pt x="229" y="290"/>
                  </a:lnTo>
                  <a:lnTo>
                    <a:pt x="217" y="305"/>
                  </a:lnTo>
                  <a:lnTo>
                    <a:pt x="212" y="322"/>
                  </a:lnTo>
                  <a:lnTo>
                    <a:pt x="211" y="340"/>
                  </a:lnTo>
                  <a:lnTo>
                    <a:pt x="214" y="357"/>
                  </a:lnTo>
                  <a:lnTo>
                    <a:pt x="223" y="373"/>
                  </a:lnTo>
                  <a:lnTo>
                    <a:pt x="277" y="443"/>
                  </a:lnTo>
                  <a:lnTo>
                    <a:pt x="266" y="462"/>
                  </a:lnTo>
                  <a:lnTo>
                    <a:pt x="245" y="502"/>
                  </a:lnTo>
                  <a:lnTo>
                    <a:pt x="228" y="545"/>
                  </a:lnTo>
                  <a:lnTo>
                    <a:pt x="215" y="586"/>
                  </a:lnTo>
                  <a:lnTo>
                    <a:pt x="210" y="608"/>
                  </a:lnTo>
                  <a:lnTo>
                    <a:pt x="121" y="617"/>
                  </a:lnTo>
                  <a:lnTo>
                    <a:pt x="103" y="622"/>
                  </a:lnTo>
                  <a:lnTo>
                    <a:pt x="88" y="631"/>
                  </a:lnTo>
                  <a:lnTo>
                    <a:pt x="76" y="644"/>
                  </a:lnTo>
                  <a:lnTo>
                    <a:pt x="68" y="661"/>
                  </a:lnTo>
                  <a:lnTo>
                    <a:pt x="65" y="679"/>
                  </a:lnTo>
                  <a:lnTo>
                    <a:pt x="64" y="775"/>
                  </a:lnTo>
                  <a:lnTo>
                    <a:pt x="67" y="793"/>
                  </a:lnTo>
                  <a:lnTo>
                    <a:pt x="74" y="809"/>
                  </a:lnTo>
                  <a:lnTo>
                    <a:pt x="86" y="823"/>
                  </a:lnTo>
                  <a:lnTo>
                    <a:pt x="101" y="833"/>
                  </a:lnTo>
                  <a:lnTo>
                    <a:pt x="118" y="837"/>
                  </a:lnTo>
                  <a:lnTo>
                    <a:pt x="210" y="849"/>
                  </a:lnTo>
                  <a:lnTo>
                    <a:pt x="216" y="870"/>
                  </a:lnTo>
                  <a:lnTo>
                    <a:pt x="228" y="909"/>
                  </a:lnTo>
                  <a:lnTo>
                    <a:pt x="244" y="949"/>
                  </a:lnTo>
                  <a:lnTo>
                    <a:pt x="263" y="986"/>
                  </a:lnTo>
                  <a:lnTo>
                    <a:pt x="274" y="1004"/>
                  </a:lnTo>
                  <a:lnTo>
                    <a:pt x="214" y="1078"/>
                  </a:lnTo>
                  <a:lnTo>
                    <a:pt x="205" y="1094"/>
                  </a:lnTo>
                  <a:lnTo>
                    <a:pt x="201" y="1111"/>
                  </a:lnTo>
                  <a:lnTo>
                    <a:pt x="202" y="1129"/>
                  </a:lnTo>
                  <a:lnTo>
                    <a:pt x="207" y="1145"/>
                  </a:lnTo>
                  <a:lnTo>
                    <a:pt x="218" y="1161"/>
                  </a:lnTo>
                  <a:lnTo>
                    <a:pt x="285" y="1229"/>
                  </a:lnTo>
                  <a:lnTo>
                    <a:pt x="298" y="1239"/>
                  </a:lnTo>
                  <a:lnTo>
                    <a:pt x="313" y="1246"/>
                  </a:lnTo>
                  <a:lnTo>
                    <a:pt x="329" y="1248"/>
                  </a:lnTo>
                  <a:lnTo>
                    <a:pt x="343" y="1247"/>
                  </a:lnTo>
                  <a:lnTo>
                    <a:pt x="356" y="1242"/>
                  </a:lnTo>
                  <a:lnTo>
                    <a:pt x="367" y="1235"/>
                  </a:lnTo>
                  <a:lnTo>
                    <a:pt x="441" y="1178"/>
                  </a:lnTo>
                  <a:lnTo>
                    <a:pt x="460" y="1189"/>
                  </a:lnTo>
                  <a:lnTo>
                    <a:pt x="499" y="1210"/>
                  </a:lnTo>
                  <a:lnTo>
                    <a:pt x="538" y="1227"/>
                  </a:lnTo>
                  <a:lnTo>
                    <a:pt x="578" y="1241"/>
                  </a:lnTo>
                  <a:lnTo>
                    <a:pt x="599" y="1247"/>
                  </a:lnTo>
                  <a:lnTo>
                    <a:pt x="609" y="1342"/>
                  </a:lnTo>
                  <a:lnTo>
                    <a:pt x="613" y="1359"/>
                  </a:lnTo>
                  <a:lnTo>
                    <a:pt x="623" y="1375"/>
                  </a:lnTo>
                  <a:lnTo>
                    <a:pt x="636" y="1387"/>
                  </a:lnTo>
                  <a:lnTo>
                    <a:pt x="651" y="1394"/>
                  </a:lnTo>
                  <a:lnTo>
                    <a:pt x="670" y="1397"/>
                  </a:lnTo>
                  <a:lnTo>
                    <a:pt x="767" y="1399"/>
                  </a:lnTo>
                  <a:lnTo>
                    <a:pt x="785" y="1396"/>
                  </a:lnTo>
                  <a:lnTo>
                    <a:pt x="800" y="1389"/>
                  </a:lnTo>
                  <a:lnTo>
                    <a:pt x="813" y="1377"/>
                  </a:lnTo>
                  <a:lnTo>
                    <a:pt x="823" y="1361"/>
                  </a:lnTo>
                  <a:lnTo>
                    <a:pt x="829" y="1344"/>
                  </a:lnTo>
                  <a:lnTo>
                    <a:pt x="839" y="1253"/>
                  </a:lnTo>
                  <a:lnTo>
                    <a:pt x="861" y="1248"/>
                  </a:lnTo>
                  <a:lnTo>
                    <a:pt x="905" y="1235"/>
                  </a:lnTo>
                  <a:lnTo>
                    <a:pt x="948" y="1218"/>
                  </a:lnTo>
                  <a:lnTo>
                    <a:pt x="990" y="1198"/>
                  </a:lnTo>
                  <a:lnTo>
                    <a:pt x="1008" y="1188"/>
                  </a:lnTo>
                  <a:lnTo>
                    <a:pt x="1078" y="1244"/>
                  </a:lnTo>
                  <a:lnTo>
                    <a:pt x="1090" y="1251"/>
                  </a:lnTo>
                  <a:lnTo>
                    <a:pt x="1104" y="1257"/>
                  </a:lnTo>
                  <a:lnTo>
                    <a:pt x="1118" y="1258"/>
                  </a:lnTo>
                  <a:lnTo>
                    <a:pt x="1133" y="1256"/>
                  </a:lnTo>
                  <a:lnTo>
                    <a:pt x="1148" y="1250"/>
                  </a:lnTo>
                  <a:lnTo>
                    <a:pt x="1160" y="1240"/>
                  </a:lnTo>
                  <a:lnTo>
                    <a:pt x="1229" y="1173"/>
                  </a:lnTo>
                  <a:lnTo>
                    <a:pt x="1240" y="1158"/>
                  </a:lnTo>
                  <a:lnTo>
                    <a:pt x="1246" y="1142"/>
                  </a:lnTo>
                  <a:lnTo>
                    <a:pt x="1247" y="1123"/>
                  </a:lnTo>
                  <a:lnTo>
                    <a:pt x="1244" y="1106"/>
                  </a:lnTo>
                  <a:lnTo>
                    <a:pt x="1234" y="1090"/>
                  </a:lnTo>
                  <a:lnTo>
                    <a:pt x="1181" y="1020"/>
                  </a:lnTo>
                  <a:lnTo>
                    <a:pt x="1192" y="1001"/>
                  </a:lnTo>
                  <a:lnTo>
                    <a:pt x="1214" y="961"/>
                  </a:lnTo>
                  <a:lnTo>
                    <a:pt x="1232" y="919"/>
                  </a:lnTo>
                  <a:lnTo>
                    <a:pt x="1246" y="876"/>
                  </a:lnTo>
                  <a:lnTo>
                    <a:pt x="1253" y="855"/>
                  </a:lnTo>
                  <a:lnTo>
                    <a:pt x="1337" y="846"/>
                  </a:lnTo>
                  <a:lnTo>
                    <a:pt x="1355" y="842"/>
                  </a:lnTo>
                  <a:lnTo>
                    <a:pt x="1370" y="832"/>
                  </a:lnTo>
                  <a:lnTo>
                    <a:pt x="1382" y="819"/>
                  </a:lnTo>
                  <a:lnTo>
                    <a:pt x="1390" y="804"/>
                  </a:lnTo>
                  <a:lnTo>
                    <a:pt x="1392" y="785"/>
                  </a:lnTo>
                  <a:lnTo>
                    <a:pt x="1393" y="689"/>
                  </a:lnTo>
                  <a:lnTo>
                    <a:pt x="1391" y="670"/>
                  </a:lnTo>
                  <a:lnTo>
                    <a:pt x="1383" y="654"/>
                  </a:lnTo>
                  <a:lnTo>
                    <a:pt x="1373" y="641"/>
                  </a:lnTo>
                  <a:lnTo>
                    <a:pt x="1357" y="631"/>
                  </a:lnTo>
                  <a:lnTo>
                    <a:pt x="1340" y="626"/>
                  </a:lnTo>
                  <a:lnTo>
                    <a:pt x="1256" y="615"/>
                  </a:lnTo>
                  <a:lnTo>
                    <a:pt x="1251" y="594"/>
                  </a:lnTo>
                  <a:lnTo>
                    <a:pt x="1239" y="550"/>
                  </a:lnTo>
                  <a:lnTo>
                    <a:pt x="1222" y="509"/>
                  </a:lnTo>
                  <a:lnTo>
                    <a:pt x="1202" y="468"/>
                  </a:lnTo>
                  <a:lnTo>
                    <a:pt x="1192" y="450"/>
                  </a:lnTo>
                  <a:lnTo>
                    <a:pt x="1244" y="385"/>
                  </a:lnTo>
                  <a:lnTo>
                    <a:pt x="1253" y="370"/>
                  </a:lnTo>
                  <a:lnTo>
                    <a:pt x="1257" y="353"/>
                  </a:lnTo>
                  <a:lnTo>
                    <a:pt x="1256" y="335"/>
                  </a:lnTo>
                  <a:lnTo>
                    <a:pt x="1251" y="318"/>
                  </a:lnTo>
                  <a:lnTo>
                    <a:pt x="1240" y="302"/>
                  </a:lnTo>
                  <a:lnTo>
                    <a:pt x="1173" y="234"/>
                  </a:lnTo>
                  <a:lnTo>
                    <a:pt x="1160" y="224"/>
                  </a:lnTo>
                  <a:lnTo>
                    <a:pt x="1145" y="217"/>
                  </a:lnTo>
                  <a:lnTo>
                    <a:pt x="1129" y="215"/>
                  </a:lnTo>
                  <a:lnTo>
                    <a:pt x="1115" y="216"/>
                  </a:lnTo>
                  <a:lnTo>
                    <a:pt x="1102" y="222"/>
                  </a:lnTo>
                  <a:lnTo>
                    <a:pt x="1091" y="228"/>
                  </a:lnTo>
                  <a:lnTo>
                    <a:pt x="1027" y="277"/>
                  </a:lnTo>
                  <a:lnTo>
                    <a:pt x="1008" y="265"/>
                  </a:lnTo>
                  <a:lnTo>
                    <a:pt x="967" y="244"/>
                  </a:lnTo>
                  <a:lnTo>
                    <a:pt x="923" y="224"/>
                  </a:lnTo>
                  <a:lnTo>
                    <a:pt x="879" y="210"/>
                  </a:lnTo>
                  <a:lnTo>
                    <a:pt x="858" y="203"/>
                  </a:lnTo>
                  <a:lnTo>
                    <a:pt x="849" y="122"/>
                  </a:lnTo>
                  <a:lnTo>
                    <a:pt x="845" y="104"/>
                  </a:lnTo>
                  <a:lnTo>
                    <a:pt x="835" y="88"/>
                  </a:lnTo>
                  <a:lnTo>
                    <a:pt x="822" y="76"/>
                  </a:lnTo>
                  <a:lnTo>
                    <a:pt x="807" y="69"/>
                  </a:lnTo>
                  <a:lnTo>
                    <a:pt x="788" y="66"/>
                  </a:lnTo>
                  <a:lnTo>
                    <a:pt x="692" y="64"/>
                  </a:lnTo>
                  <a:close/>
                  <a:moveTo>
                    <a:pt x="692" y="0"/>
                  </a:moveTo>
                  <a:lnTo>
                    <a:pt x="694" y="0"/>
                  </a:lnTo>
                  <a:lnTo>
                    <a:pt x="788" y="1"/>
                  </a:lnTo>
                  <a:lnTo>
                    <a:pt x="816" y="4"/>
                  </a:lnTo>
                  <a:lnTo>
                    <a:pt x="841" y="13"/>
                  </a:lnTo>
                  <a:lnTo>
                    <a:pt x="862" y="26"/>
                  </a:lnTo>
                  <a:lnTo>
                    <a:pt x="882" y="44"/>
                  </a:lnTo>
                  <a:lnTo>
                    <a:pt x="897" y="64"/>
                  </a:lnTo>
                  <a:lnTo>
                    <a:pt x="908" y="88"/>
                  </a:lnTo>
                  <a:lnTo>
                    <a:pt x="913" y="116"/>
                  </a:lnTo>
                  <a:lnTo>
                    <a:pt x="917" y="154"/>
                  </a:lnTo>
                  <a:lnTo>
                    <a:pt x="971" y="174"/>
                  </a:lnTo>
                  <a:lnTo>
                    <a:pt x="1022" y="200"/>
                  </a:lnTo>
                  <a:lnTo>
                    <a:pt x="1051" y="177"/>
                  </a:lnTo>
                  <a:lnTo>
                    <a:pt x="1074" y="163"/>
                  </a:lnTo>
                  <a:lnTo>
                    <a:pt x="1101" y="154"/>
                  </a:lnTo>
                  <a:lnTo>
                    <a:pt x="1129" y="151"/>
                  </a:lnTo>
                  <a:lnTo>
                    <a:pt x="1154" y="153"/>
                  </a:lnTo>
                  <a:lnTo>
                    <a:pt x="1178" y="161"/>
                  </a:lnTo>
                  <a:lnTo>
                    <a:pt x="1200" y="173"/>
                  </a:lnTo>
                  <a:lnTo>
                    <a:pt x="1219" y="189"/>
                  </a:lnTo>
                  <a:lnTo>
                    <a:pt x="1286" y="258"/>
                  </a:lnTo>
                  <a:lnTo>
                    <a:pt x="1303" y="278"/>
                  </a:lnTo>
                  <a:lnTo>
                    <a:pt x="1314" y="302"/>
                  </a:lnTo>
                  <a:lnTo>
                    <a:pt x="1320" y="328"/>
                  </a:lnTo>
                  <a:lnTo>
                    <a:pt x="1321" y="354"/>
                  </a:lnTo>
                  <a:lnTo>
                    <a:pt x="1318" y="379"/>
                  </a:lnTo>
                  <a:lnTo>
                    <a:pt x="1308" y="404"/>
                  </a:lnTo>
                  <a:lnTo>
                    <a:pt x="1294" y="427"/>
                  </a:lnTo>
                  <a:lnTo>
                    <a:pt x="1269" y="458"/>
                  </a:lnTo>
                  <a:lnTo>
                    <a:pt x="1290" y="506"/>
                  </a:lnTo>
                  <a:lnTo>
                    <a:pt x="1307" y="557"/>
                  </a:lnTo>
                  <a:lnTo>
                    <a:pt x="1348" y="562"/>
                  </a:lnTo>
                  <a:lnTo>
                    <a:pt x="1374" y="568"/>
                  </a:lnTo>
                  <a:lnTo>
                    <a:pt x="1398" y="580"/>
                  </a:lnTo>
                  <a:lnTo>
                    <a:pt x="1418" y="595"/>
                  </a:lnTo>
                  <a:lnTo>
                    <a:pt x="1436" y="615"/>
                  </a:lnTo>
                  <a:lnTo>
                    <a:pt x="1448" y="638"/>
                  </a:lnTo>
                  <a:lnTo>
                    <a:pt x="1455" y="663"/>
                  </a:lnTo>
                  <a:lnTo>
                    <a:pt x="1458" y="690"/>
                  </a:lnTo>
                  <a:lnTo>
                    <a:pt x="1457" y="785"/>
                  </a:lnTo>
                  <a:lnTo>
                    <a:pt x="1454" y="812"/>
                  </a:lnTo>
                  <a:lnTo>
                    <a:pt x="1445" y="837"/>
                  </a:lnTo>
                  <a:lnTo>
                    <a:pt x="1432" y="859"/>
                  </a:lnTo>
                  <a:lnTo>
                    <a:pt x="1415" y="879"/>
                  </a:lnTo>
                  <a:lnTo>
                    <a:pt x="1394" y="894"/>
                  </a:lnTo>
                  <a:lnTo>
                    <a:pt x="1370" y="905"/>
                  </a:lnTo>
                  <a:lnTo>
                    <a:pt x="1343" y="911"/>
                  </a:lnTo>
                  <a:lnTo>
                    <a:pt x="1302" y="915"/>
                  </a:lnTo>
                  <a:lnTo>
                    <a:pt x="1282" y="966"/>
                  </a:lnTo>
                  <a:lnTo>
                    <a:pt x="1258" y="1015"/>
                  </a:lnTo>
                  <a:lnTo>
                    <a:pt x="1286" y="1050"/>
                  </a:lnTo>
                  <a:lnTo>
                    <a:pt x="1300" y="1073"/>
                  </a:lnTo>
                  <a:lnTo>
                    <a:pt x="1308" y="1098"/>
                  </a:lnTo>
                  <a:lnTo>
                    <a:pt x="1313" y="1125"/>
                  </a:lnTo>
                  <a:lnTo>
                    <a:pt x="1311" y="1150"/>
                  </a:lnTo>
                  <a:lnTo>
                    <a:pt x="1303" y="1175"/>
                  </a:lnTo>
                  <a:lnTo>
                    <a:pt x="1291" y="1199"/>
                  </a:lnTo>
                  <a:lnTo>
                    <a:pt x="1275" y="1220"/>
                  </a:lnTo>
                  <a:lnTo>
                    <a:pt x="1206" y="1286"/>
                  </a:lnTo>
                  <a:lnTo>
                    <a:pt x="1187" y="1301"/>
                  </a:lnTo>
                  <a:lnTo>
                    <a:pt x="1165" y="1313"/>
                  </a:lnTo>
                  <a:lnTo>
                    <a:pt x="1142" y="1320"/>
                  </a:lnTo>
                  <a:lnTo>
                    <a:pt x="1118" y="1322"/>
                  </a:lnTo>
                  <a:lnTo>
                    <a:pt x="1096" y="1321"/>
                  </a:lnTo>
                  <a:lnTo>
                    <a:pt x="1076" y="1316"/>
                  </a:lnTo>
                  <a:lnTo>
                    <a:pt x="1056" y="1306"/>
                  </a:lnTo>
                  <a:lnTo>
                    <a:pt x="1037" y="1294"/>
                  </a:lnTo>
                  <a:lnTo>
                    <a:pt x="1002" y="1264"/>
                  </a:lnTo>
                  <a:lnTo>
                    <a:pt x="950" y="1287"/>
                  </a:lnTo>
                  <a:lnTo>
                    <a:pt x="898" y="1305"/>
                  </a:lnTo>
                  <a:lnTo>
                    <a:pt x="892" y="1353"/>
                  </a:lnTo>
                  <a:lnTo>
                    <a:pt x="886" y="1378"/>
                  </a:lnTo>
                  <a:lnTo>
                    <a:pt x="874" y="1402"/>
                  </a:lnTo>
                  <a:lnTo>
                    <a:pt x="859" y="1423"/>
                  </a:lnTo>
                  <a:lnTo>
                    <a:pt x="841" y="1439"/>
                  </a:lnTo>
                  <a:lnTo>
                    <a:pt x="818" y="1452"/>
                  </a:lnTo>
                  <a:lnTo>
                    <a:pt x="794" y="1461"/>
                  </a:lnTo>
                  <a:lnTo>
                    <a:pt x="767" y="1463"/>
                  </a:lnTo>
                  <a:lnTo>
                    <a:pt x="764" y="1463"/>
                  </a:lnTo>
                  <a:lnTo>
                    <a:pt x="670" y="1462"/>
                  </a:lnTo>
                  <a:lnTo>
                    <a:pt x="643" y="1459"/>
                  </a:lnTo>
                  <a:lnTo>
                    <a:pt x="618" y="1451"/>
                  </a:lnTo>
                  <a:lnTo>
                    <a:pt x="596" y="1437"/>
                  </a:lnTo>
                  <a:lnTo>
                    <a:pt x="576" y="1420"/>
                  </a:lnTo>
                  <a:lnTo>
                    <a:pt x="561" y="1399"/>
                  </a:lnTo>
                  <a:lnTo>
                    <a:pt x="550" y="1375"/>
                  </a:lnTo>
                  <a:lnTo>
                    <a:pt x="545" y="1348"/>
                  </a:lnTo>
                  <a:lnTo>
                    <a:pt x="539" y="1296"/>
                  </a:lnTo>
                  <a:lnTo>
                    <a:pt x="492" y="1278"/>
                  </a:lnTo>
                  <a:lnTo>
                    <a:pt x="447" y="1256"/>
                  </a:lnTo>
                  <a:lnTo>
                    <a:pt x="406" y="1286"/>
                  </a:lnTo>
                  <a:lnTo>
                    <a:pt x="384" y="1300"/>
                  </a:lnTo>
                  <a:lnTo>
                    <a:pt x="358" y="1310"/>
                  </a:lnTo>
                  <a:lnTo>
                    <a:pt x="329" y="1312"/>
                  </a:lnTo>
                  <a:lnTo>
                    <a:pt x="329" y="1312"/>
                  </a:lnTo>
                  <a:lnTo>
                    <a:pt x="304" y="1310"/>
                  </a:lnTo>
                  <a:lnTo>
                    <a:pt x="280" y="1303"/>
                  </a:lnTo>
                  <a:lnTo>
                    <a:pt x="259" y="1291"/>
                  </a:lnTo>
                  <a:lnTo>
                    <a:pt x="239" y="1274"/>
                  </a:lnTo>
                  <a:lnTo>
                    <a:pt x="172" y="1205"/>
                  </a:lnTo>
                  <a:lnTo>
                    <a:pt x="155" y="1185"/>
                  </a:lnTo>
                  <a:lnTo>
                    <a:pt x="144" y="1161"/>
                  </a:lnTo>
                  <a:lnTo>
                    <a:pt x="138" y="1135"/>
                  </a:lnTo>
                  <a:lnTo>
                    <a:pt x="137" y="1110"/>
                  </a:lnTo>
                  <a:lnTo>
                    <a:pt x="140" y="1084"/>
                  </a:lnTo>
                  <a:lnTo>
                    <a:pt x="150" y="1060"/>
                  </a:lnTo>
                  <a:lnTo>
                    <a:pt x="164" y="1037"/>
                  </a:lnTo>
                  <a:lnTo>
                    <a:pt x="197" y="998"/>
                  </a:lnTo>
                  <a:lnTo>
                    <a:pt x="176" y="953"/>
                  </a:lnTo>
                  <a:lnTo>
                    <a:pt x="160" y="908"/>
                  </a:lnTo>
                  <a:lnTo>
                    <a:pt x="111" y="902"/>
                  </a:lnTo>
                  <a:lnTo>
                    <a:pt x="84" y="895"/>
                  </a:lnTo>
                  <a:lnTo>
                    <a:pt x="61" y="884"/>
                  </a:lnTo>
                  <a:lnTo>
                    <a:pt x="40" y="868"/>
                  </a:lnTo>
                  <a:lnTo>
                    <a:pt x="22" y="848"/>
                  </a:lnTo>
                  <a:lnTo>
                    <a:pt x="11" y="827"/>
                  </a:lnTo>
                  <a:lnTo>
                    <a:pt x="3" y="801"/>
                  </a:lnTo>
                  <a:lnTo>
                    <a:pt x="0" y="774"/>
                  </a:lnTo>
                  <a:lnTo>
                    <a:pt x="1" y="678"/>
                  </a:lnTo>
                  <a:lnTo>
                    <a:pt x="4" y="651"/>
                  </a:lnTo>
                  <a:lnTo>
                    <a:pt x="13" y="627"/>
                  </a:lnTo>
                  <a:lnTo>
                    <a:pt x="26" y="604"/>
                  </a:lnTo>
                  <a:lnTo>
                    <a:pt x="43" y="585"/>
                  </a:lnTo>
                  <a:lnTo>
                    <a:pt x="64" y="570"/>
                  </a:lnTo>
                  <a:lnTo>
                    <a:pt x="88" y="559"/>
                  </a:lnTo>
                  <a:lnTo>
                    <a:pt x="115" y="554"/>
                  </a:lnTo>
                  <a:lnTo>
                    <a:pt x="160" y="548"/>
                  </a:lnTo>
                  <a:lnTo>
                    <a:pt x="177" y="498"/>
                  </a:lnTo>
                  <a:lnTo>
                    <a:pt x="200" y="449"/>
                  </a:lnTo>
                  <a:lnTo>
                    <a:pt x="173" y="413"/>
                  </a:lnTo>
                  <a:lnTo>
                    <a:pt x="158" y="390"/>
                  </a:lnTo>
                  <a:lnTo>
                    <a:pt x="150" y="365"/>
                  </a:lnTo>
                  <a:lnTo>
                    <a:pt x="145" y="340"/>
                  </a:lnTo>
                  <a:lnTo>
                    <a:pt x="148" y="313"/>
                  </a:lnTo>
                  <a:lnTo>
                    <a:pt x="154" y="288"/>
                  </a:lnTo>
                  <a:lnTo>
                    <a:pt x="167" y="265"/>
                  </a:lnTo>
                  <a:lnTo>
                    <a:pt x="183" y="245"/>
                  </a:lnTo>
                  <a:lnTo>
                    <a:pt x="253" y="177"/>
                  </a:lnTo>
                  <a:lnTo>
                    <a:pt x="272" y="162"/>
                  </a:lnTo>
                  <a:lnTo>
                    <a:pt x="293" y="150"/>
                  </a:lnTo>
                  <a:lnTo>
                    <a:pt x="316" y="143"/>
                  </a:lnTo>
                  <a:lnTo>
                    <a:pt x="341" y="141"/>
                  </a:lnTo>
                  <a:lnTo>
                    <a:pt x="362" y="142"/>
                  </a:lnTo>
                  <a:lnTo>
                    <a:pt x="384" y="147"/>
                  </a:lnTo>
                  <a:lnTo>
                    <a:pt x="403" y="157"/>
                  </a:lnTo>
                  <a:lnTo>
                    <a:pt x="421" y="169"/>
                  </a:lnTo>
                  <a:lnTo>
                    <a:pt x="451" y="194"/>
                  </a:lnTo>
                  <a:lnTo>
                    <a:pt x="505" y="169"/>
                  </a:lnTo>
                  <a:lnTo>
                    <a:pt x="561" y="150"/>
                  </a:lnTo>
                  <a:lnTo>
                    <a:pt x="566" y="111"/>
                  </a:lnTo>
                  <a:lnTo>
                    <a:pt x="572" y="85"/>
                  </a:lnTo>
                  <a:lnTo>
                    <a:pt x="583" y="61"/>
                  </a:lnTo>
                  <a:lnTo>
                    <a:pt x="599" y="42"/>
                  </a:lnTo>
                  <a:lnTo>
                    <a:pt x="618" y="24"/>
                  </a:lnTo>
                  <a:lnTo>
                    <a:pt x="640" y="11"/>
                  </a:lnTo>
                  <a:lnTo>
                    <a:pt x="664" y="3"/>
                  </a:lnTo>
                  <a:lnTo>
                    <a:pt x="6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1B9E076C-15D1-468B-90F5-F1A0EF6EF817}"/>
              </a:ext>
            </a:extLst>
          </p:cNvPr>
          <p:cNvGrpSpPr/>
          <p:nvPr/>
        </p:nvGrpSpPr>
        <p:grpSpPr>
          <a:xfrm>
            <a:off x="6792605" y="4266928"/>
            <a:ext cx="672797" cy="820675"/>
            <a:chOff x="4709342" y="3807234"/>
            <a:chExt cx="504598" cy="615506"/>
          </a:xfrm>
        </p:grpSpPr>
        <p:sp>
          <p:nvSpPr>
            <p:cNvPr id="41" name="Text Placeholder 3">
              <a:extLst>
                <a:ext uri="{FF2B5EF4-FFF2-40B4-BE49-F238E27FC236}">
                  <a16:creationId xmlns:a16="http://schemas.microsoft.com/office/drawing/2014/main" xmlns="" id="{1E9253F5-84BD-41BB-AF5E-114F519FA0EE}"/>
                </a:ext>
              </a:extLst>
            </p:cNvPr>
            <p:cNvSpPr txBox="1">
              <a:spLocks/>
            </p:cNvSpPr>
            <p:nvPr/>
          </p:nvSpPr>
          <p:spPr>
            <a:xfrm>
              <a:off x="4758638" y="3807234"/>
              <a:ext cx="455302" cy="61550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algn="l" rtl="0" fontAlgn="base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defRPr lang="en-US" sz="200" b="0" kern="1200" smtClean="0">
                  <a:solidFill>
                    <a:schemeClr val="bg1">
                      <a:lumMod val="7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389626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2pPr>
              <a:lvl3pPr marL="779252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3pPr>
              <a:lvl4pPr marL="1168878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4pPr>
              <a:lvl5pPr marL="1558503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5pPr>
              <a:lvl6pPr marL="1948129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6pPr>
              <a:lvl7pPr marL="2337755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7pPr>
              <a:lvl8pPr marL="2727381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8pPr>
              <a:lvl9pPr marL="3117007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9pPr>
            </a:lstStyle>
            <a:p>
              <a:r>
                <a:rPr lang="en-GB" sz="5333" dirty="0">
                  <a:solidFill>
                    <a:schemeClr val="accent5"/>
                  </a:solidFill>
                  <a:latin typeface="Arial Unicode MS"/>
                </a:rPr>
                <a:t>✓</a:t>
              </a:r>
              <a:r>
                <a:rPr lang="en-GB" sz="5333" dirty="0">
                  <a:solidFill>
                    <a:schemeClr val="accent5"/>
                  </a:solidFill>
                  <a:latin typeface="Arial Narrow" panose="020B0606020202030204" pitchFamily="34" charset="0"/>
                </a:rPr>
                <a:t> 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DB1E7956-1780-4564-B20A-482CD8861815}"/>
                </a:ext>
              </a:extLst>
            </p:cNvPr>
            <p:cNvSpPr/>
            <p:nvPr/>
          </p:nvSpPr>
          <p:spPr>
            <a:xfrm>
              <a:off x="4709342" y="4031079"/>
              <a:ext cx="360000" cy="360000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6000" tIns="96000" rIns="96000" bIns="96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</a:pPr>
              <a:endParaRPr lang="en-GB" sz="2000" b="0" dirty="0"/>
            </a:p>
          </p:txBody>
        </p:sp>
      </p:grpSp>
      <p:sp>
        <p:nvSpPr>
          <p:cNvPr id="45" name="RbNavigator">
            <a:extLst>
              <a:ext uri="{FF2B5EF4-FFF2-40B4-BE49-F238E27FC236}">
                <a16:creationId xmlns:a16="http://schemas.microsoft.com/office/drawing/2014/main" xmlns="" id="{3AD10A08-3B91-45A6-9F02-C97E66631249}"/>
              </a:ext>
            </a:extLst>
          </p:cNvPr>
          <p:cNvSpPr txBox="1"/>
          <p:nvPr/>
        </p:nvSpPr>
        <p:spPr>
          <a:xfrm>
            <a:off x="2820927" y="1"/>
            <a:ext cx="288000" cy="288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+mn-lt"/>
                <a:sym typeface="+mn-lt"/>
              </a:rPr>
              <a:t>1</a:t>
            </a:r>
          </a:p>
        </p:txBody>
      </p:sp>
      <p:sp>
        <p:nvSpPr>
          <p:cNvPr id="46" name="RbSticker">
            <a:extLst>
              <a:ext uri="{FF2B5EF4-FFF2-40B4-BE49-F238E27FC236}">
                <a16:creationId xmlns:a16="http://schemas.microsoft.com/office/drawing/2014/main" xmlns="" id="{912637B8-F480-445A-A0A0-4F986489340C}"/>
              </a:ext>
            </a:extLst>
          </p:cNvPr>
          <p:cNvSpPr txBox="1"/>
          <p:nvPr/>
        </p:nvSpPr>
        <p:spPr>
          <a:xfrm>
            <a:off x="3188804" y="53111"/>
            <a:ext cx="1916422" cy="23544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Visión</a:t>
            </a:r>
            <a:r>
              <a:rPr lang="en-GB" sz="17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&amp; </a:t>
            </a: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Ambición</a:t>
            </a:r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4856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xmlns="" id="{EB2886F9-DD5D-4539-A3DF-196A61CF7B2A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+mn-lt"/>
                <a:sym typeface="+mn-lt"/>
              </a:rPr>
              <a:t>Trazado de mapas de los grupos de interés para SAT y </a:t>
            </a:r>
            <a:r>
              <a:rPr lang="es-ES" sz="1900" b="0" dirty="0" err="1">
                <a:solidFill>
                  <a:schemeClr val="accent2"/>
                </a:solidFill>
                <a:latin typeface="+mn-lt"/>
                <a:sym typeface="+mn-lt"/>
              </a:rPr>
              <a:t>KPIs</a:t>
            </a:r>
            <a:endParaRPr lang="en-US" sz="1900" b="0" dirty="0">
              <a:solidFill>
                <a:schemeClr val="accent2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E0EF2668-5DD7-4B0E-857B-1B098C160EC7}"/>
              </a:ext>
            </a:extLst>
          </p:cNvPr>
          <p:cNvSpPr/>
          <p:nvPr/>
        </p:nvSpPr>
        <p:spPr>
          <a:xfrm>
            <a:off x="3054977" y="1781867"/>
            <a:ext cx="3896168" cy="319257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endParaRPr lang="en-GB" sz="2000" b="0" dirty="0"/>
          </a:p>
        </p:txBody>
      </p:sp>
      <p:sp>
        <p:nvSpPr>
          <p:cNvPr id="5" name="RBContent15">
            <a:extLst>
              <a:ext uri="{FF2B5EF4-FFF2-40B4-BE49-F238E27FC236}">
                <a16:creationId xmlns:a16="http://schemas.microsoft.com/office/drawing/2014/main" xmlns="" id="{66909F25-63D4-44AC-9A95-ACAC057860E8}"/>
              </a:ext>
            </a:extLst>
          </p:cNvPr>
          <p:cNvSpPr txBox="1">
            <a:spLocks/>
          </p:cNvSpPr>
          <p:nvPr/>
        </p:nvSpPr>
        <p:spPr>
          <a:xfrm>
            <a:off x="3158694" y="2542599"/>
            <a:ext cx="3792452" cy="198618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02554" lvl="1" indent="-202554">
              <a:lnSpc>
                <a:spcPct val="90000"/>
              </a:lnSpc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sz="17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Determinar quién </a:t>
            </a:r>
            <a:r>
              <a:rPr lang="es-ES" sz="17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debe </a:t>
            </a:r>
            <a:r>
              <a:rPr lang="es-ES" sz="17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participar en las próximas fases </a:t>
            </a:r>
            <a:r>
              <a:rPr lang="es-ES" sz="17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inmediatas (SAT, visitas de evaluación, taller y seminario </a:t>
            </a:r>
            <a:r>
              <a:rPr lang="es-ES" sz="1700" b="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ambition</a:t>
            </a:r>
            <a:r>
              <a:rPr lang="es-ES" sz="17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)</a:t>
            </a:r>
          </a:p>
          <a:p>
            <a:pPr marL="202554" lvl="1" indent="-202554">
              <a:lnSpc>
                <a:spcPct val="90000"/>
              </a:lnSpc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sz="17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jercicio preliminar que se llevará a cabo durante la reunión de inicio de mañana</a:t>
            </a:r>
          </a:p>
          <a:p>
            <a:pPr marL="202554" lvl="1" indent="-202554">
              <a:lnSpc>
                <a:spcPct val="90000"/>
              </a:lnSpc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endParaRPr lang="en-US" sz="1700" b="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61FCBE75-E6EF-4074-9A70-8BAAC16E7F81}"/>
              </a:ext>
            </a:extLst>
          </p:cNvPr>
          <p:cNvGrpSpPr>
            <a:grpSpLocks noChangeAspect="1"/>
          </p:cNvGrpSpPr>
          <p:nvPr/>
        </p:nvGrpSpPr>
        <p:grpSpPr>
          <a:xfrm>
            <a:off x="3184711" y="1892591"/>
            <a:ext cx="783167" cy="540883"/>
            <a:chOff x="1720851" y="1301751"/>
            <a:chExt cx="3576638" cy="2470150"/>
          </a:xfrm>
          <a:solidFill>
            <a:schemeClr val="accent5"/>
          </a:solidFill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xmlns="" id="{7F5BA4A7-EDE9-4674-8397-2AE7E6A76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088" y="1301751"/>
              <a:ext cx="2389188" cy="2395538"/>
            </a:xfrm>
            <a:custGeom>
              <a:avLst/>
              <a:gdLst>
                <a:gd name="T0" fmla="*/ 1992 w 2074"/>
                <a:gd name="T1" fmla="*/ 1162 h 2080"/>
                <a:gd name="T2" fmla="*/ 1040 w 2074"/>
                <a:gd name="T3" fmla="*/ 2000 h 2080"/>
                <a:gd name="T4" fmla="*/ 80 w 2074"/>
                <a:gd name="T5" fmla="*/ 1040 h 2080"/>
                <a:gd name="T6" fmla="*/ 1040 w 2074"/>
                <a:gd name="T7" fmla="*/ 80 h 2080"/>
                <a:gd name="T8" fmla="*/ 1993 w 2074"/>
                <a:gd name="T9" fmla="*/ 925 h 2080"/>
                <a:gd name="T10" fmla="*/ 2074 w 2074"/>
                <a:gd name="T11" fmla="*/ 925 h 2080"/>
                <a:gd name="T12" fmla="*/ 1040 w 2074"/>
                <a:gd name="T13" fmla="*/ 0 h 2080"/>
                <a:gd name="T14" fmla="*/ 0 w 2074"/>
                <a:gd name="T15" fmla="*/ 1040 h 2080"/>
                <a:gd name="T16" fmla="*/ 1040 w 2074"/>
                <a:gd name="T17" fmla="*/ 2080 h 2080"/>
                <a:gd name="T18" fmla="*/ 2073 w 2074"/>
                <a:gd name="T19" fmla="*/ 1162 h 2080"/>
                <a:gd name="T20" fmla="*/ 1992 w 2074"/>
                <a:gd name="T21" fmla="*/ 1162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4" h="2080">
                  <a:moveTo>
                    <a:pt x="1992" y="1162"/>
                  </a:moveTo>
                  <a:cubicBezTo>
                    <a:pt x="1933" y="1635"/>
                    <a:pt x="1529" y="2000"/>
                    <a:pt x="1040" y="2000"/>
                  </a:cubicBezTo>
                  <a:cubicBezTo>
                    <a:pt x="510" y="2000"/>
                    <a:pt x="80" y="1571"/>
                    <a:pt x="80" y="1040"/>
                  </a:cubicBezTo>
                  <a:cubicBezTo>
                    <a:pt x="80" y="510"/>
                    <a:pt x="510" y="80"/>
                    <a:pt x="1040" y="80"/>
                  </a:cubicBezTo>
                  <a:cubicBezTo>
                    <a:pt x="1531" y="80"/>
                    <a:pt x="1936" y="449"/>
                    <a:pt x="1993" y="925"/>
                  </a:cubicBezTo>
                  <a:cubicBezTo>
                    <a:pt x="2074" y="925"/>
                    <a:pt x="2074" y="925"/>
                    <a:pt x="2074" y="925"/>
                  </a:cubicBezTo>
                  <a:cubicBezTo>
                    <a:pt x="2016" y="405"/>
                    <a:pt x="1575" y="0"/>
                    <a:pt x="1040" y="0"/>
                  </a:cubicBezTo>
                  <a:cubicBezTo>
                    <a:pt x="466" y="0"/>
                    <a:pt x="0" y="466"/>
                    <a:pt x="0" y="1040"/>
                  </a:cubicBezTo>
                  <a:cubicBezTo>
                    <a:pt x="0" y="1615"/>
                    <a:pt x="466" y="2080"/>
                    <a:pt x="1040" y="2080"/>
                  </a:cubicBezTo>
                  <a:cubicBezTo>
                    <a:pt x="1573" y="2080"/>
                    <a:pt x="2013" y="1679"/>
                    <a:pt x="2073" y="1162"/>
                  </a:cubicBezTo>
                  <a:lnTo>
                    <a:pt x="1992" y="1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xmlns="" id="{714C7708-52BD-4B2A-8329-E9D26ED4E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2225676"/>
              <a:ext cx="514350" cy="547688"/>
            </a:xfrm>
            <a:custGeom>
              <a:avLst/>
              <a:gdLst>
                <a:gd name="T0" fmla="*/ 238 w 446"/>
                <a:gd name="T1" fmla="*/ 80 h 475"/>
                <a:gd name="T2" fmla="*/ 346 w 446"/>
                <a:gd name="T3" fmla="*/ 122 h 475"/>
                <a:gd name="T4" fmla="*/ 446 w 446"/>
                <a:gd name="T5" fmla="*/ 122 h 475"/>
                <a:gd name="T6" fmla="*/ 238 w 446"/>
                <a:gd name="T7" fmla="*/ 0 h 475"/>
                <a:gd name="T8" fmla="*/ 0 w 446"/>
                <a:gd name="T9" fmla="*/ 237 h 475"/>
                <a:gd name="T10" fmla="*/ 238 w 446"/>
                <a:gd name="T11" fmla="*/ 475 h 475"/>
                <a:gd name="T12" fmla="*/ 443 w 446"/>
                <a:gd name="T13" fmla="*/ 359 h 475"/>
                <a:gd name="T14" fmla="*/ 339 w 446"/>
                <a:gd name="T15" fmla="*/ 359 h 475"/>
                <a:gd name="T16" fmla="*/ 238 w 446"/>
                <a:gd name="T17" fmla="*/ 395 h 475"/>
                <a:gd name="T18" fmla="*/ 80 w 446"/>
                <a:gd name="T19" fmla="*/ 237 h 475"/>
                <a:gd name="T20" fmla="*/ 238 w 446"/>
                <a:gd name="T21" fmla="*/ 8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6" h="475">
                  <a:moveTo>
                    <a:pt x="238" y="80"/>
                  </a:moveTo>
                  <a:cubicBezTo>
                    <a:pt x="280" y="80"/>
                    <a:pt x="318" y="96"/>
                    <a:pt x="346" y="122"/>
                  </a:cubicBezTo>
                  <a:cubicBezTo>
                    <a:pt x="446" y="122"/>
                    <a:pt x="446" y="122"/>
                    <a:pt x="446" y="122"/>
                  </a:cubicBezTo>
                  <a:cubicBezTo>
                    <a:pt x="406" y="49"/>
                    <a:pt x="328" y="0"/>
                    <a:pt x="238" y="0"/>
                  </a:cubicBezTo>
                  <a:cubicBezTo>
                    <a:pt x="107" y="0"/>
                    <a:pt x="0" y="106"/>
                    <a:pt x="0" y="237"/>
                  </a:cubicBezTo>
                  <a:cubicBezTo>
                    <a:pt x="0" y="369"/>
                    <a:pt x="107" y="475"/>
                    <a:pt x="238" y="475"/>
                  </a:cubicBezTo>
                  <a:cubicBezTo>
                    <a:pt x="325" y="475"/>
                    <a:pt x="401" y="428"/>
                    <a:pt x="443" y="359"/>
                  </a:cubicBezTo>
                  <a:cubicBezTo>
                    <a:pt x="339" y="359"/>
                    <a:pt x="339" y="359"/>
                    <a:pt x="339" y="359"/>
                  </a:cubicBezTo>
                  <a:cubicBezTo>
                    <a:pt x="312" y="381"/>
                    <a:pt x="277" y="395"/>
                    <a:pt x="238" y="395"/>
                  </a:cubicBezTo>
                  <a:cubicBezTo>
                    <a:pt x="151" y="395"/>
                    <a:pt x="80" y="325"/>
                    <a:pt x="80" y="237"/>
                  </a:cubicBezTo>
                  <a:cubicBezTo>
                    <a:pt x="80" y="150"/>
                    <a:pt x="151" y="80"/>
                    <a:pt x="23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xmlns="" id="{92D3F9C3-DFFE-4107-A268-97498AE15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8226" y="1765301"/>
              <a:ext cx="1458913" cy="1468438"/>
            </a:xfrm>
            <a:custGeom>
              <a:avLst/>
              <a:gdLst>
                <a:gd name="T0" fmla="*/ 1184 w 1266"/>
                <a:gd name="T1" fmla="*/ 522 h 1275"/>
                <a:gd name="T2" fmla="*/ 1266 w 1266"/>
                <a:gd name="T3" fmla="*/ 522 h 1275"/>
                <a:gd name="T4" fmla="*/ 638 w 1266"/>
                <a:gd name="T5" fmla="*/ 0 h 1275"/>
                <a:gd name="T6" fmla="*/ 0 w 1266"/>
                <a:gd name="T7" fmla="*/ 637 h 1275"/>
                <a:gd name="T8" fmla="*/ 638 w 1266"/>
                <a:gd name="T9" fmla="*/ 1275 h 1275"/>
                <a:gd name="T10" fmla="*/ 1264 w 1266"/>
                <a:gd name="T11" fmla="*/ 759 h 1275"/>
                <a:gd name="T12" fmla="*/ 1183 w 1266"/>
                <a:gd name="T13" fmla="*/ 759 h 1275"/>
                <a:gd name="T14" fmla="*/ 638 w 1266"/>
                <a:gd name="T15" fmla="*/ 1195 h 1275"/>
                <a:gd name="T16" fmla="*/ 80 w 1266"/>
                <a:gd name="T17" fmla="*/ 637 h 1275"/>
                <a:gd name="T18" fmla="*/ 638 w 1266"/>
                <a:gd name="T19" fmla="*/ 80 h 1275"/>
                <a:gd name="T20" fmla="*/ 1184 w 1266"/>
                <a:gd name="T21" fmla="*/ 522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1275">
                  <a:moveTo>
                    <a:pt x="1184" y="522"/>
                  </a:moveTo>
                  <a:cubicBezTo>
                    <a:pt x="1266" y="522"/>
                    <a:pt x="1266" y="522"/>
                    <a:pt x="1266" y="522"/>
                  </a:cubicBezTo>
                  <a:cubicBezTo>
                    <a:pt x="1211" y="225"/>
                    <a:pt x="951" y="0"/>
                    <a:pt x="638" y="0"/>
                  </a:cubicBezTo>
                  <a:cubicBezTo>
                    <a:pt x="286" y="0"/>
                    <a:pt x="0" y="285"/>
                    <a:pt x="0" y="637"/>
                  </a:cubicBezTo>
                  <a:cubicBezTo>
                    <a:pt x="0" y="990"/>
                    <a:pt x="286" y="1275"/>
                    <a:pt x="638" y="1275"/>
                  </a:cubicBezTo>
                  <a:cubicBezTo>
                    <a:pt x="949" y="1275"/>
                    <a:pt x="1208" y="1053"/>
                    <a:pt x="1264" y="759"/>
                  </a:cubicBezTo>
                  <a:cubicBezTo>
                    <a:pt x="1183" y="759"/>
                    <a:pt x="1183" y="759"/>
                    <a:pt x="1183" y="759"/>
                  </a:cubicBezTo>
                  <a:cubicBezTo>
                    <a:pt x="1127" y="1008"/>
                    <a:pt x="905" y="1195"/>
                    <a:pt x="638" y="1195"/>
                  </a:cubicBezTo>
                  <a:cubicBezTo>
                    <a:pt x="330" y="1195"/>
                    <a:pt x="80" y="945"/>
                    <a:pt x="80" y="637"/>
                  </a:cubicBezTo>
                  <a:cubicBezTo>
                    <a:pt x="80" y="329"/>
                    <a:pt x="330" y="80"/>
                    <a:pt x="638" y="80"/>
                  </a:cubicBezTo>
                  <a:cubicBezTo>
                    <a:pt x="907" y="80"/>
                    <a:pt x="1131" y="269"/>
                    <a:pt x="1184" y="5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C3C7780B-F2B3-4069-8E2C-91796A4E6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351" y="2109788"/>
              <a:ext cx="2243138" cy="785813"/>
            </a:xfrm>
            <a:custGeom>
              <a:avLst/>
              <a:gdLst>
                <a:gd name="T0" fmla="*/ 1209 w 1413"/>
                <a:gd name="T1" fmla="*/ 245 h 495"/>
                <a:gd name="T2" fmla="*/ 1413 w 1413"/>
                <a:gd name="T3" fmla="*/ 41 h 495"/>
                <a:gd name="T4" fmla="*/ 1372 w 1413"/>
                <a:gd name="T5" fmla="*/ 0 h 495"/>
                <a:gd name="T6" fmla="*/ 1155 w 1413"/>
                <a:gd name="T7" fmla="*/ 218 h 495"/>
                <a:gd name="T8" fmla="*/ 967 w 1413"/>
                <a:gd name="T9" fmla="*/ 218 h 495"/>
                <a:gd name="T10" fmla="*/ 1143 w 1413"/>
                <a:gd name="T11" fmla="*/ 41 h 495"/>
                <a:gd name="T12" fmla="*/ 1103 w 1413"/>
                <a:gd name="T13" fmla="*/ 0 h 495"/>
                <a:gd name="T14" fmla="*/ 885 w 1413"/>
                <a:gd name="T15" fmla="*/ 218 h 495"/>
                <a:gd name="T16" fmla="*/ 0 w 1413"/>
                <a:gd name="T17" fmla="*/ 218 h 495"/>
                <a:gd name="T18" fmla="*/ 0 w 1413"/>
                <a:gd name="T19" fmla="*/ 276 h 495"/>
                <a:gd name="T20" fmla="*/ 883 w 1413"/>
                <a:gd name="T21" fmla="*/ 276 h 495"/>
                <a:gd name="T22" fmla="*/ 1103 w 1413"/>
                <a:gd name="T23" fmla="*/ 495 h 495"/>
                <a:gd name="T24" fmla="*/ 1143 w 1413"/>
                <a:gd name="T25" fmla="*/ 454 h 495"/>
                <a:gd name="T26" fmla="*/ 965 w 1413"/>
                <a:gd name="T27" fmla="*/ 276 h 495"/>
                <a:gd name="T28" fmla="*/ 1153 w 1413"/>
                <a:gd name="T29" fmla="*/ 276 h 495"/>
                <a:gd name="T30" fmla="*/ 1372 w 1413"/>
                <a:gd name="T31" fmla="*/ 495 h 495"/>
                <a:gd name="T32" fmla="*/ 1413 w 1413"/>
                <a:gd name="T33" fmla="*/ 454 h 495"/>
                <a:gd name="T34" fmla="*/ 1209 w 1413"/>
                <a:gd name="T35" fmla="*/ 250 h 495"/>
                <a:gd name="T36" fmla="*/ 1209 w 1413"/>
                <a:gd name="T37" fmla="*/ 24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13" h="495">
                  <a:moveTo>
                    <a:pt x="1209" y="245"/>
                  </a:moveTo>
                  <a:lnTo>
                    <a:pt x="1413" y="41"/>
                  </a:lnTo>
                  <a:lnTo>
                    <a:pt x="1372" y="0"/>
                  </a:lnTo>
                  <a:lnTo>
                    <a:pt x="1155" y="218"/>
                  </a:lnTo>
                  <a:lnTo>
                    <a:pt x="967" y="218"/>
                  </a:lnTo>
                  <a:lnTo>
                    <a:pt x="1143" y="41"/>
                  </a:lnTo>
                  <a:lnTo>
                    <a:pt x="1103" y="0"/>
                  </a:lnTo>
                  <a:lnTo>
                    <a:pt x="885" y="218"/>
                  </a:lnTo>
                  <a:lnTo>
                    <a:pt x="0" y="218"/>
                  </a:lnTo>
                  <a:lnTo>
                    <a:pt x="0" y="276"/>
                  </a:lnTo>
                  <a:lnTo>
                    <a:pt x="883" y="276"/>
                  </a:lnTo>
                  <a:lnTo>
                    <a:pt x="1103" y="495"/>
                  </a:lnTo>
                  <a:lnTo>
                    <a:pt x="1143" y="454"/>
                  </a:lnTo>
                  <a:lnTo>
                    <a:pt x="965" y="276"/>
                  </a:lnTo>
                  <a:lnTo>
                    <a:pt x="1153" y="276"/>
                  </a:lnTo>
                  <a:lnTo>
                    <a:pt x="1372" y="495"/>
                  </a:lnTo>
                  <a:lnTo>
                    <a:pt x="1413" y="454"/>
                  </a:lnTo>
                  <a:lnTo>
                    <a:pt x="1209" y="250"/>
                  </a:lnTo>
                  <a:lnTo>
                    <a:pt x="1209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xmlns="" id="{20286FC5-1FF5-4BAE-B50F-06E990D75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3351213"/>
              <a:ext cx="415925" cy="417513"/>
            </a:xfrm>
            <a:custGeom>
              <a:avLst/>
              <a:gdLst>
                <a:gd name="T0" fmla="*/ 0 w 262"/>
                <a:gd name="T1" fmla="*/ 41 h 263"/>
                <a:gd name="T2" fmla="*/ 222 w 262"/>
                <a:gd name="T3" fmla="*/ 263 h 263"/>
                <a:gd name="T4" fmla="*/ 262 w 262"/>
                <a:gd name="T5" fmla="*/ 221 h 263"/>
                <a:gd name="T6" fmla="*/ 41 w 262"/>
                <a:gd name="T7" fmla="*/ 0 h 263"/>
                <a:gd name="T8" fmla="*/ 0 w 262"/>
                <a:gd name="T9" fmla="*/ 4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3">
                  <a:moveTo>
                    <a:pt x="0" y="41"/>
                  </a:moveTo>
                  <a:lnTo>
                    <a:pt x="222" y="263"/>
                  </a:lnTo>
                  <a:lnTo>
                    <a:pt x="262" y="221"/>
                  </a:lnTo>
                  <a:lnTo>
                    <a:pt x="41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1C5075CF-8BBC-407C-8881-A5B6EE96D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851" y="3352801"/>
              <a:ext cx="417513" cy="419100"/>
            </a:xfrm>
            <a:custGeom>
              <a:avLst/>
              <a:gdLst>
                <a:gd name="T0" fmla="*/ 0 w 263"/>
                <a:gd name="T1" fmla="*/ 222 h 264"/>
                <a:gd name="T2" fmla="*/ 41 w 263"/>
                <a:gd name="T3" fmla="*/ 264 h 264"/>
                <a:gd name="T4" fmla="*/ 263 w 263"/>
                <a:gd name="T5" fmla="*/ 42 h 264"/>
                <a:gd name="T6" fmla="*/ 222 w 263"/>
                <a:gd name="T7" fmla="*/ 0 h 264"/>
                <a:gd name="T8" fmla="*/ 0 w 263"/>
                <a:gd name="T9" fmla="*/ 22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264">
                  <a:moveTo>
                    <a:pt x="0" y="222"/>
                  </a:moveTo>
                  <a:lnTo>
                    <a:pt x="41" y="264"/>
                  </a:lnTo>
                  <a:lnTo>
                    <a:pt x="263" y="42"/>
                  </a:lnTo>
                  <a:lnTo>
                    <a:pt x="222" y="0"/>
                  </a:lnTo>
                  <a:lnTo>
                    <a:pt x="0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</p:grpSp>
      <p:sp>
        <p:nvSpPr>
          <p:cNvPr id="13" name="ListLeanHorizontalTextTopic1">
            <a:extLst>
              <a:ext uri="{FF2B5EF4-FFF2-40B4-BE49-F238E27FC236}">
                <a16:creationId xmlns:a16="http://schemas.microsoft.com/office/drawing/2014/main" xmlns="" id="{9C529B87-E414-4632-B553-C58022151880}"/>
              </a:ext>
            </a:extLst>
          </p:cNvPr>
          <p:cNvSpPr txBox="1">
            <a:spLocks/>
          </p:cNvSpPr>
          <p:nvPr/>
        </p:nvSpPr>
        <p:spPr bwMode="auto">
          <a:xfrm>
            <a:off x="4075356" y="2010526"/>
            <a:ext cx="1211870" cy="31399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2267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bjetivos</a:t>
            </a:r>
            <a:endParaRPr lang="en-GB" altLang="en-US" sz="2267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4711E39E-9799-45B6-9375-D40279973375}"/>
              </a:ext>
            </a:extLst>
          </p:cNvPr>
          <p:cNvSpPr txBox="1">
            <a:spLocks/>
          </p:cNvSpPr>
          <p:nvPr/>
        </p:nvSpPr>
        <p:spPr>
          <a:xfrm>
            <a:off x="2964927" y="1346579"/>
            <a:ext cx="4555498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8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Trazado de mapas de los grupos de interés </a:t>
            </a:r>
            <a:endParaRPr lang="en-GB" sz="1800" b="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751760A6-1E96-4EFC-A93D-B0F0866398F4}"/>
              </a:ext>
            </a:extLst>
          </p:cNvPr>
          <p:cNvSpPr/>
          <p:nvPr/>
        </p:nvSpPr>
        <p:spPr>
          <a:xfrm>
            <a:off x="7291869" y="2542599"/>
            <a:ext cx="4434903" cy="133564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endParaRPr lang="en-GB" sz="2000" b="0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xmlns="" id="{72CBF948-1930-491F-8CD8-4342DDF24570}"/>
              </a:ext>
            </a:extLst>
          </p:cNvPr>
          <p:cNvSpPr txBox="1">
            <a:spLocks/>
          </p:cNvSpPr>
          <p:nvPr/>
        </p:nvSpPr>
        <p:spPr>
          <a:xfrm>
            <a:off x="7287016" y="2099339"/>
            <a:ext cx="3896168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900" b="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Implantación</a:t>
            </a:r>
            <a:r>
              <a:rPr lang="en-GB" sz="19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del SAT</a:t>
            </a:r>
          </a:p>
        </p:txBody>
      </p:sp>
      <p:cxnSp>
        <p:nvCxnSpPr>
          <p:cNvPr id="17" name="Straight Connector 4">
            <a:extLst>
              <a:ext uri="{FF2B5EF4-FFF2-40B4-BE49-F238E27FC236}">
                <a16:creationId xmlns:a16="http://schemas.microsoft.com/office/drawing/2014/main" xmlns="" id="{7507808B-5700-453F-AD72-0CF2FCBF09E1}"/>
              </a:ext>
            </a:extLst>
          </p:cNvPr>
          <p:cNvCxnSpPr>
            <a:cxnSpLocks/>
          </p:cNvCxnSpPr>
          <p:nvPr/>
        </p:nvCxnSpPr>
        <p:spPr>
          <a:xfrm>
            <a:off x="6532459" y="3205214"/>
            <a:ext cx="1372328" cy="0"/>
          </a:xfrm>
          <a:prstGeom prst="line">
            <a:avLst/>
          </a:prstGeom>
          <a:ln w="28575" cmpd="sng">
            <a:solidFill>
              <a:schemeClr val="accent3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BContent15">
            <a:extLst>
              <a:ext uri="{FF2B5EF4-FFF2-40B4-BE49-F238E27FC236}">
                <a16:creationId xmlns:a16="http://schemas.microsoft.com/office/drawing/2014/main" xmlns="" id="{6445A6E4-6A61-4D92-9F40-D6551149F233}"/>
              </a:ext>
            </a:extLst>
          </p:cNvPr>
          <p:cNvSpPr txBox="1">
            <a:spLocks/>
          </p:cNvSpPr>
          <p:nvPr/>
        </p:nvSpPr>
        <p:spPr>
          <a:xfrm>
            <a:off x="8156787" y="2955915"/>
            <a:ext cx="2971646" cy="4708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lvl="1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es-ES" sz="17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a presentación completa se realizará mañana</a:t>
            </a:r>
            <a:endParaRPr lang="en-US" sz="1700" b="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19" name="RbNavigator">
            <a:extLst>
              <a:ext uri="{FF2B5EF4-FFF2-40B4-BE49-F238E27FC236}">
                <a16:creationId xmlns:a16="http://schemas.microsoft.com/office/drawing/2014/main" xmlns="" id="{6FF22896-B4E3-4538-86E7-335F84EC9A7C}"/>
              </a:ext>
            </a:extLst>
          </p:cNvPr>
          <p:cNvSpPr txBox="1"/>
          <p:nvPr/>
        </p:nvSpPr>
        <p:spPr>
          <a:xfrm>
            <a:off x="2820927" y="1"/>
            <a:ext cx="288000" cy="288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+mn-lt"/>
                <a:sym typeface="+mn-lt"/>
              </a:rPr>
              <a:t>1</a:t>
            </a:r>
          </a:p>
        </p:txBody>
      </p:sp>
      <p:sp>
        <p:nvSpPr>
          <p:cNvPr id="20" name="RbSticker">
            <a:extLst>
              <a:ext uri="{FF2B5EF4-FFF2-40B4-BE49-F238E27FC236}">
                <a16:creationId xmlns:a16="http://schemas.microsoft.com/office/drawing/2014/main" xmlns="" id="{635D309D-F877-446C-B39A-D699D2480E2D}"/>
              </a:ext>
            </a:extLst>
          </p:cNvPr>
          <p:cNvSpPr txBox="1"/>
          <p:nvPr/>
        </p:nvSpPr>
        <p:spPr>
          <a:xfrm>
            <a:off x="3188804" y="53111"/>
            <a:ext cx="1916422" cy="23544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Visión</a:t>
            </a:r>
            <a:r>
              <a:rPr lang="en-GB" sz="17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&amp; </a:t>
            </a: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Ambición</a:t>
            </a:r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542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" name="Group 113">
            <a:extLst>
              <a:ext uri="{FF2B5EF4-FFF2-40B4-BE49-F238E27FC236}">
                <a16:creationId xmlns:a16="http://schemas.microsoft.com/office/drawing/2014/main" xmlns="" id="{21C673B2-A564-4047-9408-5E12F4B31A60}"/>
              </a:ext>
            </a:extLst>
          </p:cNvPr>
          <p:cNvGrpSpPr/>
          <p:nvPr/>
        </p:nvGrpSpPr>
        <p:grpSpPr>
          <a:xfrm>
            <a:off x="2917006" y="1112064"/>
            <a:ext cx="5010516" cy="4278643"/>
            <a:chOff x="2917006" y="1112064"/>
            <a:chExt cx="5010516" cy="4278643"/>
          </a:xfrm>
        </p:grpSpPr>
        <p:sp>
          <p:nvSpPr>
            <p:cNvPr id="4" name="Freeform 1519">
              <a:extLst>
                <a:ext uri="{FF2B5EF4-FFF2-40B4-BE49-F238E27FC236}">
                  <a16:creationId xmlns:a16="http://schemas.microsoft.com/office/drawing/2014/main" xmlns="" id="{5AA65731-CE5D-48D9-ADBB-458C537C5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7006" y="1112064"/>
              <a:ext cx="4080796" cy="4087230"/>
            </a:xfrm>
            <a:custGeom>
              <a:avLst/>
              <a:gdLst/>
              <a:ahLst/>
              <a:cxnLst>
                <a:cxn ang="0">
                  <a:pos x="91" y="2137"/>
                </a:cxn>
                <a:cxn ang="0">
                  <a:pos x="220" y="1976"/>
                </a:cxn>
                <a:cxn ang="0">
                  <a:pos x="540" y="1953"/>
                </a:cxn>
                <a:cxn ang="0">
                  <a:pos x="530" y="1818"/>
                </a:cxn>
                <a:cxn ang="0">
                  <a:pos x="417" y="1701"/>
                </a:cxn>
                <a:cxn ang="0">
                  <a:pos x="571" y="1670"/>
                </a:cxn>
                <a:cxn ang="0">
                  <a:pos x="778" y="1520"/>
                </a:cxn>
                <a:cxn ang="0">
                  <a:pos x="887" y="1407"/>
                </a:cxn>
                <a:cxn ang="0">
                  <a:pos x="1081" y="1333"/>
                </a:cxn>
                <a:cxn ang="0">
                  <a:pos x="1074" y="1127"/>
                </a:cxn>
                <a:cxn ang="0">
                  <a:pos x="1114" y="1213"/>
                </a:cxn>
                <a:cxn ang="0">
                  <a:pos x="1169" y="1301"/>
                </a:cxn>
                <a:cxn ang="0">
                  <a:pos x="1265" y="1304"/>
                </a:cxn>
                <a:cxn ang="0">
                  <a:pos x="1504" y="1274"/>
                </a:cxn>
                <a:cxn ang="0">
                  <a:pos x="1675" y="1009"/>
                </a:cxn>
                <a:cxn ang="0">
                  <a:pos x="1723" y="854"/>
                </a:cxn>
                <a:cxn ang="0">
                  <a:pos x="1672" y="811"/>
                </a:cxn>
                <a:cxn ang="0">
                  <a:pos x="1567" y="533"/>
                </a:cxn>
                <a:cxn ang="0">
                  <a:pos x="1479" y="574"/>
                </a:cxn>
                <a:cxn ang="0">
                  <a:pos x="1457" y="879"/>
                </a:cxn>
                <a:cxn ang="0">
                  <a:pos x="1366" y="982"/>
                </a:cxn>
                <a:cxn ang="0">
                  <a:pos x="1247" y="1223"/>
                </a:cxn>
                <a:cxn ang="0">
                  <a:pos x="1114" y="955"/>
                </a:cxn>
                <a:cxn ang="0">
                  <a:pos x="969" y="945"/>
                </a:cxn>
                <a:cxn ang="0">
                  <a:pos x="946" y="856"/>
                </a:cxn>
                <a:cxn ang="0">
                  <a:pos x="1009" y="701"/>
                </a:cxn>
                <a:cxn ang="0">
                  <a:pos x="1168" y="604"/>
                </a:cxn>
                <a:cxn ang="0">
                  <a:pos x="1243" y="424"/>
                </a:cxn>
                <a:cxn ang="0">
                  <a:pos x="1277" y="297"/>
                </a:cxn>
                <a:cxn ang="0">
                  <a:pos x="1345" y="144"/>
                </a:cxn>
                <a:cxn ang="0">
                  <a:pos x="1446" y="79"/>
                </a:cxn>
                <a:cxn ang="0">
                  <a:pos x="1594" y="14"/>
                </a:cxn>
                <a:cxn ang="0">
                  <a:pos x="1650" y="211"/>
                </a:cxn>
                <a:cxn ang="0">
                  <a:pos x="1809" y="539"/>
                </a:cxn>
                <a:cxn ang="0">
                  <a:pos x="2026" y="746"/>
                </a:cxn>
                <a:cxn ang="0">
                  <a:pos x="1818" y="877"/>
                </a:cxn>
                <a:cxn ang="0">
                  <a:pos x="1840" y="1049"/>
                </a:cxn>
                <a:cxn ang="0">
                  <a:pos x="2015" y="1175"/>
                </a:cxn>
                <a:cxn ang="0">
                  <a:pos x="2203" y="1336"/>
                </a:cxn>
                <a:cxn ang="0">
                  <a:pos x="2460" y="1351"/>
                </a:cxn>
                <a:cxn ang="0">
                  <a:pos x="2428" y="1611"/>
                </a:cxn>
                <a:cxn ang="0">
                  <a:pos x="2409" y="1741"/>
                </a:cxn>
                <a:cxn ang="0">
                  <a:pos x="2288" y="1707"/>
                </a:cxn>
                <a:cxn ang="0">
                  <a:pos x="2115" y="1801"/>
                </a:cxn>
                <a:cxn ang="0">
                  <a:pos x="2067" y="2049"/>
                </a:cxn>
                <a:cxn ang="0">
                  <a:pos x="2085" y="2174"/>
                </a:cxn>
                <a:cxn ang="0">
                  <a:pos x="1919" y="2201"/>
                </a:cxn>
                <a:cxn ang="0">
                  <a:pos x="1878" y="2277"/>
                </a:cxn>
                <a:cxn ang="0">
                  <a:pos x="1866" y="2359"/>
                </a:cxn>
                <a:cxn ang="0">
                  <a:pos x="1881" y="2415"/>
                </a:cxn>
                <a:cxn ang="0">
                  <a:pos x="1713" y="2354"/>
                </a:cxn>
                <a:cxn ang="0">
                  <a:pos x="1518" y="2099"/>
                </a:cxn>
                <a:cxn ang="0">
                  <a:pos x="1326" y="1987"/>
                </a:cxn>
                <a:cxn ang="0">
                  <a:pos x="1284" y="2062"/>
                </a:cxn>
                <a:cxn ang="0">
                  <a:pos x="1521" y="2251"/>
                </a:cxn>
                <a:cxn ang="0">
                  <a:pos x="1498" y="2354"/>
                </a:cxn>
                <a:cxn ang="0">
                  <a:pos x="1479" y="2414"/>
                </a:cxn>
                <a:cxn ang="0">
                  <a:pos x="1291" y="2250"/>
                </a:cxn>
                <a:cxn ang="0">
                  <a:pos x="1018" y="2061"/>
                </a:cxn>
                <a:cxn ang="0">
                  <a:pos x="682" y="2224"/>
                </a:cxn>
                <a:cxn ang="0">
                  <a:pos x="397" y="2519"/>
                </a:cxn>
                <a:cxn ang="0">
                  <a:pos x="63" y="2435"/>
                </a:cxn>
              </a:cxnLst>
              <a:rect l="0" t="0" r="r" b="b"/>
              <a:pathLst>
                <a:path w="2537" h="2541">
                  <a:moveTo>
                    <a:pt x="6" y="2412"/>
                  </a:moveTo>
                  <a:cubicBezTo>
                    <a:pt x="24" y="2384"/>
                    <a:pt x="17" y="2339"/>
                    <a:pt x="41" y="2318"/>
                  </a:cubicBezTo>
                  <a:cubicBezTo>
                    <a:pt x="28" y="2301"/>
                    <a:pt x="39" y="2318"/>
                    <a:pt x="19" y="2315"/>
                  </a:cubicBezTo>
                  <a:cubicBezTo>
                    <a:pt x="12" y="2312"/>
                    <a:pt x="15" y="2292"/>
                    <a:pt x="17" y="2290"/>
                  </a:cubicBezTo>
                  <a:cubicBezTo>
                    <a:pt x="0" y="2285"/>
                    <a:pt x="16" y="2295"/>
                    <a:pt x="6" y="2279"/>
                  </a:cubicBezTo>
                  <a:cubicBezTo>
                    <a:pt x="12" y="2263"/>
                    <a:pt x="58" y="2218"/>
                    <a:pt x="72" y="2194"/>
                  </a:cubicBezTo>
                  <a:cubicBezTo>
                    <a:pt x="78" y="2175"/>
                    <a:pt x="84" y="2156"/>
                    <a:pt x="91" y="2137"/>
                  </a:cubicBezTo>
                  <a:cubicBezTo>
                    <a:pt x="99" y="2114"/>
                    <a:pt x="98" y="2089"/>
                    <a:pt x="101" y="2065"/>
                  </a:cubicBezTo>
                  <a:cubicBezTo>
                    <a:pt x="103" y="2052"/>
                    <a:pt x="109" y="2027"/>
                    <a:pt x="109" y="2027"/>
                  </a:cubicBezTo>
                  <a:cubicBezTo>
                    <a:pt x="106" y="2011"/>
                    <a:pt x="112" y="2003"/>
                    <a:pt x="102" y="1991"/>
                  </a:cubicBezTo>
                  <a:cubicBezTo>
                    <a:pt x="107" y="1970"/>
                    <a:pt x="110" y="1965"/>
                    <a:pt x="131" y="1973"/>
                  </a:cubicBezTo>
                  <a:cubicBezTo>
                    <a:pt x="142" y="1983"/>
                    <a:pt x="145" y="1975"/>
                    <a:pt x="159" y="1970"/>
                  </a:cubicBezTo>
                  <a:cubicBezTo>
                    <a:pt x="179" y="1950"/>
                    <a:pt x="173" y="1953"/>
                    <a:pt x="203" y="1961"/>
                  </a:cubicBezTo>
                  <a:cubicBezTo>
                    <a:pt x="204" y="1965"/>
                    <a:pt x="216" y="1975"/>
                    <a:pt x="220" y="1976"/>
                  </a:cubicBezTo>
                  <a:cubicBezTo>
                    <a:pt x="232" y="1981"/>
                    <a:pt x="283" y="1988"/>
                    <a:pt x="297" y="1990"/>
                  </a:cubicBezTo>
                  <a:cubicBezTo>
                    <a:pt x="314" y="2007"/>
                    <a:pt x="321" y="2010"/>
                    <a:pt x="346" y="2013"/>
                  </a:cubicBezTo>
                  <a:cubicBezTo>
                    <a:pt x="374" y="2021"/>
                    <a:pt x="384" y="2022"/>
                    <a:pt x="419" y="2025"/>
                  </a:cubicBezTo>
                  <a:cubicBezTo>
                    <a:pt x="425" y="2043"/>
                    <a:pt x="428" y="2033"/>
                    <a:pt x="447" y="2036"/>
                  </a:cubicBezTo>
                  <a:cubicBezTo>
                    <a:pt x="475" y="2054"/>
                    <a:pt x="502" y="2050"/>
                    <a:pt x="519" y="2027"/>
                  </a:cubicBezTo>
                  <a:cubicBezTo>
                    <a:pt x="521" y="2007"/>
                    <a:pt x="523" y="1996"/>
                    <a:pt x="532" y="1978"/>
                  </a:cubicBezTo>
                  <a:cubicBezTo>
                    <a:pt x="536" y="1971"/>
                    <a:pt x="534" y="1959"/>
                    <a:pt x="540" y="1953"/>
                  </a:cubicBezTo>
                  <a:cubicBezTo>
                    <a:pt x="526" y="1940"/>
                    <a:pt x="550" y="1916"/>
                    <a:pt x="556" y="1899"/>
                  </a:cubicBezTo>
                  <a:cubicBezTo>
                    <a:pt x="562" y="1912"/>
                    <a:pt x="564" y="1923"/>
                    <a:pt x="575" y="1932"/>
                  </a:cubicBezTo>
                  <a:cubicBezTo>
                    <a:pt x="583" y="1963"/>
                    <a:pt x="579" y="1917"/>
                    <a:pt x="578" y="1914"/>
                  </a:cubicBezTo>
                  <a:cubicBezTo>
                    <a:pt x="573" y="1901"/>
                    <a:pt x="571" y="1905"/>
                    <a:pt x="563" y="1895"/>
                  </a:cubicBezTo>
                  <a:cubicBezTo>
                    <a:pt x="558" y="1888"/>
                    <a:pt x="558" y="1874"/>
                    <a:pt x="558" y="1874"/>
                  </a:cubicBezTo>
                  <a:cubicBezTo>
                    <a:pt x="562" y="1872"/>
                    <a:pt x="567" y="1861"/>
                    <a:pt x="567" y="1857"/>
                  </a:cubicBezTo>
                  <a:cubicBezTo>
                    <a:pt x="569" y="1840"/>
                    <a:pt x="541" y="1828"/>
                    <a:pt x="530" y="1818"/>
                  </a:cubicBezTo>
                  <a:cubicBezTo>
                    <a:pt x="527" y="1807"/>
                    <a:pt x="517" y="1778"/>
                    <a:pt x="517" y="1778"/>
                  </a:cubicBezTo>
                  <a:cubicBezTo>
                    <a:pt x="526" y="1774"/>
                    <a:pt x="529" y="1774"/>
                    <a:pt x="538" y="1772"/>
                  </a:cubicBezTo>
                  <a:cubicBezTo>
                    <a:pt x="573" y="1763"/>
                    <a:pt x="529" y="1770"/>
                    <a:pt x="515" y="1760"/>
                  </a:cubicBezTo>
                  <a:cubicBezTo>
                    <a:pt x="507" y="1744"/>
                    <a:pt x="505" y="1757"/>
                    <a:pt x="482" y="1737"/>
                  </a:cubicBezTo>
                  <a:cubicBezTo>
                    <a:pt x="481" y="1732"/>
                    <a:pt x="483" y="1726"/>
                    <a:pt x="479" y="1722"/>
                  </a:cubicBezTo>
                  <a:cubicBezTo>
                    <a:pt x="475" y="1718"/>
                    <a:pt x="469" y="1720"/>
                    <a:pt x="464" y="1718"/>
                  </a:cubicBezTo>
                  <a:cubicBezTo>
                    <a:pt x="438" y="1706"/>
                    <a:pt x="453" y="1694"/>
                    <a:pt x="417" y="1701"/>
                  </a:cubicBezTo>
                  <a:cubicBezTo>
                    <a:pt x="409" y="1694"/>
                    <a:pt x="426" y="1679"/>
                    <a:pt x="426" y="1670"/>
                  </a:cubicBezTo>
                  <a:cubicBezTo>
                    <a:pt x="426" y="1661"/>
                    <a:pt x="409" y="1651"/>
                    <a:pt x="417" y="1646"/>
                  </a:cubicBezTo>
                  <a:cubicBezTo>
                    <a:pt x="433" y="1649"/>
                    <a:pt x="460" y="1645"/>
                    <a:pt x="477" y="1641"/>
                  </a:cubicBezTo>
                  <a:cubicBezTo>
                    <a:pt x="502" y="1632"/>
                    <a:pt x="496" y="1638"/>
                    <a:pt x="508" y="1652"/>
                  </a:cubicBezTo>
                  <a:cubicBezTo>
                    <a:pt x="514" y="1668"/>
                    <a:pt x="508" y="1661"/>
                    <a:pt x="523" y="1666"/>
                  </a:cubicBezTo>
                  <a:cubicBezTo>
                    <a:pt x="530" y="1668"/>
                    <a:pt x="549" y="1665"/>
                    <a:pt x="549" y="1665"/>
                  </a:cubicBezTo>
                  <a:cubicBezTo>
                    <a:pt x="558" y="1664"/>
                    <a:pt x="563" y="1674"/>
                    <a:pt x="571" y="1670"/>
                  </a:cubicBezTo>
                  <a:cubicBezTo>
                    <a:pt x="574" y="1657"/>
                    <a:pt x="568" y="1619"/>
                    <a:pt x="560" y="1607"/>
                  </a:cubicBezTo>
                  <a:cubicBezTo>
                    <a:pt x="570" y="1582"/>
                    <a:pt x="576" y="1592"/>
                    <a:pt x="593" y="1595"/>
                  </a:cubicBezTo>
                  <a:cubicBezTo>
                    <a:pt x="588" y="1613"/>
                    <a:pt x="601" y="1625"/>
                    <a:pt x="619" y="1629"/>
                  </a:cubicBezTo>
                  <a:cubicBezTo>
                    <a:pt x="634" y="1628"/>
                    <a:pt x="650" y="1632"/>
                    <a:pt x="663" y="1626"/>
                  </a:cubicBezTo>
                  <a:cubicBezTo>
                    <a:pt x="669" y="1623"/>
                    <a:pt x="631" y="1616"/>
                    <a:pt x="676" y="1595"/>
                  </a:cubicBezTo>
                  <a:cubicBezTo>
                    <a:pt x="717" y="1595"/>
                    <a:pt x="720" y="1580"/>
                    <a:pt x="727" y="1579"/>
                  </a:cubicBezTo>
                  <a:cubicBezTo>
                    <a:pt x="760" y="1520"/>
                    <a:pt x="707" y="1526"/>
                    <a:pt x="778" y="1520"/>
                  </a:cubicBezTo>
                  <a:cubicBezTo>
                    <a:pt x="794" y="1514"/>
                    <a:pt x="797" y="1506"/>
                    <a:pt x="813" y="1502"/>
                  </a:cubicBezTo>
                  <a:cubicBezTo>
                    <a:pt x="815" y="1499"/>
                    <a:pt x="824" y="1501"/>
                    <a:pt x="827" y="1499"/>
                  </a:cubicBezTo>
                  <a:cubicBezTo>
                    <a:pt x="832" y="1497"/>
                    <a:pt x="828" y="1489"/>
                    <a:pt x="831" y="1485"/>
                  </a:cubicBezTo>
                  <a:cubicBezTo>
                    <a:pt x="836" y="1478"/>
                    <a:pt x="848" y="1476"/>
                    <a:pt x="851" y="1468"/>
                  </a:cubicBezTo>
                  <a:cubicBezTo>
                    <a:pt x="855" y="1456"/>
                    <a:pt x="875" y="1434"/>
                    <a:pt x="885" y="1427"/>
                  </a:cubicBezTo>
                  <a:cubicBezTo>
                    <a:pt x="901" y="1431"/>
                    <a:pt x="905" y="1436"/>
                    <a:pt x="918" y="1423"/>
                  </a:cubicBezTo>
                  <a:cubicBezTo>
                    <a:pt x="886" y="1414"/>
                    <a:pt x="906" y="1433"/>
                    <a:pt x="887" y="1407"/>
                  </a:cubicBezTo>
                  <a:cubicBezTo>
                    <a:pt x="890" y="1384"/>
                    <a:pt x="919" y="1389"/>
                    <a:pt x="929" y="1369"/>
                  </a:cubicBezTo>
                  <a:cubicBezTo>
                    <a:pt x="951" y="1370"/>
                    <a:pt x="960" y="1361"/>
                    <a:pt x="982" y="1363"/>
                  </a:cubicBezTo>
                  <a:cubicBezTo>
                    <a:pt x="986" y="1363"/>
                    <a:pt x="991" y="1376"/>
                    <a:pt x="995" y="1375"/>
                  </a:cubicBezTo>
                  <a:cubicBezTo>
                    <a:pt x="1002" y="1374"/>
                    <a:pt x="997" y="1349"/>
                    <a:pt x="1001" y="1346"/>
                  </a:cubicBezTo>
                  <a:cubicBezTo>
                    <a:pt x="1007" y="1341"/>
                    <a:pt x="1024" y="1346"/>
                    <a:pt x="1031" y="1343"/>
                  </a:cubicBezTo>
                  <a:cubicBezTo>
                    <a:pt x="1036" y="1357"/>
                    <a:pt x="1045" y="1358"/>
                    <a:pt x="1055" y="1360"/>
                  </a:cubicBezTo>
                  <a:cubicBezTo>
                    <a:pt x="1060" y="1343"/>
                    <a:pt x="1057" y="1333"/>
                    <a:pt x="1081" y="1333"/>
                  </a:cubicBezTo>
                  <a:cubicBezTo>
                    <a:pt x="1075" y="1313"/>
                    <a:pt x="1069" y="1306"/>
                    <a:pt x="1081" y="1287"/>
                  </a:cubicBezTo>
                  <a:cubicBezTo>
                    <a:pt x="1080" y="1282"/>
                    <a:pt x="1078" y="1280"/>
                    <a:pt x="1075" y="1276"/>
                  </a:cubicBezTo>
                  <a:cubicBezTo>
                    <a:pt x="1072" y="1272"/>
                    <a:pt x="1066" y="1267"/>
                    <a:pt x="1065" y="1262"/>
                  </a:cubicBezTo>
                  <a:cubicBezTo>
                    <a:pt x="1052" y="1218"/>
                    <a:pt x="1081" y="1232"/>
                    <a:pt x="1055" y="1223"/>
                  </a:cubicBezTo>
                  <a:cubicBezTo>
                    <a:pt x="1046" y="1199"/>
                    <a:pt x="1044" y="1191"/>
                    <a:pt x="1045" y="1161"/>
                  </a:cubicBezTo>
                  <a:cubicBezTo>
                    <a:pt x="1043" y="1151"/>
                    <a:pt x="1051" y="1147"/>
                    <a:pt x="1051" y="1137"/>
                  </a:cubicBezTo>
                  <a:cubicBezTo>
                    <a:pt x="1055" y="1129"/>
                    <a:pt x="1065" y="1132"/>
                    <a:pt x="1074" y="1127"/>
                  </a:cubicBezTo>
                  <a:cubicBezTo>
                    <a:pt x="1083" y="1122"/>
                    <a:pt x="1095" y="1110"/>
                    <a:pt x="1103" y="1106"/>
                  </a:cubicBezTo>
                  <a:cubicBezTo>
                    <a:pt x="1112" y="1098"/>
                    <a:pt x="1113" y="1110"/>
                    <a:pt x="1121" y="1101"/>
                  </a:cubicBezTo>
                  <a:cubicBezTo>
                    <a:pt x="1126" y="1101"/>
                    <a:pt x="1130" y="1104"/>
                    <a:pt x="1132" y="1108"/>
                  </a:cubicBezTo>
                  <a:cubicBezTo>
                    <a:pt x="1134" y="1112"/>
                    <a:pt x="1128" y="1118"/>
                    <a:pt x="1132" y="1124"/>
                  </a:cubicBezTo>
                  <a:cubicBezTo>
                    <a:pt x="1137" y="1142"/>
                    <a:pt x="1140" y="1137"/>
                    <a:pt x="1157" y="1143"/>
                  </a:cubicBezTo>
                  <a:cubicBezTo>
                    <a:pt x="1152" y="1160"/>
                    <a:pt x="1134" y="1179"/>
                    <a:pt x="1125" y="1194"/>
                  </a:cubicBezTo>
                  <a:cubicBezTo>
                    <a:pt x="1126" y="1200"/>
                    <a:pt x="1110" y="1209"/>
                    <a:pt x="1114" y="1213"/>
                  </a:cubicBezTo>
                  <a:cubicBezTo>
                    <a:pt x="1117" y="1216"/>
                    <a:pt x="1136" y="1207"/>
                    <a:pt x="1139" y="1209"/>
                  </a:cubicBezTo>
                  <a:cubicBezTo>
                    <a:pt x="1145" y="1212"/>
                    <a:pt x="1146" y="1222"/>
                    <a:pt x="1151" y="1227"/>
                  </a:cubicBezTo>
                  <a:cubicBezTo>
                    <a:pt x="1156" y="1244"/>
                    <a:pt x="1159" y="1251"/>
                    <a:pt x="1144" y="1261"/>
                  </a:cubicBezTo>
                  <a:cubicBezTo>
                    <a:pt x="1130" y="1238"/>
                    <a:pt x="1132" y="1236"/>
                    <a:pt x="1106" y="1227"/>
                  </a:cubicBezTo>
                  <a:cubicBezTo>
                    <a:pt x="1096" y="1249"/>
                    <a:pt x="1111" y="1253"/>
                    <a:pt x="1122" y="1271"/>
                  </a:cubicBezTo>
                  <a:cubicBezTo>
                    <a:pt x="1126" y="1300"/>
                    <a:pt x="1121" y="1292"/>
                    <a:pt x="1150" y="1300"/>
                  </a:cubicBezTo>
                  <a:cubicBezTo>
                    <a:pt x="1162" y="1291"/>
                    <a:pt x="1157" y="1291"/>
                    <a:pt x="1169" y="1301"/>
                  </a:cubicBezTo>
                  <a:cubicBezTo>
                    <a:pt x="1167" y="1305"/>
                    <a:pt x="1166" y="1308"/>
                    <a:pt x="1165" y="1312"/>
                  </a:cubicBezTo>
                  <a:cubicBezTo>
                    <a:pt x="1168" y="1317"/>
                    <a:pt x="1168" y="1325"/>
                    <a:pt x="1173" y="1327"/>
                  </a:cubicBezTo>
                  <a:cubicBezTo>
                    <a:pt x="1177" y="1329"/>
                    <a:pt x="1188" y="1321"/>
                    <a:pt x="1192" y="1318"/>
                  </a:cubicBezTo>
                  <a:cubicBezTo>
                    <a:pt x="1199" y="1313"/>
                    <a:pt x="1200" y="1312"/>
                    <a:pt x="1207" y="1307"/>
                  </a:cubicBezTo>
                  <a:cubicBezTo>
                    <a:pt x="1211" y="1304"/>
                    <a:pt x="1218" y="1306"/>
                    <a:pt x="1222" y="1303"/>
                  </a:cubicBezTo>
                  <a:cubicBezTo>
                    <a:pt x="1232" y="1296"/>
                    <a:pt x="1255" y="1288"/>
                    <a:pt x="1255" y="1288"/>
                  </a:cubicBezTo>
                  <a:cubicBezTo>
                    <a:pt x="1273" y="1294"/>
                    <a:pt x="1251" y="1293"/>
                    <a:pt x="1265" y="1304"/>
                  </a:cubicBezTo>
                  <a:cubicBezTo>
                    <a:pt x="1274" y="1311"/>
                    <a:pt x="1288" y="1318"/>
                    <a:pt x="1288" y="1318"/>
                  </a:cubicBezTo>
                  <a:cubicBezTo>
                    <a:pt x="1294" y="1320"/>
                    <a:pt x="1297" y="1342"/>
                    <a:pt x="1303" y="1342"/>
                  </a:cubicBezTo>
                  <a:cubicBezTo>
                    <a:pt x="1309" y="1342"/>
                    <a:pt x="1315" y="1322"/>
                    <a:pt x="1323" y="1316"/>
                  </a:cubicBezTo>
                  <a:cubicBezTo>
                    <a:pt x="1331" y="1310"/>
                    <a:pt x="1338" y="1314"/>
                    <a:pt x="1354" y="1305"/>
                  </a:cubicBezTo>
                  <a:cubicBezTo>
                    <a:pt x="1370" y="1294"/>
                    <a:pt x="1399" y="1272"/>
                    <a:pt x="1419" y="1262"/>
                  </a:cubicBezTo>
                  <a:cubicBezTo>
                    <a:pt x="1433" y="1243"/>
                    <a:pt x="1451" y="1241"/>
                    <a:pt x="1476" y="1246"/>
                  </a:cubicBezTo>
                  <a:cubicBezTo>
                    <a:pt x="1486" y="1262"/>
                    <a:pt x="1485" y="1270"/>
                    <a:pt x="1504" y="1274"/>
                  </a:cubicBezTo>
                  <a:cubicBezTo>
                    <a:pt x="1514" y="1275"/>
                    <a:pt x="1525" y="1270"/>
                    <a:pt x="1530" y="1261"/>
                  </a:cubicBezTo>
                  <a:cubicBezTo>
                    <a:pt x="1536" y="1255"/>
                    <a:pt x="1534" y="1227"/>
                    <a:pt x="1534" y="1227"/>
                  </a:cubicBezTo>
                  <a:cubicBezTo>
                    <a:pt x="1563" y="1216"/>
                    <a:pt x="1589" y="1225"/>
                    <a:pt x="1566" y="1135"/>
                  </a:cubicBezTo>
                  <a:cubicBezTo>
                    <a:pt x="1559" y="1104"/>
                    <a:pt x="1564" y="1076"/>
                    <a:pt x="1568" y="1050"/>
                  </a:cubicBezTo>
                  <a:cubicBezTo>
                    <a:pt x="1573" y="1027"/>
                    <a:pt x="1588" y="1021"/>
                    <a:pt x="1606" y="1010"/>
                  </a:cubicBezTo>
                  <a:cubicBezTo>
                    <a:pt x="1623" y="1021"/>
                    <a:pt x="1631" y="1036"/>
                    <a:pt x="1649" y="1053"/>
                  </a:cubicBezTo>
                  <a:cubicBezTo>
                    <a:pt x="1675" y="1061"/>
                    <a:pt x="1697" y="1048"/>
                    <a:pt x="1675" y="1009"/>
                  </a:cubicBezTo>
                  <a:cubicBezTo>
                    <a:pt x="1664" y="980"/>
                    <a:pt x="1684" y="986"/>
                    <a:pt x="1675" y="957"/>
                  </a:cubicBezTo>
                  <a:cubicBezTo>
                    <a:pt x="1670" y="947"/>
                    <a:pt x="1650" y="951"/>
                    <a:pt x="1642" y="946"/>
                  </a:cubicBezTo>
                  <a:cubicBezTo>
                    <a:pt x="1634" y="939"/>
                    <a:pt x="1632" y="938"/>
                    <a:pt x="1627" y="928"/>
                  </a:cubicBezTo>
                  <a:cubicBezTo>
                    <a:pt x="1624" y="921"/>
                    <a:pt x="1619" y="906"/>
                    <a:pt x="1619" y="906"/>
                  </a:cubicBezTo>
                  <a:cubicBezTo>
                    <a:pt x="1631" y="894"/>
                    <a:pt x="1635" y="885"/>
                    <a:pt x="1651" y="880"/>
                  </a:cubicBezTo>
                  <a:cubicBezTo>
                    <a:pt x="1662" y="873"/>
                    <a:pt x="1671" y="869"/>
                    <a:pt x="1685" y="862"/>
                  </a:cubicBezTo>
                  <a:cubicBezTo>
                    <a:pt x="1695" y="853"/>
                    <a:pt x="1710" y="857"/>
                    <a:pt x="1723" y="854"/>
                  </a:cubicBezTo>
                  <a:cubicBezTo>
                    <a:pt x="1744" y="857"/>
                    <a:pt x="1754" y="844"/>
                    <a:pt x="1773" y="851"/>
                  </a:cubicBezTo>
                  <a:cubicBezTo>
                    <a:pt x="1787" y="837"/>
                    <a:pt x="1786" y="838"/>
                    <a:pt x="1783" y="818"/>
                  </a:cubicBezTo>
                  <a:cubicBezTo>
                    <a:pt x="1789" y="797"/>
                    <a:pt x="1841" y="802"/>
                    <a:pt x="1851" y="788"/>
                  </a:cubicBezTo>
                  <a:cubicBezTo>
                    <a:pt x="1849" y="765"/>
                    <a:pt x="1803" y="784"/>
                    <a:pt x="1792" y="778"/>
                  </a:cubicBezTo>
                  <a:cubicBezTo>
                    <a:pt x="1781" y="772"/>
                    <a:pt x="1792" y="753"/>
                    <a:pt x="1783" y="753"/>
                  </a:cubicBezTo>
                  <a:cubicBezTo>
                    <a:pt x="1770" y="753"/>
                    <a:pt x="1758" y="775"/>
                    <a:pt x="1738" y="780"/>
                  </a:cubicBezTo>
                  <a:cubicBezTo>
                    <a:pt x="1718" y="800"/>
                    <a:pt x="1704" y="789"/>
                    <a:pt x="1672" y="811"/>
                  </a:cubicBezTo>
                  <a:cubicBezTo>
                    <a:pt x="1660" y="825"/>
                    <a:pt x="1643" y="831"/>
                    <a:pt x="1625" y="837"/>
                  </a:cubicBezTo>
                  <a:cubicBezTo>
                    <a:pt x="1618" y="839"/>
                    <a:pt x="1590" y="851"/>
                    <a:pt x="1590" y="851"/>
                  </a:cubicBezTo>
                  <a:cubicBezTo>
                    <a:pt x="1552" y="837"/>
                    <a:pt x="1568" y="833"/>
                    <a:pt x="1524" y="830"/>
                  </a:cubicBezTo>
                  <a:cubicBezTo>
                    <a:pt x="1531" y="805"/>
                    <a:pt x="1527" y="801"/>
                    <a:pt x="1531" y="784"/>
                  </a:cubicBezTo>
                  <a:cubicBezTo>
                    <a:pt x="1526" y="754"/>
                    <a:pt x="1532" y="724"/>
                    <a:pt x="1511" y="703"/>
                  </a:cubicBezTo>
                  <a:cubicBezTo>
                    <a:pt x="1501" y="666"/>
                    <a:pt x="1494" y="649"/>
                    <a:pt x="1510" y="626"/>
                  </a:cubicBezTo>
                  <a:cubicBezTo>
                    <a:pt x="1521" y="597"/>
                    <a:pt x="1549" y="567"/>
                    <a:pt x="1567" y="533"/>
                  </a:cubicBezTo>
                  <a:cubicBezTo>
                    <a:pt x="1571" y="503"/>
                    <a:pt x="1595" y="465"/>
                    <a:pt x="1596" y="446"/>
                  </a:cubicBezTo>
                  <a:cubicBezTo>
                    <a:pt x="1588" y="415"/>
                    <a:pt x="1575" y="426"/>
                    <a:pt x="1547" y="422"/>
                  </a:cubicBezTo>
                  <a:cubicBezTo>
                    <a:pt x="1521" y="423"/>
                    <a:pt x="1515" y="418"/>
                    <a:pt x="1505" y="445"/>
                  </a:cubicBezTo>
                  <a:cubicBezTo>
                    <a:pt x="1506" y="451"/>
                    <a:pt x="1488" y="458"/>
                    <a:pt x="1488" y="464"/>
                  </a:cubicBezTo>
                  <a:cubicBezTo>
                    <a:pt x="1490" y="474"/>
                    <a:pt x="1474" y="494"/>
                    <a:pt x="1475" y="505"/>
                  </a:cubicBezTo>
                  <a:cubicBezTo>
                    <a:pt x="1476" y="516"/>
                    <a:pt x="1494" y="518"/>
                    <a:pt x="1495" y="529"/>
                  </a:cubicBezTo>
                  <a:cubicBezTo>
                    <a:pt x="1496" y="540"/>
                    <a:pt x="1493" y="554"/>
                    <a:pt x="1479" y="574"/>
                  </a:cubicBezTo>
                  <a:cubicBezTo>
                    <a:pt x="1426" y="627"/>
                    <a:pt x="1433" y="627"/>
                    <a:pt x="1410" y="651"/>
                  </a:cubicBezTo>
                  <a:cubicBezTo>
                    <a:pt x="1397" y="665"/>
                    <a:pt x="1390" y="678"/>
                    <a:pt x="1386" y="697"/>
                  </a:cubicBezTo>
                  <a:cubicBezTo>
                    <a:pt x="1384" y="708"/>
                    <a:pt x="1381" y="729"/>
                    <a:pt x="1381" y="729"/>
                  </a:cubicBezTo>
                  <a:cubicBezTo>
                    <a:pt x="1378" y="759"/>
                    <a:pt x="1369" y="803"/>
                    <a:pt x="1387" y="828"/>
                  </a:cubicBezTo>
                  <a:cubicBezTo>
                    <a:pt x="1389" y="834"/>
                    <a:pt x="1403" y="832"/>
                    <a:pt x="1410" y="835"/>
                  </a:cubicBezTo>
                  <a:cubicBezTo>
                    <a:pt x="1418" y="839"/>
                    <a:pt x="1429" y="843"/>
                    <a:pt x="1429" y="843"/>
                  </a:cubicBezTo>
                  <a:cubicBezTo>
                    <a:pt x="1442" y="851"/>
                    <a:pt x="1449" y="866"/>
                    <a:pt x="1457" y="879"/>
                  </a:cubicBezTo>
                  <a:cubicBezTo>
                    <a:pt x="1455" y="891"/>
                    <a:pt x="1435" y="908"/>
                    <a:pt x="1418" y="914"/>
                  </a:cubicBezTo>
                  <a:cubicBezTo>
                    <a:pt x="1410" y="922"/>
                    <a:pt x="1404" y="922"/>
                    <a:pt x="1407" y="925"/>
                  </a:cubicBezTo>
                  <a:cubicBezTo>
                    <a:pt x="1405" y="929"/>
                    <a:pt x="1437" y="926"/>
                    <a:pt x="1439" y="931"/>
                  </a:cubicBezTo>
                  <a:cubicBezTo>
                    <a:pt x="1441" y="936"/>
                    <a:pt x="1425" y="955"/>
                    <a:pt x="1420" y="957"/>
                  </a:cubicBezTo>
                  <a:cubicBezTo>
                    <a:pt x="1415" y="959"/>
                    <a:pt x="1414" y="941"/>
                    <a:pt x="1410" y="943"/>
                  </a:cubicBezTo>
                  <a:cubicBezTo>
                    <a:pt x="1398" y="951"/>
                    <a:pt x="1410" y="963"/>
                    <a:pt x="1397" y="967"/>
                  </a:cubicBezTo>
                  <a:cubicBezTo>
                    <a:pt x="1386" y="984"/>
                    <a:pt x="1345" y="976"/>
                    <a:pt x="1366" y="982"/>
                  </a:cubicBezTo>
                  <a:cubicBezTo>
                    <a:pt x="1367" y="986"/>
                    <a:pt x="1383" y="987"/>
                    <a:pt x="1383" y="991"/>
                  </a:cubicBezTo>
                  <a:cubicBezTo>
                    <a:pt x="1382" y="999"/>
                    <a:pt x="1387" y="1012"/>
                    <a:pt x="1383" y="1027"/>
                  </a:cubicBezTo>
                  <a:cubicBezTo>
                    <a:pt x="1384" y="1050"/>
                    <a:pt x="1382" y="1131"/>
                    <a:pt x="1351" y="1157"/>
                  </a:cubicBezTo>
                  <a:cubicBezTo>
                    <a:pt x="1309" y="1160"/>
                    <a:pt x="1310" y="1174"/>
                    <a:pt x="1295" y="1179"/>
                  </a:cubicBezTo>
                  <a:cubicBezTo>
                    <a:pt x="1287" y="1191"/>
                    <a:pt x="1306" y="1209"/>
                    <a:pt x="1299" y="1219"/>
                  </a:cubicBezTo>
                  <a:cubicBezTo>
                    <a:pt x="1295" y="1225"/>
                    <a:pt x="1280" y="1214"/>
                    <a:pt x="1273" y="1217"/>
                  </a:cubicBezTo>
                  <a:cubicBezTo>
                    <a:pt x="1267" y="1216"/>
                    <a:pt x="1250" y="1228"/>
                    <a:pt x="1247" y="1223"/>
                  </a:cubicBezTo>
                  <a:cubicBezTo>
                    <a:pt x="1241" y="1211"/>
                    <a:pt x="1228" y="1176"/>
                    <a:pt x="1225" y="1163"/>
                  </a:cubicBezTo>
                  <a:cubicBezTo>
                    <a:pt x="1223" y="1151"/>
                    <a:pt x="1238" y="1147"/>
                    <a:pt x="1235" y="1135"/>
                  </a:cubicBezTo>
                  <a:cubicBezTo>
                    <a:pt x="1233" y="1116"/>
                    <a:pt x="1219" y="1110"/>
                    <a:pt x="1205" y="1094"/>
                  </a:cubicBezTo>
                  <a:cubicBezTo>
                    <a:pt x="1198" y="1086"/>
                    <a:pt x="1195" y="1068"/>
                    <a:pt x="1195" y="1068"/>
                  </a:cubicBezTo>
                  <a:cubicBezTo>
                    <a:pt x="1190" y="1056"/>
                    <a:pt x="1192" y="1046"/>
                    <a:pt x="1182" y="1037"/>
                  </a:cubicBezTo>
                  <a:cubicBezTo>
                    <a:pt x="1172" y="999"/>
                    <a:pt x="1158" y="934"/>
                    <a:pt x="1145" y="897"/>
                  </a:cubicBezTo>
                  <a:cubicBezTo>
                    <a:pt x="1135" y="925"/>
                    <a:pt x="1134" y="957"/>
                    <a:pt x="1114" y="955"/>
                  </a:cubicBezTo>
                  <a:cubicBezTo>
                    <a:pt x="1092" y="977"/>
                    <a:pt x="1100" y="980"/>
                    <a:pt x="1069" y="1002"/>
                  </a:cubicBezTo>
                  <a:cubicBezTo>
                    <a:pt x="1059" y="1017"/>
                    <a:pt x="1045" y="1027"/>
                    <a:pt x="1029" y="1035"/>
                  </a:cubicBezTo>
                  <a:cubicBezTo>
                    <a:pt x="1019" y="1026"/>
                    <a:pt x="998" y="1024"/>
                    <a:pt x="989" y="1015"/>
                  </a:cubicBezTo>
                  <a:cubicBezTo>
                    <a:pt x="984" y="996"/>
                    <a:pt x="972" y="998"/>
                    <a:pt x="959" y="977"/>
                  </a:cubicBezTo>
                  <a:cubicBezTo>
                    <a:pt x="956" y="969"/>
                    <a:pt x="954" y="961"/>
                    <a:pt x="959" y="957"/>
                  </a:cubicBezTo>
                  <a:cubicBezTo>
                    <a:pt x="964" y="953"/>
                    <a:pt x="988" y="958"/>
                    <a:pt x="990" y="956"/>
                  </a:cubicBezTo>
                  <a:cubicBezTo>
                    <a:pt x="992" y="954"/>
                    <a:pt x="971" y="951"/>
                    <a:pt x="969" y="945"/>
                  </a:cubicBezTo>
                  <a:cubicBezTo>
                    <a:pt x="967" y="939"/>
                    <a:pt x="979" y="921"/>
                    <a:pt x="976" y="919"/>
                  </a:cubicBezTo>
                  <a:cubicBezTo>
                    <a:pt x="973" y="917"/>
                    <a:pt x="949" y="936"/>
                    <a:pt x="948" y="933"/>
                  </a:cubicBezTo>
                  <a:cubicBezTo>
                    <a:pt x="947" y="930"/>
                    <a:pt x="970" y="906"/>
                    <a:pt x="970" y="899"/>
                  </a:cubicBezTo>
                  <a:cubicBezTo>
                    <a:pt x="970" y="892"/>
                    <a:pt x="938" y="899"/>
                    <a:pt x="946" y="890"/>
                  </a:cubicBezTo>
                  <a:cubicBezTo>
                    <a:pt x="954" y="881"/>
                    <a:pt x="1015" y="851"/>
                    <a:pt x="1018" y="847"/>
                  </a:cubicBezTo>
                  <a:cubicBezTo>
                    <a:pt x="1021" y="843"/>
                    <a:pt x="978" y="863"/>
                    <a:pt x="966" y="865"/>
                  </a:cubicBezTo>
                  <a:cubicBezTo>
                    <a:pt x="954" y="867"/>
                    <a:pt x="951" y="866"/>
                    <a:pt x="946" y="856"/>
                  </a:cubicBezTo>
                  <a:cubicBezTo>
                    <a:pt x="941" y="846"/>
                    <a:pt x="945" y="829"/>
                    <a:pt x="939" y="803"/>
                  </a:cubicBezTo>
                  <a:cubicBezTo>
                    <a:pt x="938" y="793"/>
                    <a:pt x="1043" y="800"/>
                    <a:pt x="1043" y="795"/>
                  </a:cubicBezTo>
                  <a:cubicBezTo>
                    <a:pt x="1045" y="792"/>
                    <a:pt x="962" y="793"/>
                    <a:pt x="948" y="785"/>
                  </a:cubicBezTo>
                  <a:cubicBezTo>
                    <a:pt x="934" y="777"/>
                    <a:pt x="948" y="755"/>
                    <a:pt x="959" y="749"/>
                  </a:cubicBezTo>
                  <a:cubicBezTo>
                    <a:pt x="963" y="740"/>
                    <a:pt x="999" y="764"/>
                    <a:pt x="1012" y="751"/>
                  </a:cubicBezTo>
                  <a:cubicBezTo>
                    <a:pt x="1013" y="749"/>
                    <a:pt x="965" y="743"/>
                    <a:pt x="965" y="735"/>
                  </a:cubicBezTo>
                  <a:cubicBezTo>
                    <a:pt x="965" y="727"/>
                    <a:pt x="1000" y="703"/>
                    <a:pt x="1009" y="701"/>
                  </a:cubicBezTo>
                  <a:cubicBezTo>
                    <a:pt x="1018" y="699"/>
                    <a:pt x="1017" y="728"/>
                    <a:pt x="1019" y="723"/>
                  </a:cubicBezTo>
                  <a:cubicBezTo>
                    <a:pt x="1021" y="718"/>
                    <a:pt x="1016" y="677"/>
                    <a:pt x="1024" y="668"/>
                  </a:cubicBezTo>
                  <a:cubicBezTo>
                    <a:pt x="1032" y="659"/>
                    <a:pt x="1054" y="679"/>
                    <a:pt x="1066" y="671"/>
                  </a:cubicBezTo>
                  <a:cubicBezTo>
                    <a:pt x="1078" y="663"/>
                    <a:pt x="1089" y="632"/>
                    <a:pt x="1097" y="621"/>
                  </a:cubicBezTo>
                  <a:cubicBezTo>
                    <a:pt x="1107" y="616"/>
                    <a:pt x="1116" y="638"/>
                    <a:pt x="1125" y="640"/>
                  </a:cubicBezTo>
                  <a:cubicBezTo>
                    <a:pt x="1129" y="639"/>
                    <a:pt x="1153" y="641"/>
                    <a:pt x="1153" y="632"/>
                  </a:cubicBezTo>
                  <a:cubicBezTo>
                    <a:pt x="1160" y="626"/>
                    <a:pt x="1172" y="606"/>
                    <a:pt x="1168" y="604"/>
                  </a:cubicBezTo>
                  <a:cubicBezTo>
                    <a:pt x="1164" y="602"/>
                    <a:pt x="1134" y="623"/>
                    <a:pt x="1127" y="620"/>
                  </a:cubicBezTo>
                  <a:cubicBezTo>
                    <a:pt x="1120" y="617"/>
                    <a:pt x="1121" y="598"/>
                    <a:pt x="1124" y="588"/>
                  </a:cubicBezTo>
                  <a:cubicBezTo>
                    <a:pt x="1127" y="578"/>
                    <a:pt x="1134" y="568"/>
                    <a:pt x="1143" y="559"/>
                  </a:cubicBezTo>
                  <a:cubicBezTo>
                    <a:pt x="1151" y="549"/>
                    <a:pt x="1166" y="544"/>
                    <a:pt x="1176" y="532"/>
                  </a:cubicBezTo>
                  <a:cubicBezTo>
                    <a:pt x="1186" y="520"/>
                    <a:pt x="1197" y="500"/>
                    <a:pt x="1203" y="485"/>
                  </a:cubicBezTo>
                  <a:cubicBezTo>
                    <a:pt x="1215" y="465"/>
                    <a:pt x="1210" y="451"/>
                    <a:pt x="1212" y="439"/>
                  </a:cubicBezTo>
                  <a:cubicBezTo>
                    <a:pt x="1219" y="429"/>
                    <a:pt x="1243" y="428"/>
                    <a:pt x="1243" y="424"/>
                  </a:cubicBezTo>
                  <a:cubicBezTo>
                    <a:pt x="1243" y="420"/>
                    <a:pt x="1216" y="422"/>
                    <a:pt x="1215" y="412"/>
                  </a:cubicBezTo>
                  <a:cubicBezTo>
                    <a:pt x="1214" y="402"/>
                    <a:pt x="1224" y="374"/>
                    <a:pt x="1235" y="364"/>
                  </a:cubicBezTo>
                  <a:cubicBezTo>
                    <a:pt x="1239" y="353"/>
                    <a:pt x="1280" y="356"/>
                    <a:pt x="1282" y="352"/>
                  </a:cubicBezTo>
                  <a:cubicBezTo>
                    <a:pt x="1284" y="348"/>
                    <a:pt x="1246" y="345"/>
                    <a:pt x="1246" y="341"/>
                  </a:cubicBezTo>
                  <a:cubicBezTo>
                    <a:pt x="1246" y="337"/>
                    <a:pt x="1280" y="334"/>
                    <a:pt x="1283" y="329"/>
                  </a:cubicBezTo>
                  <a:cubicBezTo>
                    <a:pt x="1286" y="324"/>
                    <a:pt x="1267" y="317"/>
                    <a:pt x="1266" y="312"/>
                  </a:cubicBezTo>
                  <a:cubicBezTo>
                    <a:pt x="1265" y="307"/>
                    <a:pt x="1272" y="304"/>
                    <a:pt x="1277" y="297"/>
                  </a:cubicBezTo>
                  <a:cubicBezTo>
                    <a:pt x="1283" y="284"/>
                    <a:pt x="1295" y="279"/>
                    <a:pt x="1298" y="267"/>
                  </a:cubicBezTo>
                  <a:cubicBezTo>
                    <a:pt x="1302" y="261"/>
                    <a:pt x="1299" y="263"/>
                    <a:pt x="1300" y="260"/>
                  </a:cubicBezTo>
                  <a:cubicBezTo>
                    <a:pt x="1307" y="257"/>
                    <a:pt x="1338" y="252"/>
                    <a:pt x="1339" y="249"/>
                  </a:cubicBezTo>
                  <a:cubicBezTo>
                    <a:pt x="1340" y="246"/>
                    <a:pt x="1309" y="247"/>
                    <a:pt x="1305" y="241"/>
                  </a:cubicBezTo>
                  <a:cubicBezTo>
                    <a:pt x="1301" y="235"/>
                    <a:pt x="1308" y="228"/>
                    <a:pt x="1313" y="215"/>
                  </a:cubicBezTo>
                  <a:cubicBezTo>
                    <a:pt x="1331" y="202"/>
                    <a:pt x="1323" y="176"/>
                    <a:pt x="1337" y="160"/>
                  </a:cubicBezTo>
                  <a:cubicBezTo>
                    <a:pt x="1342" y="148"/>
                    <a:pt x="1340" y="141"/>
                    <a:pt x="1345" y="144"/>
                  </a:cubicBezTo>
                  <a:cubicBezTo>
                    <a:pt x="1350" y="147"/>
                    <a:pt x="1367" y="179"/>
                    <a:pt x="1369" y="177"/>
                  </a:cubicBezTo>
                  <a:cubicBezTo>
                    <a:pt x="1371" y="175"/>
                    <a:pt x="1356" y="140"/>
                    <a:pt x="1358" y="129"/>
                  </a:cubicBezTo>
                  <a:cubicBezTo>
                    <a:pt x="1360" y="118"/>
                    <a:pt x="1372" y="108"/>
                    <a:pt x="1379" y="113"/>
                  </a:cubicBezTo>
                  <a:cubicBezTo>
                    <a:pt x="1390" y="105"/>
                    <a:pt x="1392" y="158"/>
                    <a:pt x="1398" y="159"/>
                  </a:cubicBezTo>
                  <a:cubicBezTo>
                    <a:pt x="1404" y="160"/>
                    <a:pt x="1408" y="124"/>
                    <a:pt x="1413" y="118"/>
                  </a:cubicBezTo>
                  <a:cubicBezTo>
                    <a:pt x="1418" y="112"/>
                    <a:pt x="1426" y="127"/>
                    <a:pt x="1431" y="121"/>
                  </a:cubicBezTo>
                  <a:cubicBezTo>
                    <a:pt x="1446" y="106"/>
                    <a:pt x="1436" y="96"/>
                    <a:pt x="1446" y="79"/>
                  </a:cubicBezTo>
                  <a:cubicBezTo>
                    <a:pt x="1457" y="60"/>
                    <a:pt x="1500" y="24"/>
                    <a:pt x="1517" y="15"/>
                  </a:cubicBezTo>
                  <a:cubicBezTo>
                    <a:pt x="1523" y="11"/>
                    <a:pt x="1505" y="98"/>
                    <a:pt x="1512" y="95"/>
                  </a:cubicBezTo>
                  <a:cubicBezTo>
                    <a:pt x="1519" y="91"/>
                    <a:pt x="1533" y="35"/>
                    <a:pt x="1538" y="30"/>
                  </a:cubicBezTo>
                  <a:cubicBezTo>
                    <a:pt x="1543" y="25"/>
                    <a:pt x="1539" y="70"/>
                    <a:pt x="1543" y="65"/>
                  </a:cubicBezTo>
                  <a:cubicBezTo>
                    <a:pt x="1547" y="60"/>
                    <a:pt x="1557" y="5"/>
                    <a:pt x="1563" y="2"/>
                  </a:cubicBezTo>
                  <a:cubicBezTo>
                    <a:pt x="1570" y="0"/>
                    <a:pt x="1581" y="44"/>
                    <a:pt x="1581" y="44"/>
                  </a:cubicBezTo>
                  <a:cubicBezTo>
                    <a:pt x="1588" y="50"/>
                    <a:pt x="1585" y="17"/>
                    <a:pt x="1594" y="14"/>
                  </a:cubicBezTo>
                  <a:cubicBezTo>
                    <a:pt x="1603" y="11"/>
                    <a:pt x="1636" y="14"/>
                    <a:pt x="1638" y="23"/>
                  </a:cubicBezTo>
                  <a:cubicBezTo>
                    <a:pt x="1697" y="64"/>
                    <a:pt x="1607" y="58"/>
                    <a:pt x="1605" y="68"/>
                  </a:cubicBezTo>
                  <a:cubicBezTo>
                    <a:pt x="1604" y="77"/>
                    <a:pt x="1622" y="72"/>
                    <a:pt x="1632" y="75"/>
                  </a:cubicBezTo>
                  <a:cubicBezTo>
                    <a:pt x="1647" y="82"/>
                    <a:pt x="1660" y="69"/>
                    <a:pt x="1666" y="85"/>
                  </a:cubicBezTo>
                  <a:cubicBezTo>
                    <a:pt x="1654" y="101"/>
                    <a:pt x="1648" y="113"/>
                    <a:pt x="1642" y="130"/>
                  </a:cubicBezTo>
                  <a:cubicBezTo>
                    <a:pt x="1640" y="138"/>
                    <a:pt x="1630" y="149"/>
                    <a:pt x="1630" y="149"/>
                  </a:cubicBezTo>
                  <a:cubicBezTo>
                    <a:pt x="1628" y="179"/>
                    <a:pt x="1616" y="202"/>
                    <a:pt x="1650" y="211"/>
                  </a:cubicBezTo>
                  <a:cubicBezTo>
                    <a:pt x="1660" y="219"/>
                    <a:pt x="1679" y="227"/>
                    <a:pt x="1687" y="237"/>
                  </a:cubicBezTo>
                  <a:cubicBezTo>
                    <a:pt x="1697" y="266"/>
                    <a:pt x="1663" y="277"/>
                    <a:pt x="1677" y="305"/>
                  </a:cubicBezTo>
                  <a:cubicBezTo>
                    <a:pt x="1681" y="313"/>
                    <a:pt x="1721" y="357"/>
                    <a:pt x="1728" y="364"/>
                  </a:cubicBezTo>
                  <a:cubicBezTo>
                    <a:pt x="1737" y="390"/>
                    <a:pt x="1721" y="379"/>
                    <a:pt x="1726" y="398"/>
                  </a:cubicBezTo>
                  <a:cubicBezTo>
                    <a:pt x="1727" y="411"/>
                    <a:pt x="1739" y="445"/>
                    <a:pt x="1751" y="460"/>
                  </a:cubicBezTo>
                  <a:cubicBezTo>
                    <a:pt x="1756" y="466"/>
                    <a:pt x="1775" y="482"/>
                    <a:pt x="1780" y="488"/>
                  </a:cubicBezTo>
                  <a:cubicBezTo>
                    <a:pt x="1771" y="520"/>
                    <a:pt x="1758" y="521"/>
                    <a:pt x="1809" y="539"/>
                  </a:cubicBezTo>
                  <a:cubicBezTo>
                    <a:pt x="1816" y="549"/>
                    <a:pt x="1836" y="565"/>
                    <a:pt x="1836" y="565"/>
                  </a:cubicBezTo>
                  <a:cubicBezTo>
                    <a:pt x="1821" y="635"/>
                    <a:pt x="1805" y="659"/>
                    <a:pt x="1797" y="684"/>
                  </a:cubicBezTo>
                  <a:cubicBezTo>
                    <a:pt x="1788" y="710"/>
                    <a:pt x="1788" y="693"/>
                    <a:pt x="1786" y="711"/>
                  </a:cubicBezTo>
                  <a:cubicBezTo>
                    <a:pt x="1833" y="707"/>
                    <a:pt x="1865" y="719"/>
                    <a:pt x="1911" y="709"/>
                  </a:cubicBezTo>
                  <a:cubicBezTo>
                    <a:pt x="1935" y="692"/>
                    <a:pt x="1914" y="657"/>
                    <a:pt x="1935" y="649"/>
                  </a:cubicBezTo>
                  <a:cubicBezTo>
                    <a:pt x="1962" y="649"/>
                    <a:pt x="1974" y="634"/>
                    <a:pt x="1992" y="645"/>
                  </a:cubicBezTo>
                  <a:cubicBezTo>
                    <a:pt x="1992" y="705"/>
                    <a:pt x="2008" y="728"/>
                    <a:pt x="2026" y="746"/>
                  </a:cubicBezTo>
                  <a:cubicBezTo>
                    <a:pt x="2032" y="768"/>
                    <a:pt x="2039" y="782"/>
                    <a:pt x="2009" y="797"/>
                  </a:cubicBezTo>
                  <a:cubicBezTo>
                    <a:pt x="2003" y="806"/>
                    <a:pt x="1961" y="793"/>
                    <a:pt x="1949" y="797"/>
                  </a:cubicBezTo>
                  <a:cubicBezTo>
                    <a:pt x="1937" y="801"/>
                    <a:pt x="1946" y="821"/>
                    <a:pt x="1937" y="824"/>
                  </a:cubicBezTo>
                  <a:cubicBezTo>
                    <a:pt x="1921" y="828"/>
                    <a:pt x="1904" y="811"/>
                    <a:pt x="1897" y="814"/>
                  </a:cubicBezTo>
                  <a:cubicBezTo>
                    <a:pt x="1890" y="817"/>
                    <a:pt x="1900" y="835"/>
                    <a:pt x="1896" y="842"/>
                  </a:cubicBezTo>
                  <a:cubicBezTo>
                    <a:pt x="1892" y="849"/>
                    <a:pt x="1887" y="848"/>
                    <a:pt x="1874" y="854"/>
                  </a:cubicBezTo>
                  <a:cubicBezTo>
                    <a:pt x="1863" y="895"/>
                    <a:pt x="1859" y="903"/>
                    <a:pt x="1818" y="877"/>
                  </a:cubicBezTo>
                  <a:cubicBezTo>
                    <a:pt x="1787" y="873"/>
                    <a:pt x="1794" y="881"/>
                    <a:pt x="1763" y="884"/>
                  </a:cubicBezTo>
                  <a:cubicBezTo>
                    <a:pt x="1752" y="896"/>
                    <a:pt x="1765" y="915"/>
                    <a:pt x="1779" y="920"/>
                  </a:cubicBezTo>
                  <a:cubicBezTo>
                    <a:pt x="1783" y="928"/>
                    <a:pt x="1798" y="947"/>
                    <a:pt x="1800" y="956"/>
                  </a:cubicBezTo>
                  <a:cubicBezTo>
                    <a:pt x="1802" y="965"/>
                    <a:pt x="1790" y="969"/>
                    <a:pt x="1793" y="977"/>
                  </a:cubicBezTo>
                  <a:cubicBezTo>
                    <a:pt x="1799" y="990"/>
                    <a:pt x="1814" y="995"/>
                    <a:pt x="1818" y="1003"/>
                  </a:cubicBezTo>
                  <a:cubicBezTo>
                    <a:pt x="1822" y="1011"/>
                    <a:pt x="1813" y="1016"/>
                    <a:pt x="1817" y="1023"/>
                  </a:cubicBezTo>
                  <a:cubicBezTo>
                    <a:pt x="1827" y="1029"/>
                    <a:pt x="1840" y="1049"/>
                    <a:pt x="1840" y="1049"/>
                  </a:cubicBezTo>
                  <a:cubicBezTo>
                    <a:pt x="1852" y="1081"/>
                    <a:pt x="1853" y="1078"/>
                    <a:pt x="1900" y="1077"/>
                  </a:cubicBezTo>
                  <a:cubicBezTo>
                    <a:pt x="1913" y="1083"/>
                    <a:pt x="1909" y="1089"/>
                    <a:pt x="1918" y="1089"/>
                  </a:cubicBezTo>
                  <a:cubicBezTo>
                    <a:pt x="1927" y="1089"/>
                    <a:pt x="1946" y="1072"/>
                    <a:pt x="1954" y="1075"/>
                  </a:cubicBezTo>
                  <a:cubicBezTo>
                    <a:pt x="1974" y="1084"/>
                    <a:pt x="1960" y="1099"/>
                    <a:pt x="1967" y="1109"/>
                  </a:cubicBezTo>
                  <a:cubicBezTo>
                    <a:pt x="1984" y="1113"/>
                    <a:pt x="1975" y="1131"/>
                    <a:pt x="1980" y="1139"/>
                  </a:cubicBezTo>
                  <a:cubicBezTo>
                    <a:pt x="1985" y="1147"/>
                    <a:pt x="1994" y="1151"/>
                    <a:pt x="2000" y="1157"/>
                  </a:cubicBezTo>
                  <a:cubicBezTo>
                    <a:pt x="2004" y="1164"/>
                    <a:pt x="2012" y="1168"/>
                    <a:pt x="2015" y="1175"/>
                  </a:cubicBezTo>
                  <a:cubicBezTo>
                    <a:pt x="2043" y="1181"/>
                    <a:pt x="2029" y="1169"/>
                    <a:pt x="2040" y="1197"/>
                  </a:cubicBezTo>
                  <a:cubicBezTo>
                    <a:pt x="2056" y="1203"/>
                    <a:pt x="2058" y="1187"/>
                    <a:pt x="2088" y="1215"/>
                  </a:cubicBezTo>
                  <a:cubicBezTo>
                    <a:pt x="2081" y="1253"/>
                    <a:pt x="2050" y="1237"/>
                    <a:pt x="2034" y="1247"/>
                  </a:cubicBezTo>
                  <a:cubicBezTo>
                    <a:pt x="2056" y="1286"/>
                    <a:pt x="2050" y="1286"/>
                    <a:pt x="2082" y="1313"/>
                  </a:cubicBezTo>
                  <a:cubicBezTo>
                    <a:pt x="2097" y="1319"/>
                    <a:pt x="2093" y="1301"/>
                    <a:pt x="2107" y="1292"/>
                  </a:cubicBezTo>
                  <a:cubicBezTo>
                    <a:pt x="2139" y="1273"/>
                    <a:pt x="2159" y="1261"/>
                    <a:pt x="2194" y="1299"/>
                  </a:cubicBezTo>
                  <a:cubicBezTo>
                    <a:pt x="2209" y="1300"/>
                    <a:pt x="2193" y="1330"/>
                    <a:pt x="2203" y="1336"/>
                  </a:cubicBezTo>
                  <a:cubicBezTo>
                    <a:pt x="2213" y="1342"/>
                    <a:pt x="2244" y="1331"/>
                    <a:pt x="2255" y="1335"/>
                  </a:cubicBezTo>
                  <a:cubicBezTo>
                    <a:pt x="2263" y="1343"/>
                    <a:pt x="2259" y="1358"/>
                    <a:pt x="2268" y="1361"/>
                  </a:cubicBezTo>
                  <a:cubicBezTo>
                    <a:pt x="2287" y="1384"/>
                    <a:pt x="2292" y="1366"/>
                    <a:pt x="2304" y="1366"/>
                  </a:cubicBezTo>
                  <a:cubicBezTo>
                    <a:pt x="2316" y="1366"/>
                    <a:pt x="2331" y="1362"/>
                    <a:pt x="2339" y="1358"/>
                  </a:cubicBezTo>
                  <a:cubicBezTo>
                    <a:pt x="2352" y="1355"/>
                    <a:pt x="2343" y="1346"/>
                    <a:pt x="2356" y="1343"/>
                  </a:cubicBezTo>
                  <a:cubicBezTo>
                    <a:pt x="2386" y="1365"/>
                    <a:pt x="2397" y="1369"/>
                    <a:pt x="2406" y="1353"/>
                  </a:cubicBezTo>
                  <a:cubicBezTo>
                    <a:pt x="2435" y="1360"/>
                    <a:pt x="2441" y="1360"/>
                    <a:pt x="2460" y="1351"/>
                  </a:cubicBezTo>
                  <a:cubicBezTo>
                    <a:pt x="2491" y="1359"/>
                    <a:pt x="2492" y="1350"/>
                    <a:pt x="2509" y="1367"/>
                  </a:cubicBezTo>
                  <a:cubicBezTo>
                    <a:pt x="2494" y="1405"/>
                    <a:pt x="2531" y="1441"/>
                    <a:pt x="2537" y="1473"/>
                  </a:cubicBezTo>
                  <a:cubicBezTo>
                    <a:pt x="2532" y="1487"/>
                    <a:pt x="2509" y="1482"/>
                    <a:pt x="2497" y="1490"/>
                  </a:cubicBezTo>
                  <a:cubicBezTo>
                    <a:pt x="2490" y="1495"/>
                    <a:pt x="2476" y="1511"/>
                    <a:pt x="2476" y="1511"/>
                  </a:cubicBezTo>
                  <a:cubicBezTo>
                    <a:pt x="2475" y="1526"/>
                    <a:pt x="2487" y="1538"/>
                    <a:pt x="2484" y="1553"/>
                  </a:cubicBezTo>
                  <a:cubicBezTo>
                    <a:pt x="2463" y="1565"/>
                    <a:pt x="2443" y="1581"/>
                    <a:pt x="2443" y="1581"/>
                  </a:cubicBezTo>
                  <a:cubicBezTo>
                    <a:pt x="2430" y="1592"/>
                    <a:pt x="2429" y="1593"/>
                    <a:pt x="2428" y="1611"/>
                  </a:cubicBezTo>
                  <a:cubicBezTo>
                    <a:pt x="2412" y="1601"/>
                    <a:pt x="2396" y="1616"/>
                    <a:pt x="2395" y="1628"/>
                  </a:cubicBezTo>
                  <a:cubicBezTo>
                    <a:pt x="2371" y="1622"/>
                    <a:pt x="2374" y="1676"/>
                    <a:pt x="2350" y="1683"/>
                  </a:cubicBezTo>
                  <a:cubicBezTo>
                    <a:pt x="2347" y="1685"/>
                    <a:pt x="2388" y="1721"/>
                    <a:pt x="2401" y="1724"/>
                  </a:cubicBezTo>
                  <a:cubicBezTo>
                    <a:pt x="2414" y="1727"/>
                    <a:pt x="2421" y="1706"/>
                    <a:pt x="2430" y="1702"/>
                  </a:cubicBezTo>
                  <a:cubicBezTo>
                    <a:pt x="2439" y="1698"/>
                    <a:pt x="2454" y="1696"/>
                    <a:pt x="2455" y="1702"/>
                  </a:cubicBezTo>
                  <a:cubicBezTo>
                    <a:pt x="2456" y="1708"/>
                    <a:pt x="2443" y="1731"/>
                    <a:pt x="2435" y="1738"/>
                  </a:cubicBezTo>
                  <a:cubicBezTo>
                    <a:pt x="2427" y="1745"/>
                    <a:pt x="2416" y="1737"/>
                    <a:pt x="2409" y="1741"/>
                  </a:cubicBezTo>
                  <a:cubicBezTo>
                    <a:pt x="2402" y="1745"/>
                    <a:pt x="2400" y="1759"/>
                    <a:pt x="2393" y="1765"/>
                  </a:cubicBezTo>
                  <a:cubicBezTo>
                    <a:pt x="2386" y="1771"/>
                    <a:pt x="2375" y="1773"/>
                    <a:pt x="2369" y="1780"/>
                  </a:cubicBezTo>
                  <a:cubicBezTo>
                    <a:pt x="2363" y="1787"/>
                    <a:pt x="2365" y="1804"/>
                    <a:pt x="2358" y="1810"/>
                  </a:cubicBezTo>
                  <a:cubicBezTo>
                    <a:pt x="2351" y="1816"/>
                    <a:pt x="2336" y="1820"/>
                    <a:pt x="2326" y="1814"/>
                  </a:cubicBezTo>
                  <a:cubicBezTo>
                    <a:pt x="2322" y="1762"/>
                    <a:pt x="2307" y="1780"/>
                    <a:pt x="2296" y="1773"/>
                  </a:cubicBezTo>
                  <a:cubicBezTo>
                    <a:pt x="2285" y="1766"/>
                    <a:pt x="2260" y="1782"/>
                    <a:pt x="2259" y="1771"/>
                  </a:cubicBezTo>
                  <a:cubicBezTo>
                    <a:pt x="2258" y="1760"/>
                    <a:pt x="2310" y="1727"/>
                    <a:pt x="2288" y="1707"/>
                  </a:cubicBezTo>
                  <a:cubicBezTo>
                    <a:pt x="2267" y="1724"/>
                    <a:pt x="2228" y="1719"/>
                    <a:pt x="2207" y="1725"/>
                  </a:cubicBezTo>
                  <a:cubicBezTo>
                    <a:pt x="2187" y="1722"/>
                    <a:pt x="2209" y="1721"/>
                    <a:pt x="2202" y="1703"/>
                  </a:cubicBezTo>
                  <a:cubicBezTo>
                    <a:pt x="2203" y="1697"/>
                    <a:pt x="2203" y="1689"/>
                    <a:pt x="2199" y="1685"/>
                  </a:cubicBezTo>
                  <a:cubicBezTo>
                    <a:pt x="2196" y="1682"/>
                    <a:pt x="2177" y="1700"/>
                    <a:pt x="2176" y="1701"/>
                  </a:cubicBezTo>
                  <a:cubicBezTo>
                    <a:pt x="2169" y="1710"/>
                    <a:pt x="2151" y="1722"/>
                    <a:pt x="2151" y="1722"/>
                  </a:cubicBezTo>
                  <a:cubicBezTo>
                    <a:pt x="2142" y="1736"/>
                    <a:pt x="2147" y="1748"/>
                    <a:pt x="2140" y="1762"/>
                  </a:cubicBezTo>
                  <a:cubicBezTo>
                    <a:pt x="2135" y="1773"/>
                    <a:pt x="2121" y="1791"/>
                    <a:pt x="2115" y="1801"/>
                  </a:cubicBezTo>
                  <a:cubicBezTo>
                    <a:pt x="2121" y="1824"/>
                    <a:pt x="2145" y="1857"/>
                    <a:pt x="2098" y="1858"/>
                  </a:cubicBezTo>
                  <a:cubicBezTo>
                    <a:pt x="2093" y="1872"/>
                    <a:pt x="2087" y="1884"/>
                    <a:pt x="2091" y="1898"/>
                  </a:cubicBezTo>
                  <a:cubicBezTo>
                    <a:pt x="2088" y="1912"/>
                    <a:pt x="2098" y="1911"/>
                    <a:pt x="2094" y="1925"/>
                  </a:cubicBezTo>
                  <a:cubicBezTo>
                    <a:pt x="2095" y="1931"/>
                    <a:pt x="2091" y="1945"/>
                    <a:pt x="2093" y="1951"/>
                  </a:cubicBezTo>
                  <a:cubicBezTo>
                    <a:pt x="2095" y="1955"/>
                    <a:pt x="2101" y="1956"/>
                    <a:pt x="2101" y="1961"/>
                  </a:cubicBezTo>
                  <a:cubicBezTo>
                    <a:pt x="2101" y="1973"/>
                    <a:pt x="2082" y="1965"/>
                    <a:pt x="2076" y="1975"/>
                  </a:cubicBezTo>
                  <a:cubicBezTo>
                    <a:pt x="2068" y="2016"/>
                    <a:pt x="2075" y="2026"/>
                    <a:pt x="2067" y="2049"/>
                  </a:cubicBezTo>
                  <a:cubicBezTo>
                    <a:pt x="2070" y="2051"/>
                    <a:pt x="2109" y="2069"/>
                    <a:pt x="2093" y="2071"/>
                  </a:cubicBezTo>
                  <a:cubicBezTo>
                    <a:pt x="2100" y="2080"/>
                    <a:pt x="2096" y="2084"/>
                    <a:pt x="2104" y="2092"/>
                  </a:cubicBezTo>
                  <a:cubicBezTo>
                    <a:pt x="2107" y="2095"/>
                    <a:pt x="2116" y="2109"/>
                    <a:pt x="2118" y="2109"/>
                  </a:cubicBezTo>
                  <a:cubicBezTo>
                    <a:pt x="2127" y="2111"/>
                    <a:pt x="2158" y="2110"/>
                    <a:pt x="2166" y="2113"/>
                  </a:cubicBezTo>
                  <a:cubicBezTo>
                    <a:pt x="2174" y="2117"/>
                    <a:pt x="2175" y="2129"/>
                    <a:pt x="2164" y="2135"/>
                  </a:cubicBezTo>
                  <a:cubicBezTo>
                    <a:pt x="2133" y="2138"/>
                    <a:pt x="2117" y="2146"/>
                    <a:pt x="2098" y="2149"/>
                  </a:cubicBezTo>
                  <a:cubicBezTo>
                    <a:pt x="2088" y="2157"/>
                    <a:pt x="2093" y="2167"/>
                    <a:pt x="2085" y="2174"/>
                  </a:cubicBezTo>
                  <a:cubicBezTo>
                    <a:pt x="2080" y="2180"/>
                    <a:pt x="2074" y="2182"/>
                    <a:pt x="2070" y="2185"/>
                  </a:cubicBezTo>
                  <a:cubicBezTo>
                    <a:pt x="2061" y="2194"/>
                    <a:pt x="2033" y="2227"/>
                    <a:pt x="2029" y="2229"/>
                  </a:cubicBezTo>
                  <a:cubicBezTo>
                    <a:pt x="2022" y="2233"/>
                    <a:pt x="2045" y="2201"/>
                    <a:pt x="2045" y="2196"/>
                  </a:cubicBezTo>
                  <a:cubicBezTo>
                    <a:pt x="2045" y="2191"/>
                    <a:pt x="2035" y="2200"/>
                    <a:pt x="2026" y="2198"/>
                  </a:cubicBezTo>
                  <a:cubicBezTo>
                    <a:pt x="2011" y="2189"/>
                    <a:pt x="2010" y="2191"/>
                    <a:pt x="1992" y="2186"/>
                  </a:cubicBezTo>
                  <a:cubicBezTo>
                    <a:pt x="1961" y="2185"/>
                    <a:pt x="1978" y="2192"/>
                    <a:pt x="1941" y="2195"/>
                  </a:cubicBezTo>
                  <a:cubicBezTo>
                    <a:pt x="1931" y="2203"/>
                    <a:pt x="1923" y="2197"/>
                    <a:pt x="1919" y="2201"/>
                  </a:cubicBezTo>
                  <a:cubicBezTo>
                    <a:pt x="1913" y="2207"/>
                    <a:pt x="1901" y="2222"/>
                    <a:pt x="1888" y="2217"/>
                  </a:cubicBezTo>
                  <a:cubicBezTo>
                    <a:pt x="1900" y="2236"/>
                    <a:pt x="1910" y="2244"/>
                    <a:pt x="1935" y="2252"/>
                  </a:cubicBezTo>
                  <a:cubicBezTo>
                    <a:pt x="1939" y="2260"/>
                    <a:pt x="1898" y="2244"/>
                    <a:pt x="1894" y="2247"/>
                  </a:cubicBezTo>
                  <a:cubicBezTo>
                    <a:pt x="1890" y="2250"/>
                    <a:pt x="1914" y="2270"/>
                    <a:pt x="1911" y="2271"/>
                  </a:cubicBezTo>
                  <a:cubicBezTo>
                    <a:pt x="1908" y="2272"/>
                    <a:pt x="1880" y="2253"/>
                    <a:pt x="1877" y="2254"/>
                  </a:cubicBezTo>
                  <a:cubicBezTo>
                    <a:pt x="1861" y="2236"/>
                    <a:pt x="1896" y="2267"/>
                    <a:pt x="1894" y="2279"/>
                  </a:cubicBezTo>
                  <a:cubicBezTo>
                    <a:pt x="1895" y="2281"/>
                    <a:pt x="1881" y="2280"/>
                    <a:pt x="1878" y="2277"/>
                  </a:cubicBezTo>
                  <a:cubicBezTo>
                    <a:pt x="1875" y="2274"/>
                    <a:pt x="1877" y="2265"/>
                    <a:pt x="1873" y="2261"/>
                  </a:cubicBezTo>
                  <a:cubicBezTo>
                    <a:pt x="1869" y="2257"/>
                    <a:pt x="1857" y="2256"/>
                    <a:pt x="1852" y="2252"/>
                  </a:cubicBezTo>
                  <a:cubicBezTo>
                    <a:pt x="1838" y="2245"/>
                    <a:pt x="1865" y="2244"/>
                    <a:pt x="1841" y="2235"/>
                  </a:cubicBezTo>
                  <a:cubicBezTo>
                    <a:pt x="1816" y="2244"/>
                    <a:pt x="1830" y="2284"/>
                    <a:pt x="1848" y="2297"/>
                  </a:cubicBezTo>
                  <a:cubicBezTo>
                    <a:pt x="1859" y="2304"/>
                    <a:pt x="1884" y="2333"/>
                    <a:pt x="1884" y="2333"/>
                  </a:cubicBezTo>
                  <a:cubicBezTo>
                    <a:pt x="1890" y="2339"/>
                    <a:pt x="1860" y="2334"/>
                    <a:pt x="1857" y="2338"/>
                  </a:cubicBezTo>
                  <a:cubicBezTo>
                    <a:pt x="1854" y="2342"/>
                    <a:pt x="1869" y="2354"/>
                    <a:pt x="1866" y="2359"/>
                  </a:cubicBezTo>
                  <a:cubicBezTo>
                    <a:pt x="1863" y="2364"/>
                    <a:pt x="1829" y="2361"/>
                    <a:pt x="1841" y="2369"/>
                  </a:cubicBezTo>
                  <a:cubicBezTo>
                    <a:pt x="1894" y="2380"/>
                    <a:pt x="1908" y="2375"/>
                    <a:pt x="1937" y="2409"/>
                  </a:cubicBezTo>
                  <a:cubicBezTo>
                    <a:pt x="1951" y="2448"/>
                    <a:pt x="1949" y="2433"/>
                    <a:pt x="1927" y="2427"/>
                  </a:cubicBezTo>
                  <a:cubicBezTo>
                    <a:pt x="1922" y="2430"/>
                    <a:pt x="1919" y="2419"/>
                    <a:pt x="1912" y="2419"/>
                  </a:cubicBezTo>
                  <a:cubicBezTo>
                    <a:pt x="1905" y="2419"/>
                    <a:pt x="1891" y="2429"/>
                    <a:pt x="1887" y="2428"/>
                  </a:cubicBezTo>
                  <a:cubicBezTo>
                    <a:pt x="1883" y="2427"/>
                    <a:pt x="1891" y="2417"/>
                    <a:pt x="1890" y="2415"/>
                  </a:cubicBezTo>
                  <a:cubicBezTo>
                    <a:pt x="1889" y="2413"/>
                    <a:pt x="1884" y="2416"/>
                    <a:pt x="1881" y="2415"/>
                  </a:cubicBezTo>
                  <a:cubicBezTo>
                    <a:pt x="1878" y="2414"/>
                    <a:pt x="1885" y="2408"/>
                    <a:pt x="1872" y="2408"/>
                  </a:cubicBezTo>
                  <a:cubicBezTo>
                    <a:pt x="1838" y="2412"/>
                    <a:pt x="1825" y="2405"/>
                    <a:pt x="1800" y="2414"/>
                  </a:cubicBezTo>
                  <a:cubicBezTo>
                    <a:pt x="1786" y="2415"/>
                    <a:pt x="1785" y="2409"/>
                    <a:pt x="1781" y="2410"/>
                  </a:cubicBezTo>
                  <a:cubicBezTo>
                    <a:pt x="1777" y="2411"/>
                    <a:pt x="1778" y="2423"/>
                    <a:pt x="1773" y="2420"/>
                  </a:cubicBezTo>
                  <a:cubicBezTo>
                    <a:pt x="1768" y="2417"/>
                    <a:pt x="1752" y="2401"/>
                    <a:pt x="1751" y="2393"/>
                  </a:cubicBezTo>
                  <a:cubicBezTo>
                    <a:pt x="1743" y="2372"/>
                    <a:pt x="1748" y="2379"/>
                    <a:pt x="1764" y="2374"/>
                  </a:cubicBezTo>
                  <a:cubicBezTo>
                    <a:pt x="1742" y="2369"/>
                    <a:pt x="1734" y="2360"/>
                    <a:pt x="1713" y="2354"/>
                  </a:cubicBezTo>
                  <a:cubicBezTo>
                    <a:pt x="1694" y="2340"/>
                    <a:pt x="1697" y="2321"/>
                    <a:pt x="1684" y="2308"/>
                  </a:cubicBezTo>
                  <a:cubicBezTo>
                    <a:pt x="1654" y="2300"/>
                    <a:pt x="1657" y="2286"/>
                    <a:pt x="1648" y="2277"/>
                  </a:cubicBezTo>
                  <a:cubicBezTo>
                    <a:pt x="1640" y="2247"/>
                    <a:pt x="1649" y="2215"/>
                    <a:pt x="1647" y="2185"/>
                  </a:cubicBezTo>
                  <a:cubicBezTo>
                    <a:pt x="1632" y="2163"/>
                    <a:pt x="1575" y="2134"/>
                    <a:pt x="1551" y="2122"/>
                  </a:cubicBezTo>
                  <a:cubicBezTo>
                    <a:pt x="1533" y="2110"/>
                    <a:pt x="1515" y="2111"/>
                    <a:pt x="1512" y="2109"/>
                  </a:cubicBezTo>
                  <a:cubicBezTo>
                    <a:pt x="1509" y="2107"/>
                    <a:pt x="1533" y="2112"/>
                    <a:pt x="1534" y="2110"/>
                  </a:cubicBezTo>
                  <a:cubicBezTo>
                    <a:pt x="1535" y="2108"/>
                    <a:pt x="1525" y="2104"/>
                    <a:pt x="1518" y="2099"/>
                  </a:cubicBezTo>
                  <a:cubicBezTo>
                    <a:pt x="1507" y="2094"/>
                    <a:pt x="1506" y="2083"/>
                    <a:pt x="1494" y="2080"/>
                  </a:cubicBezTo>
                  <a:cubicBezTo>
                    <a:pt x="1424" y="2061"/>
                    <a:pt x="1480" y="2083"/>
                    <a:pt x="1445" y="2072"/>
                  </a:cubicBezTo>
                  <a:cubicBezTo>
                    <a:pt x="1437" y="2070"/>
                    <a:pt x="1425" y="2061"/>
                    <a:pt x="1425" y="2061"/>
                  </a:cubicBezTo>
                  <a:cubicBezTo>
                    <a:pt x="1409" y="2037"/>
                    <a:pt x="1421" y="2038"/>
                    <a:pt x="1403" y="2017"/>
                  </a:cubicBezTo>
                  <a:cubicBezTo>
                    <a:pt x="1385" y="1999"/>
                    <a:pt x="1380" y="1988"/>
                    <a:pt x="1375" y="1972"/>
                  </a:cubicBezTo>
                  <a:cubicBezTo>
                    <a:pt x="1398" y="1961"/>
                    <a:pt x="1360" y="1964"/>
                    <a:pt x="1345" y="1945"/>
                  </a:cubicBezTo>
                  <a:cubicBezTo>
                    <a:pt x="1343" y="1939"/>
                    <a:pt x="1331" y="1984"/>
                    <a:pt x="1326" y="1987"/>
                  </a:cubicBezTo>
                  <a:cubicBezTo>
                    <a:pt x="1321" y="1990"/>
                    <a:pt x="1315" y="1978"/>
                    <a:pt x="1312" y="1966"/>
                  </a:cubicBezTo>
                  <a:cubicBezTo>
                    <a:pt x="1297" y="1939"/>
                    <a:pt x="1307" y="1925"/>
                    <a:pt x="1305" y="1915"/>
                  </a:cubicBezTo>
                  <a:cubicBezTo>
                    <a:pt x="1291" y="1919"/>
                    <a:pt x="1250" y="1947"/>
                    <a:pt x="1237" y="1952"/>
                  </a:cubicBezTo>
                  <a:cubicBezTo>
                    <a:pt x="1230" y="1963"/>
                    <a:pt x="1255" y="1979"/>
                    <a:pt x="1248" y="1989"/>
                  </a:cubicBezTo>
                  <a:cubicBezTo>
                    <a:pt x="1239" y="2000"/>
                    <a:pt x="1236" y="2000"/>
                    <a:pt x="1243" y="2031"/>
                  </a:cubicBezTo>
                  <a:cubicBezTo>
                    <a:pt x="1244" y="2035"/>
                    <a:pt x="1257" y="2045"/>
                    <a:pt x="1260" y="2048"/>
                  </a:cubicBezTo>
                  <a:cubicBezTo>
                    <a:pt x="1264" y="2051"/>
                    <a:pt x="1280" y="2059"/>
                    <a:pt x="1284" y="2062"/>
                  </a:cubicBezTo>
                  <a:cubicBezTo>
                    <a:pt x="1306" y="2075"/>
                    <a:pt x="1309" y="2085"/>
                    <a:pt x="1328" y="2102"/>
                  </a:cubicBezTo>
                  <a:cubicBezTo>
                    <a:pt x="1331" y="2114"/>
                    <a:pt x="1331" y="2127"/>
                    <a:pt x="1335" y="2139"/>
                  </a:cubicBezTo>
                  <a:cubicBezTo>
                    <a:pt x="1339" y="2150"/>
                    <a:pt x="1371" y="2180"/>
                    <a:pt x="1383" y="2183"/>
                  </a:cubicBezTo>
                  <a:cubicBezTo>
                    <a:pt x="1394" y="2191"/>
                    <a:pt x="1401" y="2185"/>
                    <a:pt x="1410" y="2194"/>
                  </a:cubicBezTo>
                  <a:cubicBezTo>
                    <a:pt x="1441" y="2188"/>
                    <a:pt x="1427" y="2185"/>
                    <a:pt x="1463" y="2189"/>
                  </a:cubicBezTo>
                  <a:cubicBezTo>
                    <a:pt x="1461" y="2200"/>
                    <a:pt x="1458" y="2206"/>
                    <a:pt x="1449" y="2216"/>
                  </a:cubicBezTo>
                  <a:cubicBezTo>
                    <a:pt x="1466" y="2240"/>
                    <a:pt x="1499" y="2250"/>
                    <a:pt x="1521" y="2251"/>
                  </a:cubicBezTo>
                  <a:cubicBezTo>
                    <a:pt x="1561" y="2265"/>
                    <a:pt x="1563" y="2265"/>
                    <a:pt x="1583" y="2283"/>
                  </a:cubicBezTo>
                  <a:cubicBezTo>
                    <a:pt x="1608" y="2299"/>
                    <a:pt x="1601" y="2312"/>
                    <a:pt x="1596" y="2339"/>
                  </a:cubicBezTo>
                  <a:cubicBezTo>
                    <a:pt x="1594" y="2330"/>
                    <a:pt x="1584" y="2330"/>
                    <a:pt x="1575" y="2325"/>
                  </a:cubicBezTo>
                  <a:cubicBezTo>
                    <a:pt x="1569" y="2321"/>
                    <a:pt x="1574" y="2304"/>
                    <a:pt x="1569" y="2300"/>
                  </a:cubicBezTo>
                  <a:cubicBezTo>
                    <a:pt x="1564" y="2296"/>
                    <a:pt x="1554" y="2300"/>
                    <a:pt x="1543" y="2300"/>
                  </a:cubicBezTo>
                  <a:cubicBezTo>
                    <a:pt x="1522" y="2287"/>
                    <a:pt x="1513" y="2292"/>
                    <a:pt x="1505" y="2301"/>
                  </a:cubicBezTo>
                  <a:cubicBezTo>
                    <a:pt x="1497" y="2310"/>
                    <a:pt x="1494" y="2342"/>
                    <a:pt x="1498" y="2354"/>
                  </a:cubicBezTo>
                  <a:cubicBezTo>
                    <a:pt x="1508" y="2365"/>
                    <a:pt x="1522" y="2358"/>
                    <a:pt x="1530" y="2371"/>
                  </a:cubicBezTo>
                  <a:cubicBezTo>
                    <a:pt x="1535" y="2380"/>
                    <a:pt x="1541" y="2395"/>
                    <a:pt x="1537" y="2404"/>
                  </a:cubicBezTo>
                  <a:cubicBezTo>
                    <a:pt x="1533" y="2413"/>
                    <a:pt x="1514" y="2410"/>
                    <a:pt x="1505" y="2423"/>
                  </a:cubicBezTo>
                  <a:cubicBezTo>
                    <a:pt x="1507" y="2449"/>
                    <a:pt x="1487" y="2462"/>
                    <a:pt x="1481" y="2480"/>
                  </a:cubicBezTo>
                  <a:cubicBezTo>
                    <a:pt x="1471" y="2492"/>
                    <a:pt x="1469" y="2498"/>
                    <a:pt x="1457" y="2479"/>
                  </a:cubicBezTo>
                  <a:cubicBezTo>
                    <a:pt x="1456" y="2474"/>
                    <a:pt x="1460" y="2444"/>
                    <a:pt x="1464" y="2433"/>
                  </a:cubicBezTo>
                  <a:cubicBezTo>
                    <a:pt x="1468" y="2422"/>
                    <a:pt x="1480" y="2425"/>
                    <a:pt x="1479" y="2414"/>
                  </a:cubicBezTo>
                  <a:cubicBezTo>
                    <a:pt x="1480" y="2394"/>
                    <a:pt x="1463" y="2382"/>
                    <a:pt x="1457" y="2368"/>
                  </a:cubicBezTo>
                  <a:cubicBezTo>
                    <a:pt x="1451" y="2354"/>
                    <a:pt x="1453" y="2340"/>
                    <a:pt x="1444" y="2331"/>
                  </a:cubicBezTo>
                  <a:cubicBezTo>
                    <a:pt x="1415" y="2327"/>
                    <a:pt x="1424" y="2339"/>
                    <a:pt x="1405" y="2313"/>
                  </a:cubicBezTo>
                  <a:cubicBezTo>
                    <a:pt x="1396" y="2314"/>
                    <a:pt x="1403" y="2293"/>
                    <a:pt x="1395" y="2289"/>
                  </a:cubicBezTo>
                  <a:cubicBezTo>
                    <a:pt x="1376" y="2279"/>
                    <a:pt x="1388" y="2289"/>
                    <a:pt x="1366" y="2284"/>
                  </a:cubicBezTo>
                  <a:cubicBezTo>
                    <a:pt x="1353" y="2281"/>
                    <a:pt x="1357" y="2280"/>
                    <a:pt x="1344" y="2279"/>
                  </a:cubicBezTo>
                  <a:cubicBezTo>
                    <a:pt x="1340" y="2241"/>
                    <a:pt x="1327" y="2243"/>
                    <a:pt x="1291" y="2250"/>
                  </a:cubicBezTo>
                  <a:cubicBezTo>
                    <a:pt x="1275" y="2235"/>
                    <a:pt x="1257" y="2221"/>
                    <a:pt x="1234" y="2200"/>
                  </a:cubicBezTo>
                  <a:cubicBezTo>
                    <a:pt x="1216" y="2181"/>
                    <a:pt x="1172" y="2152"/>
                    <a:pt x="1155" y="2126"/>
                  </a:cubicBezTo>
                  <a:cubicBezTo>
                    <a:pt x="1140" y="2086"/>
                    <a:pt x="1143" y="2087"/>
                    <a:pt x="1123" y="2050"/>
                  </a:cubicBezTo>
                  <a:cubicBezTo>
                    <a:pt x="1120" y="2039"/>
                    <a:pt x="1101" y="2038"/>
                    <a:pt x="1091" y="2031"/>
                  </a:cubicBezTo>
                  <a:cubicBezTo>
                    <a:pt x="1084" y="2026"/>
                    <a:pt x="1060" y="2019"/>
                    <a:pt x="1060" y="2019"/>
                  </a:cubicBezTo>
                  <a:cubicBezTo>
                    <a:pt x="1051" y="2020"/>
                    <a:pt x="1053" y="2024"/>
                    <a:pt x="1044" y="2029"/>
                  </a:cubicBezTo>
                  <a:cubicBezTo>
                    <a:pt x="1033" y="2033"/>
                    <a:pt x="1029" y="2054"/>
                    <a:pt x="1018" y="2061"/>
                  </a:cubicBezTo>
                  <a:cubicBezTo>
                    <a:pt x="1007" y="2068"/>
                    <a:pt x="989" y="2063"/>
                    <a:pt x="977" y="2069"/>
                  </a:cubicBezTo>
                  <a:cubicBezTo>
                    <a:pt x="963" y="2079"/>
                    <a:pt x="961" y="2093"/>
                    <a:pt x="944" y="2098"/>
                  </a:cubicBezTo>
                  <a:cubicBezTo>
                    <a:pt x="925" y="2112"/>
                    <a:pt x="916" y="2109"/>
                    <a:pt x="892" y="2106"/>
                  </a:cubicBezTo>
                  <a:cubicBezTo>
                    <a:pt x="873" y="2092"/>
                    <a:pt x="861" y="2087"/>
                    <a:pt x="837" y="2084"/>
                  </a:cubicBezTo>
                  <a:cubicBezTo>
                    <a:pt x="806" y="2073"/>
                    <a:pt x="786" y="2083"/>
                    <a:pt x="755" y="2091"/>
                  </a:cubicBezTo>
                  <a:cubicBezTo>
                    <a:pt x="739" y="2116"/>
                    <a:pt x="757" y="2151"/>
                    <a:pt x="753" y="2181"/>
                  </a:cubicBezTo>
                  <a:cubicBezTo>
                    <a:pt x="741" y="2203"/>
                    <a:pt x="709" y="2210"/>
                    <a:pt x="682" y="2224"/>
                  </a:cubicBezTo>
                  <a:cubicBezTo>
                    <a:pt x="610" y="2233"/>
                    <a:pt x="614" y="2247"/>
                    <a:pt x="589" y="2265"/>
                  </a:cubicBezTo>
                  <a:cubicBezTo>
                    <a:pt x="568" y="2298"/>
                    <a:pt x="538" y="2318"/>
                    <a:pt x="527" y="2357"/>
                  </a:cubicBezTo>
                  <a:cubicBezTo>
                    <a:pt x="529" y="2375"/>
                    <a:pt x="558" y="2380"/>
                    <a:pt x="550" y="2399"/>
                  </a:cubicBezTo>
                  <a:cubicBezTo>
                    <a:pt x="501" y="2419"/>
                    <a:pt x="503" y="2446"/>
                    <a:pt x="493" y="2453"/>
                  </a:cubicBezTo>
                  <a:cubicBezTo>
                    <a:pt x="480" y="2465"/>
                    <a:pt x="494" y="2472"/>
                    <a:pt x="484" y="2477"/>
                  </a:cubicBezTo>
                  <a:cubicBezTo>
                    <a:pt x="474" y="2482"/>
                    <a:pt x="453" y="2468"/>
                    <a:pt x="431" y="2486"/>
                  </a:cubicBezTo>
                  <a:cubicBezTo>
                    <a:pt x="414" y="2496"/>
                    <a:pt x="416" y="2507"/>
                    <a:pt x="397" y="2519"/>
                  </a:cubicBezTo>
                  <a:cubicBezTo>
                    <a:pt x="375" y="2525"/>
                    <a:pt x="332" y="2517"/>
                    <a:pt x="310" y="2515"/>
                  </a:cubicBezTo>
                  <a:cubicBezTo>
                    <a:pt x="301" y="2506"/>
                    <a:pt x="283" y="2505"/>
                    <a:pt x="268" y="2505"/>
                  </a:cubicBezTo>
                  <a:cubicBezTo>
                    <a:pt x="250" y="2516"/>
                    <a:pt x="230" y="2515"/>
                    <a:pt x="209" y="2519"/>
                  </a:cubicBezTo>
                  <a:cubicBezTo>
                    <a:pt x="196" y="2534"/>
                    <a:pt x="187" y="2537"/>
                    <a:pt x="168" y="2541"/>
                  </a:cubicBezTo>
                  <a:cubicBezTo>
                    <a:pt x="156" y="2531"/>
                    <a:pt x="144" y="2478"/>
                    <a:pt x="135" y="2460"/>
                  </a:cubicBezTo>
                  <a:cubicBezTo>
                    <a:pt x="128" y="2450"/>
                    <a:pt x="126" y="2437"/>
                    <a:pt x="114" y="2433"/>
                  </a:cubicBezTo>
                  <a:cubicBezTo>
                    <a:pt x="102" y="2429"/>
                    <a:pt x="75" y="2437"/>
                    <a:pt x="63" y="2435"/>
                  </a:cubicBezTo>
                  <a:cubicBezTo>
                    <a:pt x="51" y="2433"/>
                    <a:pt x="49" y="2426"/>
                    <a:pt x="40" y="2422"/>
                  </a:cubicBezTo>
                  <a:cubicBezTo>
                    <a:pt x="33" y="2417"/>
                    <a:pt x="6" y="2419"/>
                    <a:pt x="6" y="2412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" name="Freeform 4525">
              <a:extLst>
                <a:ext uri="{FF2B5EF4-FFF2-40B4-BE49-F238E27FC236}">
                  <a16:creationId xmlns:a16="http://schemas.microsoft.com/office/drawing/2014/main" xmlns="" id="{1301CCBC-438A-4163-AEEB-07E07D3D2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196" y="2575810"/>
              <a:ext cx="64340" cy="49864"/>
            </a:xfrm>
            <a:custGeom>
              <a:avLst/>
              <a:gdLst/>
              <a:ahLst/>
              <a:cxnLst>
                <a:cxn ang="0">
                  <a:pos x="18" y="1"/>
                </a:cxn>
                <a:cxn ang="0">
                  <a:pos x="26" y="4"/>
                </a:cxn>
                <a:cxn ang="0">
                  <a:pos x="36" y="13"/>
                </a:cxn>
                <a:cxn ang="0">
                  <a:pos x="26" y="25"/>
                </a:cxn>
                <a:cxn ang="0">
                  <a:pos x="16" y="30"/>
                </a:cxn>
                <a:cxn ang="0">
                  <a:pos x="12" y="19"/>
                </a:cxn>
                <a:cxn ang="0">
                  <a:pos x="0" y="23"/>
                </a:cxn>
                <a:cxn ang="0">
                  <a:pos x="15" y="12"/>
                </a:cxn>
                <a:cxn ang="0">
                  <a:pos x="18" y="1"/>
                </a:cxn>
                <a:cxn ang="0">
                  <a:pos x="22" y="3"/>
                </a:cxn>
                <a:cxn ang="0">
                  <a:pos x="18" y="1"/>
                </a:cxn>
              </a:cxnLst>
              <a:rect l="0" t="0" r="r" b="b"/>
              <a:pathLst>
                <a:path w="40" h="31">
                  <a:moveTo>
                    <a:pt x="18" y="1"/>
                  </a:moveTo>
                  <a:cubicBezTo>
                    <a:pt x="21" y="2"/>
                    <a:pt x="24" y="2"/>
                    <a:pt x="26" y="4"/>
                  </a:cubicBezTo>
                  <a:cubicBezTo>
                    <a:pt x="32" y="9"/>
                    <a:pt x="29" y="11"/>
                    <a:pt x="36" y="13"/>
                  </a:cubicBezTo>
                  <a:cubicBezTo>
                    <a:pt x="40" y="22"/>
                    <a:pt x="32" y="21"/>
                    <a:pt x="26" y="25"/>
                  </a:cubicBezTo>
                  <a:cubicBezTo>
                    <a:pt x="22" y="31"/>
                    <a:pt x="25" y="31"/>
                    <a:pt x="16" y="30"/>
                  </a:cubicBezTo>
                  <a:cubicBezTo>
                    <a:pt x="15" y="26"/>
                    <a:pt x="14" y="23"/>
                    <a:pt x="12" y="19"/>
                  </a:cubicBezTo>
                  <a:cubicBezTo>
                    <a:pt x="5" y="21"/>
                    <a:pt x="6" y="24"/>
                    <a:pt x="0" y="23"/>
                  </a:cubicBezTo>
                  <a:cubicBezTo>
                    <a:pt x="4" y="16"/>
                    <a:pt x="7" y="15"/>
                    <a:pt x="15" y="12"/>
                  </a:cubicBezTo>
                  <a:cubicBezTo>
                    <a:pt x="17" y="9"/>
                    <a:pt x="16" y="4"/>
                    <a:pt x="18" y="1"/>
                  </a:cubicBezTo>
                  <a:cubicBezTo>
                    <a:pt x="19" y="0"/>
                    <a:pt x="22" y="3"/>
                    <a:pt x="22" y="3"/>
                  </a:cubicBezTo>
                  <a:cubicBezTo>
                    <a:pt x="22" y="3"/>
                    <a:pt x="19" y="2"/>
                    <a:pt x="18" y="1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" name="Freeform 4526">
              <a:extLst>
                <a:ext uri="{FF2B5EF4-FFF2-40B4-BE49-F238E27FC236}">
                  <a16:creationId xmlns:a16="http://schemas.microsoft.com/office/drawing/2014/main" xmlns="" id="{F71CD014-98C4-4AA9-81E9-DD3D01170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196" y="2628891"/>
              <a:ext cx="83643" cy="93294"/>
            </a:xfrm>
            <a:custGeom>
              <a:avLst/>
              <a:gdLst/>
              <a:ahLst/>
              <a:cxnLst>
                <a:cxn ang="0">
                  <a:pos x="35" y="3"/>
                </a:cxn>
                <a:cxn ang="0">
                  <a:pos x="51" y="10"/>
                </a:cxn>
                <a:cxn ang="0">
                  <a:pos x="44" y="15"/>
                </a:cxn>
                <a:cxn ang="0">
                  <a:pos x="33" y="33"/>
                </a:cxn>
                <a:cxn ang="0">
                  <a:pos x="18" y="34"/>
                </a:cxn>
                <a:cxn ang="0">
                  <a:pos x="11" y="58"/>
                </a:cxn>
                <a:cxn ang="0">
                  <a:pos x="14" y="44"/>
                </a:cxn>
                <a:cxn ang="0">
                  <a:pos x="0" y="33"/>
                </a:cxn>
                <a:cxn ang="0">
                  <a:pos x="15" y="13"/>
                </a:cxn>
                <a:cxn ang="0">
                  <a:pos x="35" y="3"/>
                </a:cxn>
              </a:cxnLst>
              <a:rect l="0" t="0" r="r" b="b"/>
              <a:pathLst>
                <a:path w="52" h="58">
                  <a:moveTo>
                    <a:pt x="35" y="3"/>
                  </a:moveTo>
                  <a:cubicBezTo>
                    <a:pt x="41" y="4"/>
                    <a:pt x="45" y="8"/>
                    <a:pt x="51" y="10"/>
                  </a:cubicBezTo>
                  <a:cubicBezTo>
                    <a:pt x="49" y="19"/>
                    <a:pt x="52" y="10"/>
                    <a:pt x="44" y="15"/>
                  </a:cubicBezTo>
                  <a:cubicBezTo>
                    <a:pt x="38" y="19"/>
                    <a:pt x="41" y="30"/>
                    <a:pt x="33" y="33"/>
                  </a:cubicBezTo>
                  <a:cubicBezTo>
                    <a:pt x="29" y="30"/>
                    <a:pt x="18" y="34"/>
                    <a:pt x="18" y="34"/>
                  </a:cubicBezTo>
                  <a:cubicBezTo>
                    <a:pt x="15" y="42"/>
                    <a:pt x="18" y="53"/>
                    <a:pt x="11" y="58"/>
                  </a:cubicBezTo>
                  <a:cubicBezTo>
                    <a:pt x="3" y="55"/>
                    <a:pt x="10" y="47"/>
                    <a:pt x="14" y="44"/>
                  </a:cubicBezTo>
                  <a:cubicBezTo>
                    <a:pt x="11" y="32"/>
                    <a:pt x="6" y="42"/>
                    <a:pt x="0" y="33"/>
                  </a:cubicBezTo>
                  <a:cubicBezTo>
                    <a:pt x="2" y="24"/>
                    <a:pt x="5" y="16"/>
                    <a:pt x="15" y="13"/>
                  </a:cubicBezTo>
                  <a:cubicBezTo>
                    <a:pt x="18" y="0"/>
                    <a:pt x="17" y="3"/>
                    <a:pt x="35" y="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" name="Freeform 4527">
              <a:extLst>
                <a:ext uri="{FF2B5EF4-FFF2-40B4-BE49-F238E27FC236}">
                  <a16:creationId xmlns:a16="http://schemas.microsoft.com/office/drawing/2014/main" xmlns="" id="{BB18AB80-8591-4D0C-97E8-11C03DB9B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3264" y="2736662"/>
              <a:ext cx="80426" cy="143158"/>
            </a:xfrm>
            <a:custGeom>
              <a:avLst/>
              <a:gdLst/>
              <a:ahLst/>
              <a:cxnLst>
                <a:cxn ang="0">
                  <a:pos x="42" y="3"/>
                </a:cxn>
                <a:cxn ang="0">
                  <a:pos x="24" y="14"/>
                </a:cxn>
                <a:cxn ang="0">
                  <a:pos x="15" y="19"/>
                </a:cxn>
                <a:cxn ang="0">
                  <a:pos x="0" y="38"/>
                </a:cxn>
                <a:cxn ang="0">
                  <a:pos x="4" y="51"/>
                </a:cxn>
                <a:cxn ang="0">
                  <a:pos x="0" y="62"/>
                </a:cxn>
                <a:cxn ang="0">
                  <a:pos x="7" y="72"/>
                </a:cxn>
                <a:cxn ang="0">
                  <a:pos x="6" y="81"/>
                </a:cxn>
                <a:cxn ang="0">
                  <a:pos x="13" y="83"/>
                </a:cxn>
                <a:cxn ang="0">
                  <a:pos x="23" y="65"/>
                </a:cxn>
                <a:cxn ang="0">
                  <a:pos x="33" y="48"/>
                </a:cxn>
                <a:cxn ang="0">
                  <a:pos x="23" y="29"/>
                </a:cxn>
                <a:cxn ang="0">
                  <a:pos x="34" y="18"/>
                </a:cxn>
                <a:cxn ang="0">
                  <a:pos x="48" y="6"/>
                </a:cxn>
                <a:cxn ang="0">
                  <a:pos x="42" y="3"/>
                </a:cxn>
              </a:cxnLst>
              <a:rect l="0" t="0" r="r" b="b"/>
              <a:pathLst>
                <a:path w="50" h="89">
                  <a:moveTo>
                    <a:pt x="42" y="3"/>
                  </a:moveTo>
                  <a:cubicBezTo>
                    <a:pt x="27" y="4"/>
                    <a:pt x="15" y="0"/>
                    <a:pt x="24" y="14"/>
                  </a:cubicBezTo>
                  <a:cubicBezTo>
                    <a:pt x="21" y="18"/>
                    <a:pt x="20" y="18"/>
                    <a:pt x="15" y="19"/>
                  </a:cubicBezTo>
                  <a:cubicBezTo>
                    <a:pt x="7" y="24"/>
                    <a:pt x="7" y="31"/>
                    <a:pt x="0" y="38"/>
                  </a:cubicBezTo>
                  <a:cubicBezTo>
                    <a:pt x="1" y="44"/>
                    <a:pt x="2" y="46"/>
                    <a:pt x="4" y="51"/>
                  </a:cubicBezTo>
                  <a:cubicBezTo>
                    <a:pt x="3" y="55"/>
                    <a:pt x="1" y="58"/>
                    <a:pt x="0" y="62"/>
                  </a:cubicBezTo>
                  <a:cubicBezTo>
                    <a:pt x="1" y="68"/>
                    <a:pt x="1" y="70"/>
                    <a:pt x="7" y="72"/>
                  </a:cubicBezTo>
                  <a:cubicBezTo>
                    <a:pt x="10" y="76"/>
                    <a:pt x="8" y="76"/>
                    <a:pt x="6" y="81"/>
                  </a:cubicBezTo>
                  <a:cubicBezTo>
                    <a:pt x="7" y="88"/>
                    <a:pt x="9" y="89"/>
                    <a:pt x="13" y="83"/>
                  </a:cubicBezTo>
                  <a:cubicBezTo>
                    <a:pt x="15" y="71"/>
                    <a:pt x="12" y="67"/>
                    <a:pt x="23" y="65"/>
                  </a:cubicBezTo>
                  <a:cubicBezTo>
                    <a:pt x="31" y="61"/>
                    <a:pt x="27" y="54"/>
                    <a:pt x="33" y="48"/>
                  </a:cubicBezTo>
                  <a:cubicBezTo>
                    <a:pt x="30" y="40"/>
                    <a:pt x="27" y="36"/>
                    <a:pt x="23" y="29"/>
                  </a:cubicBezTo>
                  <a:cubicBezTo>
                    <a:pt x="24" y="24"/>
                    <a:pt x="29" y="21"/>
                    <a:pt x="34" y="18"/>
                  </a:cubicBezTo>
                  <a:cubicBezTo>
                    <a:pt x="37" y="8"/>
                    <a:pt x="36" y="7"/>
                    <a:pt x="48" y="6"/>
                  </a:cubicBezTo>
                  <a:cubicBezTo>
                    <a:pt x="50" y="1"/>
                    <a:pt x="50" y="3"/>
                    <a:pt x="42" y="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" name="Freeform 4528">
              <a:extLst>
                <a:ext uri="{FF2B5EF4-FFF2-40B4-BE49-F238E27FC236}">
                  <a16:creationId xmlns:a16="http://schemas.microsoft.com/office/drawing/2014/main" xmlns="" id="{537EB920-7B9D-408A-8418-D08BE7B20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102" y="2833172"/>
              <a:ext cx="46647" cy="139941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9" y="15"/>
                </a:cxn>
                <a:cxn ang="0">
                  <a:pos x="13" y="30"/>
                </a:cxn>
                <a:cxn ang="0">
                  <a:pos x="7" y="38"/>
                </a:cxn>
                <a:cxn ang="0">
                  <a:pos x="1" y="57"/>
                </a:cxn>
                <a:cxn ang="0">
                  <a:pos x="9" y="78"/>
                </a:cxn>
                <a:cxn ang="0">
                  <a:pos x="12" y="85"/>
                </a:cxn>
                <a:cxn ang="0">
                  <a:pos x="24" y="32"/>
                </a:cxn>
                <a:cxn ang="0">
                  <a:pos x="25" y="17"/>
                </a:cxn>
                <a:cxn ang="0">
                  <a:pos x="29" y="8"/>
                </a:cxn>
                <a:cxn ang="0">
                  <a:pos x="27" y="0"/>
                </a:cxn>
              </a:cxnLst>
              <a:rect l="0" t="0" r="r" b="b"/>
              <a:pathLst>
                <a:path w="29" h="87">
                  <a:moveTo>
                    <a:pt x="27" y="0"/>
                  </a:moveTo>
                  <a:cubicBezTo>
                    <a:pt x="24" y="5"/>
                    <a:pt x="23" y="11"/>
                    <a:pt x="19" y="15"/>
                  </a:cubicBezTo>
                  <a:cubicBezTo>
                    <a:pt x="18" y="21"/>
                    <a:pt x="17" y="26"/>
                    <a:pt x="13" y="30"/>
                  </a:cubicBezTo>
                  <a:cubicBezTo>
                    <a:pt x="11" y="37"/>
                    <a:pt x="13" y="35"/>
                    <a:pt x="7" y="38"/>
                  </a:cubicBezTo>
                  <a:cubicBezTo>
                    <a:pt x="5" y="44"/>
                    <a:pt x="5" y="51"/>
                    <a:pt x="1" y="57"/>
                  </a:cubicBezTo>
                  <a:cubicBezTo>
                    <a:pt x="0" y="64"/>
                    <a:pt x="2" y="76"/>
                    <a:pt x="9" y="78"/>
                  </a:cubicBezTo>
                  <a:cubicBezTo>
                    <a:pt x="10" y="80"/>
                    <a:pt x="11" y="87"/>
                    <a:pt x="12" y="85"/>
                  </a:cubicBezTo>
                  <a:cubicBezTo>
                    <a:pt x="18" y="68"/>
                    <a:pt x="18" y="49"/>
                    <a:pt x="24" y="32"/>
                  </a:cubicBezTo>
                  <a:cubicBezTo>
                    <a:pt x="24" y="27"/>
                    <a:pt x="24" y="22"/>
                    <a:pt x="25" y="17"/>
                  </a:cubicBezTo>
                  <a:cubicBezTo>
                    <a:pt x="26" y="14"/>
                    <a:pt x="29" y="8"/>
                    <a:pt x="29" y="8"/>
                  </a:cubicBezTo>
                  <a:cubicBezTo>
                    <a:pt x="28" y="2"/>
                    <a:pt x="29" y="5"/>
                    <a:pt x="27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" name="Freeform 4529">
              <a:extLst>
                <a:ext uri="{FF2B5EF4-FFF2-40B4-BE49-F238E27FC236}">
                  <a16:creationId xmlns:a16="http://schemas.microsoft.com/office/drawing/2014/main" xmlns="" id="{927EA023-203F-4FEE-8FCA-059B62EB3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5766" y="3088926"/>
              <a:ext cx="46647" cy="3860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15" y="4"/>
                </a:cxn>
                <a:cxn ang="0">
                  <a:pos x="16" y="24"/>
                </a:cxn>
                <a:cxn ang="0">
                  <a:pos x="3" y="18"/>
                </a:cxn>
                <a:cxn ang="0">
                  <a:pos x="4" y="0"/>
                </a:cxn>
              </a:cxnLst>
              <a:rect l="0" t="0" r="r" b="b"/>
              <a:pathLst>
                <a:path w="29" h="24">
                  <a:moveTo>
                    <a:pt x="4" y="0"/>
                  </a:moveTo>
                  <a:cubicBezTo>
                    <a:pt x="8" y="2"/>
                    <a:pt x="11" y="3"/>
                    <a:pt x="15" y="4"/>
                  </a:cubicBezTo>
                  <a:cubicBezTo>
                    <a:pt x="19" y="10"/>
                    <a:pt x="29" y="21"/>
                    <a:pt x="16" y="24"/>
                  </a:cubicBezTo>
                  <a:cubicBezTo>
                    <a:pt x="11" y="23"/>
                    <a:pt x="3" y="18"/>
                    <a:pt x="3" y="18"/>
                  </a:cubicBezTo>
                  <a:cubicBezTo>
                    <a:pt x="0" y="13"/>
                    <a:pt x="4" y="6"/>
                    <a:pt x="4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" name="Freeform 4530">
              <a:extLst>
                <a:ext uri="{FF2B5EF4-FFF2-40B4-BE49-F238E27FC236}">
                  <a16:creationId xmlns:a16="http://schemas.microsoft.com/office/drawing/2014/main" xmlns="" id="{CDBC59A6-CA72-4EDB-BDDE-FDAE4CB67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8404" y="2995632"/>
              <a:ext cx="127072" cy="141549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49" y="8"/>
                </a:cxn>
                <a:cxn ang="0">
                  <a:pos x="53" y="26"/>
                </a:cxn>
                <a:cxn ang="0">
                  <a:pos x="52" y="32"/>
                </a:cxn>
                <a:cxn ang="0">
                  <a:pos x="42" y="31"/>
                </a:cxn>
                <a:cxn ang="0">
                  <a:pos x="40" y="21"/>
                </a:cxn>
                <a:cxn ang="0">
                  <a:pos x="23" y="8"/>
                </a:cxn>
                <a:cxn ang="0">
                  <a:pos x="17" y="26"/>
                </a:cxn>
                <a:cxn ang="0">
                  <a:pos x="12" y="33"/>
                </a:cxn>
                <a:cxn ang="0">
                  <a:pos x="19" y="67"/>
                </a:cxn>
                <a:cxn ang="0">
                  <a:pos x="32" y="68"/>
                </a:cxn>
                <a:cxn ang="0">
                  <a:pos x="40" y="72"/>
                </a:cxn>
                <a:cxn ang="0">
                  <a:pos x="52" y="82"/>
                </a:cxn>
                <a:cxn ang="0">
                  <a:pos x="61" y="88"/>
                </a:cxn>
                <a:cxn ang="0">
                  <a:pos x="58" y="69"/>
                </a:cxn>
                <a:cxn ang="0">
                  <a:pos x="70" y="61"/>
                </a:cxn>
                <a:cxn ang="0">
                  <a:pos x="61" y="48"/>
                </a:cxn>
                <a:cxn ang="0">
                  <a:pos x="76" y="39"/>
                </a:cxn>
                <a:cxn ang="0">
                  <a:pos x="73" y="24"/>
                </a:cxn>
                <a:cxn ang="0">
                  <a:pos x="76" y="10"/>
                </a:cxn>
                <a:cxn ang="0">
                  <a:pos x="76" y="4"/>
                </a:cxn>
                <a:cxn ang="0">
                  <a:pos x="60" y="0"/>
                </a:cxn>
              </a:cxnLst>
              <a:rect l="0" t="0" r="r" b="b"/>
              <a:pathLst>
                <a:path w="79" h="88">
                  <a:moveTo>
                    <a:pt x="60" y="0"/>
                  </a:moveTo>
                  <a:cubicBezTo>
                    <a:pt x="53" y="2"/>
                    <a:pt x="54" y="5"/>
                    <a:pt x="49" y="8"/>
                  </a:cubicBezTo>
                  <a:cubicBezTo>
                    <a:pt x="50" y="18"/>
                    <a:pt x="51" y="18"/>
                    <a:pt x="53" y="26"/>
                  </a:cubicBezTo>
                  <a:cubicBezTo>
                    <a:pt x="53" y="28"/>
                    <a:pt x="54" y="31"/>
                    <a:pt x="52" y="32"/>
                  </a:cubicBezTo>
                  <a:cubicBezTo>
                    <a:pt x="49" y="33"/>
                    <a:pt x="44" y="33"/>
                    <a:pt x="42" y="31"/>
                  </a:cubicBezTo>
                  <a:cubicBezTo>
                    <a:pt x="39" y="29"/>
                    <a:pt x="42" y="24"/>
                    <a:pt x="40" y="21"/>
                  </a:cubicBezTo>
                  <a:cubicBezTo>
                    <a:pt x="35" y="13"/>
                    <a:pt x="32" y="11"/>
                    <a:pt x="23" y="8"/>
                  </a:cubicBezTo>
                  <a:cubicBezTo>
                    <a:pt x="25" y="17"/>
                    <a:pt x="29" y="28"/>
                    <a:pt x="17" y="26"/>
                  </a:cubicBezTo>
                  <a:cubicBezTo>
                    <a:pt x="6" y="27"/>
                    <a:pt x="0" y="30"/>
                    <a:pt x="12" y="33"/>
                  </a:cubicBezTo>
                  <a:cubicBezTo>
                    <a:pt x="21" y="42"/>
                    <a:pt x="18" y="55"/>
                    <a:pt x="19" y="67"/>
                  </a:cubicBezTo>
                  <a:cubicBezTo>
                    <a:pt x="24" y="66"/>
                    <a:pt x="28" y="66"/>
                    <a:pt x="32" y="68"/>
                  </a:cubicBezTo>
                  <a:cubicBezTo>
                    <a:pt x="35" y="69"/>
                    <a:pt x="40" y="72"/>
                    <a:pt x="40" y="72"/>
                  </a:cubicBezTo>
                  <a:cubicBezTo>
                    <a:pt x="44" y="78"/>
                    <a:pt x="45" y="81"/>
                    <a:pt x="52" y="82"/>
                  </a:cubicBezTo>
                  <a:cubicBezTo>
                    <a:pt x="54" y="86"/>
                    <a:pt x="57" y="87"/>
                    <a:pt x="61" y="88"/>
                  </a:cubicBezTo>
                  <a:cubicBezTo>
                    <a:pt x="74" y="85"/>
                    <a:pt x="67" y="72"/>
                    <a:pt x="58" y="69"/>
                  </a:cubicBezTo>
                  <a:cubicBezTo>
                    <a:pt x="60" y="64"/>
                    <a:pt x="70" y="61"/>
                    <a:pt x="70" y="61"/>
                  </a:cubicBezTo>
                  <a:cubicBezTo>
                    <a:pt x="73" y="53"/>
                    <a:pt x="68" y="50"/>
                    <a:pt x="61" y="48"/>
                  </a:cubicBezTo>
                  <a:cubicBezTo>
                    <a:pt x="62" y="33"/>
                    <a:pt x="63" y="36"/>
                    <a:pt x="76" y="39"/>
                  </a:cubicBezTo>
                  <a:cubicBezTo>
                    <a:pt x="79" y="34"/>
                    <a:pt x="76" y="29"/>
                    <a:pt x="73" y="24"/>
                  </a:cubicBezTo>
                  <a:cubicBezTo>
                    <a:pt x="71" y="18"/>
                    <a:pt x="73" y="15"/>
                    <a:pt x="76" y="10"/>
                  </a:cubicBezTo>
                  <a:cubicBezTo>
                    <a:pt x="77" y="4"/>
                    <a:pt x="79" y="4"/>
                    <a:pt x="76" y="4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" name="Freeform 4531">
              <a:extLst>
                <a:ext uri="{FF2B5EF4-FFF2-40B4-BE49-F238E27FC236}">
                  <a16:creationId xmlns:a16="http://schemas.microsoft.com/office/drawing/2014/main" xmlns="" id="{ABDE0839-6B93-4C4F-A470-34F2B77DD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2880" y="3125922"/>
              <a:ext cx="75600" cy="59515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19" y="9"/>
                </a:cxn>
                <a:cxn ang="0">
                  <a:pos x="25" y="13"/>
                </a:cxn>
                <a:cxn ang="0">
                  <a:pos x="33" y="11"/>
                </a:cxn>
                <a:cxn ang="0">
                  <a:pos x="35" y="3"/>
                </a:cxn>
                <a:cxn ang="0">
                  <a:pos x="44" y="12"/>
                </a:cxn>
                <a:cxn ang="0">
                  <a:pos x="43" y="21"/>
                </a:cxn>
                <a:cxn ang="0">
                  <a:pos x="34" y="18"/>
                </a:cxn>
                <a:cxn ang="0">
                  <a:pos x="31" y="27"/>
                </a:cxn>
                <a:cxn ang="0">
                  <a:pos x="22" y="30"/>
                </a:cxn>
                <a:cxn ang="0">
                  <a:pos x="5" y="12"/>
                </a:cxn>
                <a:cxn ang="0">
                  <a:pos x="13" y="0"/>
                </a:cxn>
                <a:cxn ang="0">
                  <a:pos x="28" y="9"/>
                </a:cxn>
                <a:cxn ang="0">
                  <a:pos x="9" y="3"/>
                </a:cxn>
              </a:cxnLst>
              <a:rect l="0" t="0" r="r" b="b"/>
              <a:pathLst>
                <a:path w="47" h="37">
                  <a:moveTo>
                    <a:pt x="9" y="3"/>
                  </a:moveTo>
                  <a:cubicBezTo>
                    <a:pt x="14" y="4"/>
                    <a:pt x="15" y="6"/>
                    <a:pt x="19" y="9"/>
                  </a:cubicBezTo>
                  <a:cubicBezTo>
                    <a:pt x="21" y="10"/>
                    <a:pt x="25" y="13"/>
                    <a:pt x="25" y="13"/>
                  </a:cubicBezTo>
                  <a:cubicBezTo>
                    <a:pt x="28" y="12"/>
                    <a:pt x="31" y="13"/>
                    <a:pt x="33" y="11"/>
                  </a:cubicBezTo>
                  <a:cubicBezTo>
                    <a:pt x="35" y="9"/>
                    <a:pt x="35" y="3"/>
                    <a:pt x="35" y="3"/>
                  </a:cubicBezTo>
                  <a:cubicBezTo>
                    <a:pt x="40" y="5"/>
                    <a:pt x="40" y="9"/>
                    <a:pt x="44" y="12"/>
                  </a:cubicBezTo>
                  <a:cubicBezTo>
                    <a:pt x="47" y="16"/>
                    <a:pt x="46" y="17"/>
                    <a:pt x="43" y="21"/>
                  </a:cubicBezTo>
                  <a:cubicBezTo>
                    <a:pt x="39" y="37"/>
                    <a:pt x="37" y="26"/>
                    <a:pt x="34" y="18"/>
                  </a:cubicBezTo>
                  <a:cubicBezTo>
                    <a:pt x="34" y="20"/>
                    <a:pt x="33" y="26"/>
                    <a:pt x="31" y="27"/>
                  </a:cubicBezTo>
                  <a:cubicBezTo>
                    <a:pt x="28" y="29"/>
                    <a:pt x="22" y="30"/>
                    <a:pt x="22" y="30"/>
                  </a:cubicBezTo>
                  <a:cubicBezTo>
                    <a:pt x="18" y="27"/>
                    <a:pt x="6" y="17"/>
                    <a:pt x="5" y="12"/>
                  </a:cubicBezTo>
                  <a:cubicBezTo>
                    <a:pt x="0" y="5"/>
                    <a:pt x="5" y="2"/>
                    <a:pt x="13" y="0"/>
                  </a:cubicBezTo>
                  <a:cubicBezTo>
                    <a:pt x="19" y="2"/>
                    <a:pt x="22" y="9"/>
                    <a:pt x="28" y="9"/>
                  </a:cubicBezTo>
                  <a:lnTo>
                    <a:pt x="9" y="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" name="Freeform 4532">
              <a:extLst>
                <a:ext uri="{FF2B5EF4-FFF2-40B4-BE49-F238E27FC236}">
                  <a16:creationId xmlns:a16="http://schemas.microsoft.com/office/drawing/2014/main" xmlns="" id="{EA5D2119-41CD-4C5C-BCA4-B757C4FCD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7552" y="2805828"/>
              <a:ext cx="152809" cy="122247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8" y="54"/>
                </a:cxn>
                <a:cxn ang="0">
                  <a:pos x="14" y="46"/>
                </a:cxn>
                <a:cxn ang="0">
                  <a:pos x="50" y="40"/>
                </a:cxn>
                <a:cxn ang="0">
                  <a:pos x="57" y="29"/>
                </a:cxn>
                <a:cxn ang="0">
                  <a:pos x="63" y="22"/>
                </a:cxn>
                <a:cxn ang="0">
                  <a:pos x="81" y="10"/>
                </a:cxn>
                <a:cxn ang="0">
                  <a:pos x="90" y="4"/>
                </a:cxn>
                <a:cxn ang="0">
                  <a:pos x="93" y="1"/>
                </a:cxn>
                <a:cxn ang="0">
                  <a:pos x="86" y="11"/>
                </a:cxn>
                <a:cxn ang="0">
                  <a:pos x="93" y="22"/>
                </a:cxn>
                <a:cxn ang="0">
                  <a:pos x="86" y="43"/>
                </a:cxn>
                <a:cxn ang="0">
                  <a:pos x="84" y="46"/>
                </a:cxn>
                <a:cxn ang="0">
                  <a:pos x="83" y="53"/>
                </a:cxn>
                <a:cxn ang="0">
                  <a:pos x="80" y="47"/>
                </a:cxn>
                <a:cxn ang="0">
                  <a:pos x="72" y="44"/>
                </a:cxn>
                <a:cxn ang="0">
                  <a:pos x="48" y="49"/>
                </a:cxn>
                <a:cxn ang="0">
                  <a:pos x="39" y="54"/>
                </a:cxn>
                <a:cxn ang="0">
                  <a:pos x="29" y="52"/>
                </a:cxn>
                <a:cxn ang="0">
                  <a:pos x="24" y="58"/>
                </a:cxn>
                <a:cxn ang="0">
                  <a:pos x="18" y="60"/>
                </a:cxn>
                <a:cxn ang="0">
                  <a:pos x="0" y="72"/>
                </a:cxn>
              </a:cxnLst>
              <a:rect l="0" t="0" r="r" b="b"/>
              <a:pathLst>
                <a:path w="95" h="76">
                  <a:moveTo>
                    <a:pt x="0" y="72"/>
                  </a:moveTo>
                  <a:cubicBezTo>
                    <a:pt x="2" y="64"/>
                    <a:pt x="1" y="58"/>
                    <a:pt x="8" y="54"/>
                  </a:cubicBezTo>
                  <a:cubicBezTo>
                    <a:pt x="9" y="49"/>
                    <a:pt x="9" y="47"/>
                    <a:pt x="14" y="46"/>
                  </a:cubicBezTo>
                  <a:cubicBezTo>
                    <a:pt x="26" y="48"/>
                    <a:pt x="38" y="42"/>
                    <a:pt x="50" y="40"/>
                  </a:cubicBezTo>
                  <a:cubicBezTo>
                    <a:pt x="53" y="36"/>
                    <a:pt x="53" y="32"/>
                    <a:pt x="57" y="29"/>
                  </a:cubicBezTo>
                  <a:cubicBezTo>
                    <a:pt x="58" y="25"/>
                    <a:pt x="59" y="23"/>
                    <a:pt x="63" y="22"/>
                  </a:cubicBezTo>
                  <a:cubicBezTo>
                    <a:pt x="68" y="17"/>
                    <a:pt x="73" y="12"/>
                    <a:pt x="81" y="10"/>
                  </a:cubicBezTo>
                  <a:cubicBezTo>
                    <a:pt x="84" y="7"/>
                    <a:pt x="86" y="5"/>
                    <a:pt x="90" y="4"/>
                  </a:cubicBezTo>
                  <a:cubicBezTo>
                    <a:pt x="91" y="3"/>
                    <a:pt x="93" y="0"/>
                    <a:pt x="93" y="1"/>
                  </a:cubicBezTo>
                  <a:cubicBezTo>
                    <a:pt x="93" y="5"/>
                    <a:pt x="86" y="11"/>
                    <a:pt x="86" y="11"/>
                  </a:cubicBezTo>
                  <a:cubicBezTo>
                    <a:pt x="87" y="17"/>
                    <a:pt x="89" y="17"/>
                    <a:pt x="93" y="22"/>
                  </a:cubicBezTo>
                  <a:cubicBezTo>
                    <a:pt x="95" y="28"/>
                    <a:pt x="91" y="40"/>
                    <a:pt x="86" y="43"/>
                  </a:cubicBezTo>
                  <a:cubicBezTo>
                    <a:pt x="85" y="44"/>
                    <a:pt x="84" y="45"/>
                    <a:pt x="84" y="46"/>
                  </a:cubicBezTo>
                  <a:cubicBezTo>
                    <a:pt x="83" y="48"/>
                    <a:pt x="84" y="51"/>
                    <a:pt x="83" y="53"/>
                  </a:cubicBezTo>
                  <a:cubicBezTo>
                    <a:pt x="82" y="55"/>
                    <a:pt x="82" y="48"/>
                    <a:pt x="80" y="47"/>
                  </a:cubicBezTo>
                  <a:cubicBezTo>
                    <a:pt x="78" y="45"/>
                    <a:pt x="75" y="45"/>
                    <a:pt x="72" y="44"/>
                  </a:cubicBezTo>
                  <a:cubicBezTo>
                    <a:pt x="64" y="45"/>
                    <a:pt x="56" y="47"/>
                    <a:pt x="48" y="49"/>
                  </a:cubicBezTo>
                  <a:cubicBezTo>
                    <a:pt x="46" y="51"/>
                    <a:pt x="39" y="54"/>
                    <a:pt x="39" y="54"/>
                  </a:cubicBezTo>
                  <a:cubicBezTo>
                    <a:pt x="36" y="54"/>
                    <a:pt x="32" y="51"/>
                    <a:pt x="29" y="52"/>
                  </a:cubicBezTo>
                  <a:cubicBezTo>
                    <a:pt x="27" y="53"/>
                    <a:pt x="26" y="57"/>
                    <a:pt x="24" y="58"/>
                  </a:cubicBezTo>
                  <a:cubicBezTo>
                    <a:pt x="22" y="59"/>
                    <a:pt x="18" y="60"/>
                    <a:pt x="18" y="60"/>
                  </a:cubicBezTo>
                  <a:cubicBezTo>
                    <a:pt x="12" y="68"/>
                    <a:pt x="11" y="76"/>
                    <a:pt x="0" y="72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" name="Freeform 4533">
              <a:extLst>
                <a:ext uri="{FF2B5EF4-FFF2-40B4-BE49-F238E27FC236}">
                  <a16:creationId xmlns:a16="http://schemas.microsoft.com/office/drawing/2014/main" xmlns="" id="{81D67FB0-D41F-40D3-AD92-14D8E86E9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8302" y="2451955"/>
              <a:ext cx="61123" cy="48255"/>
            </a:xfrm>
            <a:custGeom>
              <a:avLst/>
              <a:gdLst/>
              <a:ahLst/>
              <a:cxnLst>
                <a:cxn ang="0">
                  <a:pos x="21" y="4"/>
                </a:cxn>
                <a:cxn ang="0">
                  <a:pos x="0" y="8"/>
                </a:cxn>
                <a:cxn ang="0">
                  <a:pos x="19" y="30"/>
                </a:cxn>
                <a:cxn ang="0">
                  <a:pos x="38" y="15"/>
                </a:cxn>
                <a:cxn ang="0">
                  <a:pos x="17" y="5"/>
                </a:cxn>
                <a:cxn ang="0">
                  <a:pos x="8" y="2"/>
                </a:cxn>
                <a:cxn ang="0">
                  <a:pos x="21" y="4"/>
                </a:cxn>
              </a:cxnLst>
              <a:rect l="0" t="0" r="r" b="b"/>
              <a:pathLst>
                <a:path w="38" h="30">
                  <a:moveTo>
                    <a:pt x="21" y="4"/>
                  </a:moveTo>
                  <a:cubicBezTo>
                    <a:pt x="13" y="1"/>
                    <a:pt x="4" y="0"/>
                    <a:pt x="0" y="8"/>
                  </a:cubicBezTo>
                  <a:cubicBezTo>
                    <a:pt x="1" y="26"/>
                    <a:pt x="4" y="26"/>
                    <a:pt x="19" y="30"/>
                  </a:cubicBezTo>
                  <a:cubicBezTo>
                    <a:pt x="29" y="28"/>
                    <a:pt x="31" y="22"/>
                    <a:pt x="38" y="15"/>
                  </a:cubicBezTo>
                  <a:cubicBezTo>
                    <a:pt x="36" y="5"/>
                    <a:pt x="27" y="6"/>
                    <a:pt x="17" y="5"/>
                  </a:cubicBezTo>
                  <a:cubicBezTo>
                    <a:pt x="9" y="3"/>
                    <a:pt x="11" y="5"/>
                    <a:pt x="8" y="2"/>
                  </a:cubicBezTo>
                  <a:lnTo>
                    <a:pt x="21" y="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" name="Freeform 4534">
              <a:extLst>
                <a:ext uri="{FF2B5EF4-FFF2-40B4-BE49-F238E27FC236}">
                  <a16:creationId xmlns:a16="http://schemas.microsoft.com/office/drawing/2014/main" xmlns="" id="{764DBCEB-3EE8-48D0-B1C5-AE6C40D20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2046" y="1412856"/>
              <a:ext cx="157634" cy="188196"/>
            </a:xfrm>
            <a:custGeom>
              <a:avLst/>
              <a:gdLst/>
              <a:ahLst/>
              <a:cxnLst>
                <a:cxn ang="0">
                  <a:pos x="14" y="94"/>
                </a:cxn>
                <a:cxn ang="0">
                  <a:pos x="30" y="74"/>
                </a:cxn>
                <a:cxn ang="0">
                  <a:pos x="39" y="74"/>
                </a:cxn>
                <a:cxn ang="0">
                  <a:pos x="52" y="70"/>
                </a:cxn>
                <a:cxn ang="0">
                  <a:pos x="56" y="60"/>
                </a:cxn>
                <a:cxn ang="0">
                  <a:pos x="40" y="54"/>
                </a:cxn>
                <a:cxn ang="0">
                  <a:pos x="60" y="33"/>
                </a:cxn>
                <a:cxn ang="0">
                  <a:pos x="74" y="33"/>
                </a:cxn>
                <a:cxn ang="0">
                  <a:pos x="79" y="0"/>
                </a:cxn>
                <a:cxn ang="0">
                  <a:pos x="86" y="7"/>
                </a:cxn>
                <a:cxn ang="0">
                  <a:pos x="79" y="21"/>
                </a:cxn>
                <a:cxn ang="0">
                  <a:pos x="80" y="31"/>
                </a:cxn>
                <a:cxn ang="0">
                  <a:pos x="84" y="37"/>
                </a:cxn>
                <a:cxn ang="0">
                  <a:pos x="97" y="30"/>
                </a:cxn>
                <a:cxn ang="0">
                  <a:pos x="85" y="51"/>
                </a:cxn>
                <a:cxn ang="0">
                  <a:pos x="79" y="63"/>
                </a:cxn>
                <a:cxn ang="0">
                  <a:pos x="56" y="82"/>
                </a:cxn>
                <a:cxn ang="0">
                  <a:pos x="37" y="85"/>
                </a:cxn>
                <a:cxn ang="0">
                  <a:pos x="31" y="94"/>
                </a:cxn>
                <a:cxn ang="0">
                  <a:pos x="16" y="105"/>
                </a:cxn>
                <a:cxn ang="0">
                  <a:pos x="6" y="114"/>
                </a:cxn>
                <a:cxn ang="0">
                  <a:pos x="0" y="117"/>
                </a:cxn>
                <a:cxn ang="0">
                  <a:pos x="14" y="94"/>
                </a:cxn>
              </a:cxnLst>
              <a:rect l="0" t="0" r="r" b="b"/>
              <a:pathLst>
                <a:path w="98" h="117">
                  <a:moveTo>
                    <a:pt x="14" y="94"/>
                  </a:moveTo>
                  <a:cubicBezTo>
                    <a:pt x="22" y="88"/>
                    <a:pt x="22" y="81"/>
                    <a:pt x="30" y="74"/>
                  </a:cubicBezTo>
                  <a:cubicBezTo>
                    <a:pt x="32" y="68"/>
                    <a:pt x="33" y="76"/>
                    <a:pt x="39" y="74"/>
                  </a:cubicBezTo>
                  <a:cubicBezTo>
                    <a:pt x="45" y="75"/>
                    <a:pt x="46" y="68"/>
                    <a:pt x="52" y="70"/>
                  </a:cubicBezTo>
                  <a:cubicBezTo>
                    <a:pt x="59" y="69"/>
                    <a:pt x="64" y="66"/>
                    <a:pt x="56" y="60"/>
                  </a:cubicBezTo>
                  <a:cubicBezTo>
                    <a:pt x="51" y="57"/>
                    <a:pt x="40" y="54"/>
                    <a:pt x="40" y="54"/>
                  </a:cubicBezTo>
                  <a:cubicBezTo>
                    <a:pt x="37" y="44"/>
                    <a:pt x="54" y="34"/>
                    <a:pt x="60" y="33"/>
                  </a:cubicBezTo>
                  <a:cubicBezTo>
                    <a:pt x="63" y="29"/>
                    <a:pt x="72" y="38"/>
                    <a:pt x="74" y="33"/>
                  </a:cubicBezTo>
                  <a:cubicBezTo>
                    <a:pt x="73" y="24"/>
                    <a:pt x="67" y="3"/>
                    <a:pt x="79" y="0"/>
                  </a:cubicBezTo>
                  <a:cubicBezTo>
                    <a:pt x="84" y="2"/>
                    <a:pt x="85" y="2"/>
                    <a:pt x="86" y="7"/>
                  </a:cubicBezTo>
                  <a:cubicBezTo>
                    <a:pt x="85" y="15"/>
                    <a:pt x="83" y="15"/>
                    <a:pt x="79" y="21"/>
                  </a:cubicBezTo>
                  <a:cubicBezTo>
                    <a:pt x="78" y="25"/>
                    <a:pt x="77" y="26"/>
                    <a:pt x="80" y="31"/>
                  </a:cubicBezTo>
                  <a:cubicBezTo>
                    <a:pt x="81" y="33"/>
                    <a:pt x="84" y="37"/>
                    <a:pt x="84" y="37"/>
                  </a:cubicBezTo>
                  <a:cubicBezTo>
                    <a:pt x="88" y="35"/>
                    <a:pt x="92" y="32"/>
                    <a:pt x="97" y="30"/>
                  </a:cubicBezTo>
                  <a:cubicBezTo>
                    <a:pt x="98" y="32"/>
                    <a:pt x="88" y="46"/>
                    <a:pt x="85" y="51"/>
                  </a:cubicBezTo>
                  <a:cubicBezTo>
                    <a:pt x="82" y="56"/>
                    <a:pt x="84" y="58"/>
                    <a:pt x="79" y="63"/>
                  </a:cubicBezTo>
                  <a:cubicBezTo>
                    <a:pt x="72" y="79"/>
                    <a:pt x="78" y="81"/>
                    <a:pt x="56" y="82"/>
                  </a:cubicBezTo>
                  <a:cubicBezTo>
                    <a:pt x="50" y="84"/>
                    <a:pt x="43" y="83"/>
                    <a:pt x="37" y="85"/>
                  </a:cubicBezTo>
                  <a:cubicBezTo>
                    <a:pt x="36" y="85"/>
                    <a:pt x="32" y="93"/>
                    <a:pt x="31" y="94"/>
                  </a:cubicBezTo>
                  <a:cubicBezTo>
                    <a:pt x="26" y="100"/>
                    <a:pt x="22" y="101"/>
                    <a:pt x="16" y="105"/>
                  </a:cubicBezTo>
                  <a:cubicBezTo>
                    <a:pt x="12" y="111"/>
                    <a:pt x="15" y="107"/>
                    <a:pt x="6" y="114"/>
                  </a:cubicBezTo>
                  <a:cubicBezTo>
                    <a:pt x="4" y="115"/>
                    <a:pt x="0" y="117"/>
                    <a:pt x="0" y="117"/>
                  </a:cubicBezTo>
                  <a:lnTo>
                    <a:pt x="14" y="9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" name="Freeform 4535">
              <a:extLst>
                <a:ext uri="{FF2B5EF4-FFF2-40B4-BE49-F238E27FC236}">
                  <a16:creationId xmlns:a16="http://schemas.microsoft.com/office/drawing/2014/main" xmlns="" id="{E43B9B59-6EDC-4AAA-A8DD-C68902844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2965" y="2392440"/>
              <a:ext cx="57906" cy="115813"/>
            </a:xfrm>
            <a:custGeom>
              <a:avLst/>
              <a:gdLst/>
              <a:ahLst/>
              <a:cxnLst>
                <a:cxn ang="0">
                  <a:pos x="32" y="4"/>
                </a:cxn>
                <a:cxn ang="0">
                  <a:pos x="20" y="11"/>
                </a:cxn>
                <a:cxn ang="0">
                  <a:pos x="7" y="22"/>
                </a:cxn>
                <a:cxn ang="0">
                  <a:pos x="3" y="28"/>
                </a:cxn>
                <a:cxn ang="0">
                  <a:pos x="0" y="43"/>
                </a:cxn>
                <a:cxn ang="0">
                  <a:pos x="7" y="72"/>
                </a:cxn>
                <a:cxn ang="0">
                  <a:pos x="17" y="63"/>
                </a:cxn>
                <a:cxn ang="0">
                  <a:pos x="21" y="54"/>
                </a:cxn>
                <a:cxn ang="0">
                  <a:pos x="30" y="23"/>
                </a:cxn>
                <a:cxn ang="0">
                  <a:pos x="36" y="9"/>
                </a:cxn>
                <a:cxn ang="0">
                  <a:pos x="26" y="11"/>
                </a:cxn>
                <a:cxn ang="0">
                  <a:pos x="32" y="4"/>
                </a:cxn>
              </a:cxnLst>
              <a:rect l="0" t="0" r="r" b="b"/>
              <a:pathLst>
                <a:path w="36" h="72">
                  <a:moveTo>
                    <a:pt x="32" y="4"/>
                  </a:moveTo>
                  <a:cubicBezTo>
                    <a:pt x="24" y="5"/>
                    <a:pt x="26" y="8"/>
                    <a:pt x="20" y="11"/>
                  </a:cubicBezTo>
                  <a:cubicBezTo>
                    <a:pt x="16" y="16"/>
                    <a:pt x="11" y="17"/>
                    <a:pt x="7" y="22"/>
                  </a:cubicBezTo>
                  <a:cubicBezTo>
                    <a:pt x="5" y="24"/>
                    <a:pt x="3" y="28"/>
                    <a:pt x="3" y="28"/>
                  </a:cubicBezTo>
                  <a:cubicBezTo>
                    <a:pt x="2" y="33"/>
                    <a:pt x="2" y="38"/>
                    <a:pt x="0" y="43"/>
                  </a:cubicBezTo>
                  <a:cubicBezTo>
                    <a:pt x="2" y="53"/>
                    <a:pt x="1" y="63"/>
                    <a:pt x="7" y="72"/>
                  </a:cubicBezTo>
                  <a:cubicBezTo>
                    <a:pt x="10" y="68"/>
                    <a:pt x="12" y="66"/>
                    <a:pt x="17" y="63"/>
                  </a:cubicBezTo>
                  <a:cubicBezTo>
                    <a:pt x="18" y="60"/>
                    <a:pt x="20" y="57"/>
                    <a:pt x="21" y="54"/>
                  </a:cubicBezTo>
                  <a:cubicBezTo>
                    <a:pt x="22" y="42"/>
                    <a:pt x="20" y="30"/>
                    <a:pt x="30" y="23"/>
                  </a:cubicBezTo>
                  <a:cubicBezTo>
                    <a:pt x="32" y="19"/>
                    <a:pt x="34" y="14"/>
                    <a:pt x="36" y="9"/>
                  </a:cubicBezTo>
                  <a:cubicBezTo>
                    <a:pt x="33" y="0"/>
                    <a:pt x="30" y="7"/>
                    <a:pt x="26" y="11"/>
                  </a:cubicBezTo>
                  <a:lnTo>
                    <a:pt x="32" y="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" name="Freeform 4536">
              <a:extLst>
                <a:ext uri="{FF2B5EF4-FFF2-40B4-BE49-F238E27FC236}">
                  <a16:creationId xmlns:a16="http://schemas.microsoft.com/office/drawing/2014/main" xmlns="" id="{287DBDF0-4CC2-4D95-9BD5-BEA0D3B66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5689" y="3159700"/>
              <a:ext cx="38604" cy="3056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9" y="12"/>
                </a:cxn>
                <a:cxn ang="0">
                  <a:pos x="15" y="19"/>
                </a:cxn>
                <a:cxn ang="0">
                  <a:pos x="18" y="9"/>
                </a:cxn>
                <a:cxn ang="0">
                  <a:pos x="9" y="4"/>
                </a:cxn>
                <a:cxn ang="0">
                  <a:pos x="3" y="2"/>
                </a:cxn>
                <a:cxn ang="0">
                  <a:pos x="4" y="0"/>
                </a:cxn>
              </a:cxnLst>
              <a:rect l="0" t="0" r="r" b="b"/>
              <a:pathLst>
                <a:path w="24" h="19">
                  <a:moveTo>
                    <a:pt x="4" y="0"/>
                  </a:moveTo>
                  <a:cubicBezTo>
                    <a:pt x="0" y="6"/>
                    <a:pt x="4" y="9"/>
                    <a:pt x="9" y="12"/>
                  </a:cubicBezTo>
                  <a:cubicBezTo>
                    <a:pt x="11" y="16"/>
                    <a:pt x="14" y="15"/>
                    <a:pt x="15" y="19"/>
                  </a:cubicBezTo>
                  <a:cubicBezTo>
                    <a:pt x="21" y="18"/>
                    <a:pt x="24" y="15"/>
                    <a:pt x="18" y="9"/>
                  </a:cubicBezTo>
                  <a:cubicBezTo>
                    <a:pt x="16" y="6"/>
                    <a:pt x="12" y="6"/>
                    <a:pt x="9" y="4"/>
                  </a:cubicBezTo>
                  <a:cubicBezTo>
                    <a:pt x="7" y="3"/>
                    <a:pt x="2" y="4"/>
                    <a:pt x="3" y="2"/>
                  </a:cubicBezTo>
                  <a:cubicBezTo>
                    <a:pt x="3" y="1"/>
                    <a:pt x="4" y="1"/>
                    <a:pt x="4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" name="Freeform 4537">
              <a:extLst>
                <a:ext uri="{FF2B5EF4-FFF2-40B4-BE49-F238E27FC236}">
                  <a16:creationId xmlns:a16="http://schemas.microsoft.com/office/drawing/2014/main" xmlns="" id="{A4DB10C9-993F-4FFD-84C3-C0CB0BDEC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5365" y="3328594"/>
              <a:ext cx="22519" cy="17694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9" y="7"/>
                </a:cxn>
                <a:cxn ang="0">
                  <a:pos x="3" y="11"/>
                </a:cxn>
                <a:cxn ang="0">
                  <a:pos x="5" y="0"/>
                </a:cxn>
              </a:cxnLst>
              <a:rect l="0" t="0" r="r" b="b"/>
              <a:pathLst>
                <a:path w="14" h="11">
                  <a:moveTo>
                    <a:pt x="5" y="0"/>
                  </a:moveTo>
                  <a:cubicBezTo>
                    <a:pt x="9" y="1"/>
                    <a:pt x="14" y="0"/>
                    <a:pt x="9" y="7"/>
                  </a:cubicBezTo>
                  <a:cubicBezTo>
                    <a:pt x="8" y="9"/>
                    <a:pt x="3" y="11"/>
                    <a:pt x="3" y="11"/>
                  </a:cubicBezTo>
                  <a:cubicBezTo>
                    <a:pt x="0" y="7"/>
                    <a:pt x="1" y="4"/>
                    <a:pt x="5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" name="Freeform 4538">
              <a:extLst>
                <a:ext uri="{FF2B5EF4-FFF2-40B4-BE49-F238E27FC236}">
                  <a16:creationId xmlns:a16="http://schemas.microsoft.com/office/drawing/2014/main" xmlns="" id="{961D736C-EE76-4D5B-BF3C-668503FFF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3059" y="3306075"/>
              <a:ext cx="12868" cy="2734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8" y="0"/>
                </a:cxn>
                <a:cxn ang="0">
                  <a:pos x="0" y="8"/>
                </a:cxn>
              </a:cxnLst>
              <a:rect l="0" t="0" r="r" b="b"/>
              <a:pathLst>
                <a:path w="8" h="17">
                  <a:moveTo>
                    <a:pt x="0" y="8"/>
                  </a:moveTo>
                  <a:cubicBezTo>
                    <a:pt x="5" y="6"/>
                    <a:pt x="4" y="4"/>
                    <a:pt x="8" y="0"/>
                  </a:cubicBezTo>
                  <a:cubicBezTo>
                    <a:pt x="8" y="2"/>
                    <a:pt x="0" y="17"/>
                    <a:pt x="0" y="8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" name="Freeform 4539">
              <a:extLst>
                <a:ext uri="{FF2B5EF4-FFF2-40B4-BE49-F238E27FC236}">
                  <a16:creationId xmlns:a16="http://schemas.microsoft.com/office/drawing/2014/main" xmlns="" id="{63B3EB89-87AE-423A-8D2C-093D72D66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5578" y="3294815"/>
              <a:ext cx="19302" cy="16085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2" y="2"/>
                </a:cxn>
                <a:cxn ang="0">
                  <a:pos x="0" y="3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cubicBezTo>
                    <a:pt x="8" y="0"/>
                    <a:pt x="4" y="1"/>
                    <a:pt x="12" y="2"/>
                  </a:cubicBezTo>
                  <a:cubicBezTo>
                    <a:pt x="10" y="9"/>
                    <a:pt x="0" y="10"/>
                    <a:pt x="0" y="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" name="Freeform 4540">
              <a:extLst>
                <a:ext uri="{FF2B5EF4-FFF2-40B4-BE49-F238E27FC236}">
                  <a16:creationId xmlns:a16="http://schemas.microsoft.com/office/drawing/2014/main" xmlns="" id="{DB8E8A27-250A-4E3D-9C77-940A99298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5543" y="2548466"/>
              <a:ext cx="48255" cy="5308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" y="9"/>
                </a:cxn>
                <a:cxn ang="0">
                  <a:pos x="0" y="21"/>
                </a:cxn>
                <a:cxn ang="0">
                  <a:pos x="10" y="33"/>
                </a:cxn>
                <a:cxn ang="0">
                  <a:pos x="25" y="26"/>
                </a:cxn>
                <a:cxn ang="0">
                  <a:pos x="30" y="12"/>
                </a:cxn>
                <a:cxn ang="0">
                  <a:pos x="16" y="0"/>
                </a:cxn>
              </a:cxnLst>
              <a:rect l="0" t="0" r="r" b="b"/>
              <a:pathLst>
                <a:path w="30" h="33">
                  <a:moveTo>
                    <a:pt x="16" y="0"/>
                  </a:moveTo>
                  <a:cubicBezTo>
                    <a:pt x="7" y="3"/>
                    <a:pt x="9" y="3"/>
                    <a:pt x="3" y="9"/>
                  </a:cubicBezTo>
                  <a:cubicBezTo>
                    <a:pt x="0" y="17"/>
                    <a:pt x="1" y="13"/>
                    <a:pt x="0" y="21"/>
                  </a:cubicBezTo>
                  <a:cubicBezTo>
                    <a:pt x="1" y="29"/>
                    <a:pt x="3" y="31"/>
                    <a:pt x="10" y="33"/>
                  </a:cubicBezTo>
                  <a:cubicBezTo>
                    <a:pt x="25" y="32"/>
                    <a:pt x="18" y="33"/>
                    <a:pt x="25" y="26"/>
                  </a:cubicBezTo>
                  <a:cubicBezTo>
                    <a:pt x="26" y="20"/>
                    <a:pt x="27" y="17"/>
                    <a:pt x="30" y="12"/>
                  </a:cubicBezTo>
                  <a:cubicBezTo>
                    <a:pt x="27" y="0"/>
                    <a:pt x="24" y="5"/>
                    <a:pt x="16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" name="Freeform 4541">
              <a:extLst>
                <a:ext uri="{FF2B5EF4-FFF2-40B4-BE49-F238E27FC236}">
                  <a16:creationId xmlns:a16="http://schemas.microsoft.com/office/drawing/2014/main" xmlns="" id="{29DD0416-C027-4456-A32A-F1E7E5008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2232" y="2603155"/>
              <a:ext cx="136724" cy="173719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45" y="7"/>
                </a:cxn>
                <a:cxn ang="0">
                  <a:pos x="36" y="42"/>
                </a:cxn>
                <a:cxn ang="0">
                  <a:pos x="21" y="55"/>
                </a:cxn>
                <a:cxn ang="0">
                  <a:pos x="6" y="90"/>
                </a:cxn>
                <a:cxn ang="0">
                  <a:pos x="0" y="103"/>
                </a:cxn>
                <a:cxn ang="0">
                  <a:pos x="7" y="108"/>
                </a:cxn>
                <a:cxn ang="0">
                  <a:pos x="23" y="82"/>
                </a:cxn>
                <a:cxn ang="0">
                  <a:pos x="34" y="64"/>
                </a:cxn>
                <a:cxn ang="0">
                  <a:pos x="40" y="55"/>
                </a:cxn>
                <a:cxn ang="0">
                  <a:pos x="58" y="48"/>
                </a:cxn>
                <a:cxn ang="0">
                  <a:pos x="69" y="40"/>
                </a:cxn>
                <a:cxn ang="0">
                  <a:pos x="81" y="22"/>
                </a:cxn>
                <a:cxn ang="0">
                  <a:pos x="84" y="10"/>
                </a:cxn>
                <a:cxn ang="0">
                  <a:pos x="81" y="0"/>
                </a:cxn>
              </a:cxnLst>
              <a:rect l="0" t="0" r="r" b="b"/>
              <a:pathLst>
                <a:path w="85" h="108">
                  <a:moveTo>
                    <a:pt x="81" y="0"/>
                  </a:moveTo>
                  <a:cubicBezTo>
                    <a:pt x="69" y="1"/>
                    <a:pt x="55" y="0"/>
                    <a:pt x="45" y="7"/>
                  </a:cubicBezTo>
                  <a:cubicBezTo>
                    <a:pt x="38" y="18"/>
                    <a:pt x="41" y="31"/>
                    <a:pt x="36" y="42"/>
                  </a:cubicBezTo>
                  <a:cubicBezTo>
                    <a:pt x="33" y="48"/>
                    <a:pt x="26" y="52"/>
                    <a:pt x="21" y="55"/>
                  </a:cubicBezTo>
                  <a:cubicBezTo>
                    <a:pt x="14" y="65"/>
                    <a:pt x="17" y="83"/>
                    <a:pt x="6" y="90"/>
                  </a:cubicBezTo>
                  <a:cubicBezTo>
                    <a:pt x="5" y="96"/>
                    <a:pt x="4" y="99"/>
                    <a:pt x="0" y="103"/>
                  </a:cubicBezTo>
                  <a:cubicBezTo>
                    <a:pt x="1" y="106"/>
                    <a:pt x="7" y="108"/>
                    <a:pt x="7" y="108"/>
                  </a:cubicBezTo>
                  <a:cubicBezTo>
                    <a:pt x="12" y="99"/>
                    <a:pt x="15" y="88"/>
                    <a:pt x="23" y="82"/>
                  </a:cubicBezTo>
                  <a:cubicBezTo>
                    <a:pt x="25" y="77"/>
                    <a:pt x="30" y="68"/>
                    <a:pt x="34" y="64"/>
                  </a:cubicBezTo>
                  <a:cubicBezTo>
                    <a:pt x="35" y="60"/>
                    <a:pt x="35" y="57"/>
                    <a:pt x="40" y="55"/>
                  </a:cubicBezTo>
                  <a:cubicBezTo>
                    <a:pt x="45" y="50"/>
                    <a:pt x="51" y="49"/>
                    <a:pt x="58" y="48"/>
                  </a:cubicBezTo>
                  <a:cubicBezTo>
                    <a:pt x="61" y="46"/>
                    <a:pt x="66" y="41"/>
                    <a:pt x="69" y="40"/>
                  </a:cubicBezTo>
                  <a:cubicBezTo>
                    <a:pt x="72" y="34"/>
                    <a:pt x="77" y="26"/>
                    <a:pt x="81" y="22"/>
                  </a:cubicBezTo>
                  <a:cubicBezTo>
                    <a:pt x="82" y="18"/>
                    <a:pt x="83" y="14"/>
                    <a:pt x="84" y="10"/>
                  </a:cubicBezTo>
                  <a:cubicBezTo>
                    <a:pt x="83" y="1"/>
                    <a:pt x="85" y="4"/>
                    <a:pt x="81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2" name="Freeform 4542">
              <a:extLst>
                <a:ext uri="{FF2B5EF4-FFF2-40B4-BE49-F238E27FC236}">
                  <a16:creationId xmlns:a16="http://schemas.microsoft.com/office/drawing/2014/main" xmlns="" id="{C2BD6CF3-5723-4837-8703-05103B632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181" y="2696449"/>
              <a:ext cx="70775" cy="80426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41" y="31"/>
                </a:cxn>
                <a:cxn ang="0">
                  <a:pos x="31" y="46"/>
                </a:cxn>
                <a:cxn ang="0">
                  <a:pos x="25" y="49"/>
                </a:cxn>
                <a:cxn ang="0">
                  <a:pos x="16" y="30"/>
                </a:cxn>
                <a:cxn ang="0">
                  <a:pos x="4" y="18"/>
                </a:cxn>
                <a:cxn ang="0">
                  <a:pos x="12" y="7"/>
                </a:cxn>
                <a:cxn ang="0">
                  <a:pos x="17" y="8"/>
                </a:cxn>
                <a:cxn ang="0">
                  <a:pos x="19" y="12"/>
                </a:cxn>
                <a:cxn ang="0">
                  <a:pos x="23" y="0"/>
                </a:cxn>
              </a:cxnLst>
              <a:rect l="0" t="0" r="r" b="b"/>
              <a:pathLst>
                <a:path w="44" h="50">
                  <a:moveTo>
                    <a:pt x="23" y="0"/>
                  </a:moveTo>
                  <a:cubicBezTo>
                    <a:pt x="38" y="10"/>
                    <a:pt x="20" y="24"/>
                    <a:pt x="41" y="31"/>
                  </a:cubicBezTo>
                  <a:cubicBezTo>
                    <a:pt x="44" y="39"/>
                    <a:pt x="38" y="45"/>
                    <a:pt x="31" y="46"/>
                  </a:cubicBezTo>
                  <a:cubicBezTo>
                    <a:pt x="30" y="46"/>
                    <a:pt x="26" y="50"/>
                    <a:pt x="25" y="49"/>
                  </a:cubicBezTo>
                  <a:cubicBezTo>
                    <a:pt x="18" y="46"/>
                    <a:pt x="19" y="35"/>
                    <a:pt x="16" y="30"/>
                  </a:cubicBezTo>
                  <a:cubicBezTo>
                    <a:pt x="11" y="22"/>
                    <a:pt x="11" y="22"/>
                    <a:pt x="4" y="18"/>
                  </a:cubicBezTo>
                  <a:cubicBezTo>
                    <a:pt x="0" y="10"/>
                    <a:pt x="4" y="9"/>
                    <a:pt x="12" y="7"/>
                  </a:cubicBezTo>
                  <a:cubicBezTo>
                    <a:pt x="14" y="7"/>
                    <a:pt x="16" y="7"/>
                    <a:pt x="17" y="8"/>
                  </a:cubicBezTo>
                  <a:cubicBezTo>
                    <a:pt x="18" y="9"/>
                    <a:pt x="19" y="12"/>
                    <a:pt x="19" y="12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3" name="Freeform 4543">
              <a:extLst>
                <a:ext uri="{FF2B5EF4-FFF2-40B4-BE49-F238E27FC236}">
                  <a16:creationId xmlns:a16="http://schemas.microsoft.com/office/drawing/2014/main" xmlns="" id="{A5E31F4C-3FC0-4FC9-904B-994BD295D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2445" y="2891079"/>
              <a:ext cx="43430" cy="51472"/>
            </a:xfrm>
            <a:custGeom>
              <a:avLst/>
              <a:gdLst/>
              <a:ahLst/>
              <a:cxnLst>
                <a:cxn ang="0">
                  <a:pos x="8" y="7"/>
                </a:cxn>
                <a:cxn ang="0">
                  <a:pos x="8" y="23"/>
                </a:cxn>
                <a:cxn ang="0">
                  <a:pos x="10" y="26"/>
                </a:cxn>
                <a:cxn ang="0">
                  <a:pos x="9" y="30"/>
                </a:cxn>
                <a:cxn ang="0">
                  <a:pos x="6" y="32"/>
                </a:cxn>
                <a:cxn ang="0">
                  <a:pos x="17" y="31"/>
                </a:cxn>
                <a:cxn ang="0">
                  <a:pos x="27" y="12"/>
                </a:cxn>
                <a:cxn ang="0">
                  <a:pos x="8" y="7"/>
                </a:cxn>
              </a:cxnLst>
              <a:rect l="0" t="0" r="r" b="b"/>
              <a:pathLst>
                <a:path w="27" h="32">
                  <a:moveTo>
                    <a:pt x="8" y="7"/>
                  </a:moveTo>
                  <a:cubicBezTo>
                    <a:pt x="0" y="11"/>
                    <a:pt x="1" y="18"/>
                    <a:pt x="8" y="23"/>
                  </a:cubicBezTo>
                  <a:cubicBezTo>
                    <a:pt x="9" y="24"/>
                    <a:pt x="10" y="25"/>
                    <a:pt x="10" y="26"/>
                  </a:cubicBezTo>
                  <a:cubicBezTo>
                    <a:pt x="10" y="27"/>
                    <a:pt x="10" y="29"/>
                    <a:pt x="9" y="30"/>
                  </a:cubicBezTo>
                  <a:cubicBezTo>
                    <a:pt x="8" y="31"/>
                    <a:pt x="5" y="32"/>
                    <a:pt x="6" y="32"/>
                  </a:cubicBezTo>
                  <a:cubicBezTo>
                    <a:pt x="10" y="32"/>
                    <a:pt x="13" y="31"/>
                    <a:pt x="17" y="31"/>
                  </a:cubicBezTo>
                  <a:cubicBezTo>
                    <a:pt x="25" y="25"/>
                    <a:pt x="16" y="19"/>
                    <a:pt x="27" y="12"/>
                  </a:cubicBezTo>
                  <a:cubicBezTo>
                    <a:pt x="24" y="0"/>
                    <a:pt x="0" y="18"/>
                    <a:pt x="8" y="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Freeform 4544">
              <a:extLst>
                <a:ext uri="{FF2B5EF4-FFF2-40B4-BE49-F238E27FC236}">
                  <a16:creationId xmlns:a16="http://schemas.microsoft.com/office/drawing/2014/main" xmlns="" id="{E121090F-2AFB-4647-B5FE-E8E5A985D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786" y="3095360"/>
              <a:ext cx="51472" cy="40213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13" y="10"/>
                </a:cxn>
                <a:cxn ang="0">
                  <a:pos x="7" y="14"/>
                </a:cxn>
                <a:cxn ang="0">
                  <a:pos x="0" y="23"/>
                </a:cxn>
                <a:cxn ang="0">
                  <a:pos x="19" y="24"/>
                </a:cxn>
                <a:cxn ang="0">
                  <a:pos x="28" y="18"/>
                </a:cxn>
                <a:cxn ang="0">
                  <a:pos x="23" y="1"/>
                </a:cxn>
                <a:cxn ang="0">
                  <a:pos x="19" y="0"/>
                </a:cxn>
              </a:cxnLst>
              <a:rect l="0" t="0" r="r" b="b"/>
              <a:pathLst>
                <a:path w="32" h="25">
                  <a:moveTo>
                    <a:pt x="19" y="0"/>
                  </a:moveTo>
                  <a:cubicBezTo>
                    <a:pt x="18" y="3"/>
                    <a:pt x="15" y="8"/>
                    <a:pt x="13" y="10"/>
                  </a:cubicBezTo>
                  <a:cubicBezTo>
                    <a:pt x="11" y="12"/>
                    <a:pt x="7" y="14"/>
                    <a:pt x="7" y="14"/>
                  </a:cubicBezTo>
                  <a:cubicBezTo>
                    <a:pt x="5" y="17"/>
                    <a:pt x="2" y="20"/>
                    <a:pt x="0" y="23"/>
                  </a:cubicBezTo>
                  <a:cubicBezTo>
                    <a:pt x="7" y="25"/>
                    <a:pt x="12" y="25"/>
                    <a:pt x="19" y="24"/>
                  </a:cubicBezTo>
                  <a:cubicBezTo>
                    <a:pt x="22" y="22"/>
                    <a:pt x="24" y="19"/>
                    <a:pt x="28" y="18"/>
                  </a:cubicBezTo>
                  <a:cubicBezTo>
                    <a:pt x="30" y="10"/>
                    <a:pt x="32" y="4"/>
                    <a:pt x="23" y="1"/>
                  </a:cubicBezTo>
                  <a:cubicBezTo>
                    <a:pt x="17" y="2"/>
                    <a:pt x="14" y="9"/>
                    <a:pt x="1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Freeform 4545">
              <a:extLst>
                <a:ext uri="{FF2B5EF4-FFF2-40B4-BE49-F238E27FC236}">
                  <a16:creationId xmlns:a16="http://schemas.microsoft.com/office/drawing/2014/main" xmlns="" id="{C8E15463-1ABC-48CF-8629-EAAD55F88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8743" y="3211173"/>
              <a:ext cx="45038" cy="4021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28" y="10"/>
                </a:cxn>
                <a:cxn ang="0">
                  <a:pos x="16" y="17"/>
                </a:cxn>
                <a:cxn ang="0">
                  <a:pos x="3" y="12"/>
                </a:cxn>
                <a:cxn ang="0">
                  <a:pos x="9" y="4"/>
                </a:cxn>
                <a:cxn ang="0">
                  <a:pos x="11" y="0"/>
                </a:cxn>
              </a:cxnLst>
              <a:rect l="0" t="0" r="r" b="b"/>
              <a:pathLst>
                <a:path w="28" h="25">
                  <a:moveTo>
                    <a:pt x="11" y="0"/>
                  </a:moveTo>
                  <a:cubicBezTo>
                    <a:pt x="19" y="2"/>
                    <a:pt x="23" y="4"/>
                    <a:pt x="28" y="10"/>
                  </a:cubicBezTo>
                  <a:cubicBezTo>
                    <a:pt x="26" y="15"/>
                    <a:pt x="21" y="15"/>
                    <a:pt x="16" y="17"/>
                  </a:cubicBezTo>
                  <a:cubicBezTo>
                    <a:pt x="8" y="25"/>
                    <a:pt x="9" y="14"/>
                    <a:pt x="3" y="12"/>
                  </a:cubicBezTo>
                  <a:cubicBezTo>
                    <a:pt x="0" y="5"/>
                    <a:pt x="2" y="5"/>
                    <a:pt x="9" y="4"/>
                  </a:cubicBezTo>
                  <a:cubicBezTo>
                    <a:pt x="13" y="2"/>
                    <a:pt x="18" y="2"/>
                    <a:pt x="11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6" name="Freeform 4546">
              <a:extLst>
                <a:ext uri="{FF2B5EF4-FFF2-40B4-BE49-F238E27FC236}">
                  <a16:creationId xmlns:a16="http://schemas.microsoft.com/office/drawing/2014/main" xmlns="" id="{D84133B1-8B9B-40D9-9228-F69CAE6B0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717" y="2619240"/>
              <a:ext cx="595150" cy="969933"/>
            </a:xfrm>
            <a:custGeom>
              <a:avLst/>
              <a:gdLst/>
              <a:ahLst/>
              <a:cxnLst>
                <a:cxn ang="0">
                  <a:pos x="240" y="6"/>
                </a:cxn>
                <a:cxn ang="0">
                  <a:pos x="185" y="69"/>
                </a:cxn>
                <a:cxn ang="0">
                  <a:pos x="181" y="78"/>
                </a:cxn>
                <a:cxn ang="0">
                  <a:pos x="270" y="90"/>
                </a:cxn>
                <a:cxn ang="0">
                  <a:pos x="235" y="152"/>
                </a:cxn>
                <a:cxn ang="0">
                  <a:pos x="202" y="162"/>
                </a:cxn>
                <a:cxn ang="0">
                  <a:pos x="217" y="178"/>
                </a:cxn>
                <a:cxn ang="0">
                  <a:pos x="193" y="196"/>
                </a:cxn>
                <a:cxn ang="0">
                  <a:pos x="242" y="212"/>
                </a:cxn>
                <a:cxn ang="0">
                  <a:pos x="260" y="268"/>
                </a:cxn>
                <a:cxn ang="0">
                  <a:pos x="270" y="306"/>
                </a:cxn>
                <a:cxn ang="0">
                  <a:pos x="287" y="319"/>
                </a:cxn>
                <a:cxn ang="0">
                  <a:pos x="305" y="385"/>
                </a:cxn>
                <a:cxn ang="0">
                  <a:pos x="269" y="376"/>
                </a:cxn>
                <a:cxn ang="0">
                  <a:pos x="310" y="402"/>
                </a:cxn>
                <a:cxn ang="0">
                  <a:pos x="302" y="445"/>
                </a:cxn>
                <a:cxn ang="0">
                  <a:pos x="342" y="436"/>
                </a:cxn>
                <a:cxn ang="0">
                  <a:pos x="365" y="459"/>
                </a:cxn>
                <a:cxn ang="0">
                  <a:pos x="351" y="510"/>
                </a:cxn>
                <a:cxn ang="0">
                  <a:pos x="324" y="522"/>
                </a:cxn>
                <a:cxn ang="0">
                  <a:pos x="304" y="544"/>
                </a:cxn>
                <a:cxn ang="0">
                  <a:pos x="331" y="552"/>
                </a:cxn>
                <a:cxn ang="0">
                  <a:pos x="317" y="584"/>
                </a:cxn>
                <a:cxn ang="0">
                  <a:pos x="284" y="595"/>
                </a:cxn>
                <a:cxn ang="0">
                  <a:pos x="251" y="585"/>
                </a:cxn>
                <a:cxn ang="0">
                  <a:pos x="221" y="578"/>
                </a:cxn>
                <a:cxn ang="0">
                  <a:pos x="198" y="580"/>
                </a:cxn>
                <a:cxn ang="0">
                  <a:pos x="174" y="584"/>
                </a:cxn>
                <a:cxn ang="0">
                  <a:pos x="120" y="574"/>
                </a:cxn>
                <a:cxn ang="0">
                  <a:pos x="97" y="596"/>
                </a:cxn>
                <a:cxn ang="0">
                  <a:pos x="49" y="590"/>
                </a:cxn>
                <a:cxn ang="0">
                  <a:pos x="8" y="594"/>
                </a:cxn>
                <a:cxn ang="0">
                  <a:pos x="40" y="583"/>
                </a:cxn>
                <a:cxn ang="0">
                  <a:pos x="82" y="543"/>
                </a:cxn>
                <a:cxn ang="0">
                  <a:pos x="120" y="535"/>
                </a:cxn>
                <a:cxn ang="0">
                  <a:pos x="172" y="508"/>
                </a:cxn>
                <a:cxn ang="0">
                  <a:pos x="164" y="507"/>
                </a:cxn>
                <a:cxn ang="0">
                  <a:pos x="127" y="519"/>
                </a:cxn>
                <a:cxn ang="0">
                  <a:pos x="90" y="487"/>
                </a:cxn>
                <a:cxn ang="0">
                  <a:pos x="88" y="460"/>
                </a:cxn>
                <a:cxn ang="0">
                  <a:pos x="118" y="432"/>
                </a:cxn>
                <a:cxn ang="0">
                  <a:pos x="92" y="410"/>
                </a:cxn>
                <a:cxn ang="0">
                  <a:pos x="131" y="385"/>
                </a:cxn>
                <a:cxn ang="0">
                  <a:pos x="174" y="369"/>
                </a:cxn>
                <a:cxn ang="0">
                  <a:pos x="197" y="325"/>
                </a:cxn>
                <a:cxn ang="0">
                  <a:pos x="179" y="276"/>
                </a:cxn>
                <a:cxn ang="0">
                  <a:pos x="115" y="270"/>
                </a:cxn>
                <a:cxn ang="0">
                  <a:pos x="130" y="230"/>
                </a:cxn>
                <a:cxn ang="0">
                  <a:pos x="124" y="177"/>
                </a:cxn>
                <a:cxn ang="0">
                  <a:pos x="118" y="145"/>
                </a:cxn>
                <a:cxn ang="0">
                  <a:pos x="78" y="146"/>
                </a:cxn>
                <a:cxn ang="0">
                  <a:pos x="100" y="115"/>
                </a:cxn>
                <a:cxn ang="0">
                  <a:pos x="122" y="67"/>
                </a:cxn>
                <a:cxn ang="0">
                  <a:pos x="160" y="12"/>
                </a:cxn>
                <a:cxn ang="0">
                  <a:pos x="174" y="3"/>
                </a:cxn>
              </a:cxnLst>
              <a:rect l="0" t="0" r="r" b="b"/>
              <a:pathLst>
                <a:path w="370" h="603">
                  <a:moveTo>
                    <a:pt x="174" y="3"/>
                  </a:moveTo>
                  <a:cubicBezTo>
                    <a:pt x="184" y="2"/>
                    <a:pt x="190" y="6"/>
                    <a:pt x="199" y="7"/>
                  </a:cubicBezTo>
                  <a:cubicBezTo>
                    <a:pt x="217" y="6"/>
                    <a:pt x="224" y="4"/>
                    <a:pt x="240" y="6"/>
                  </a:cubicBezTo>
                  <a:cubicBezTo>
                    <a:pt x="237" y="29"/>
                    <a:pt x="221" y="37"/>
                    <a:pt x="199" y="40"/>
                  </a:cubicBezTo>
                  <a:cubicBezTo>
                    <a:pt x="193" y="44"/>
                    <a:pt x="192" y="44"/>
                    <a:pt x="190" y="51"/>
                  </a:cubicBezTo>
                  <a:cubicBezTo>
                    <a:pt x="192" y="60"/>
                    <a:pt x="193" y="64"/>
                    <a:pt x="185" y="69"/>
                  </a:cubicBezTo>
                  <a:cubicBezTo>
                    <a:pt x="183" y="75"/>
                    <a:pt x="182" y="78"/>
                    <a:pt x="176" y="79"/>
                  </a:cubicBezTo>
                  <a:cubicBezTo>
                    <a:pt x="173" y="80"/>
                    <a:pt x="165" y="82"/>
                    <a:pt x="168" y="81"/>
                  </a:cubicBezTo>
                  <a:cubicBezTo>
                    <a:pt x="172" y="80"/>
                    <a:pt x="177" y="79"/>
                    <a:pt x="181" y="78"/>
                  </a:cubicBezTo>
                  <a:cubicBezTo>
                    <a:pt x="188" y="73"/>
                    <a:pt x="195" y="75"/>
                    <a:pt x="204" y="74"/>
                  </a:cubicBezTo>
                  <a:cubicBezTo>
                    <a:pt x="224" y="70"/>
                    <a:pt x="243" y="79"/>
                    <a:pt x="263" y="82"/>
                  </a:cubicBezTo>
                  <a:cubicBezTo>
                    <a:pt x="268" y="85"/>
                    <a:pt x="269" y="83"/>
                    <a:pt x="270" y="90"/>
                  </a:cubicBezTo>
                  <a:cubicBezTo>
                    <a:pt x="269" y="97"/>
                    <a:pt x="272" y="104"/>
                    <a:pt x="265" y="106"/>
                  </a:cubicBezTo>
                  <a:cubicBezTo>
                    <a:pt x="260" y="114"/>
                    <a:pt x="254" y="126"/>
                    <a:pt x="248" y="132"/>
                  </a:cubicBezTo>
                  <a:cubicBezTo>
                    <a:pt x="245" y="141"/>
                    <a:pt x="243" y="146"/>
                    <a:pt x="235" y="152"/>
                  </a:cubicBezTo>
                  <a:cubicBezTo>
                    <a:pt x="233" y="157"/>
                    <a:pt x="230" y="161"/>
                    <a:pt x="227" y="165"/>
                  </a:cubicBezTo>
                  <a:cubicBezTo>
                    <a:pt x="222" y="164"/>
                    <a:pt x="217" y="163"/>
                    <a:pt x="212" y="160"/>
                  </a:cubicBezTo>
                  <a:cubicBezTo>
                    <a:pt x="209" y="161"/>
                    <a:pt x="205" y="160"/>
                    <a:pt x="202" y="162"/>
                  </a:cubicBezTo>
                  <a:cubicBezTo>
                    <a:pt x="202" y="162"/>
                    <a:pt x="208" y="165"/>
                    <a:pt x="212" y="166"/>
                  </a:cubicBezTo>
                  <a:cubicBezTo>
                    <a:pt x="217" y="168"/>
                    <a:pt x="222" y="169"/>
                    <a:pt x="226" y="172"/>
                  </a:cubicBezTo>
                  <a:cubicBezTo>
                    <a:pt x="223" y="175"/>
                    <a:pt x="221" y="177"/>
                    <a:pt x="217" y="178"/>
                  </a:cubicBezTo>
                  <a:cubicBezTo>
                    <a:pt x="212" y="185"/>
                    <a:pt x="201" y="183"/>
                    <a:pt x="194" y="184"/>
                  </a:cubicBezTo>
                  <a:cubicBezTo>
                    <a:pt x="191" y="186"/>
                    <a:pt x="188" y="187"/>
                    <a:pt x="184" y="188"/>
                  </a:cubicBezTo>
                  <a:cubicBezTo>
                    <a:pt x="180" y="195"/>
                    <a:pt x="187" y="194"/>
                    <a:pt x="193" y="196"/>
                  </a:cubicBezTo>
                  <a:cubicBezTo>
                    <a:pt x="205" y="195"/>
                    <a:pt x="206" y="189"/>
                    <a:pt x="216" y="192"/>
                  </a:cubicBezTo>
                  <a:cubicBezTo>
                    <a:pt x="219" y="194"/>
                    <a:pt x="230" y="198"/>
                    <a:pt x="233" y="200"/>
                  </a:cubicBezTo>
                  <a:cubicBezTo>
                    <a:pt x="236" y="204"/>
                    <a:pt x="238" y="209"/>
                    <a:pt x="242" y="212"/>
                  </a:cubicBezTo>
                  <a:cubicBezTo>
                    <a:pt x="243" y="216"/>
                    <a:pt x="241" y="221"/>
                    <a:pt x="245" y="224"/>
                  </a:cubicBezTo>
                  <a:cubicBezTo>
                    <a:pt x="248" y="235"/>
                    <a:pt x="243" y="233"/>
                    <a:pt x="254" y="237"/>
                  </a:cubicBezTo>
                  <a:cubicBezTo>
                    <a:pt x="253" y="242"/>
                    <a:pt x="262" y="263"/>
                    <a:pt x="260" y="268"/>
                  </a:cubicBezTo>
                  <a:cubicBezTo>
                    <a:pt x="259" y="270"/>
                    <a:pt x="258" y="274"/>
                    <a:pt x="258" y="274"/>
                  </a:cubicBezTo>
                  <a:cubicBezTo>
                    <a:pt x="259" y="296"/>
                    <a:pt x="255" y="289"/>
                    <a:pt x="266" y="296"/>
                  </a:cubicBezTo>
                  <a:cubicBezTo>
                    <a:pt x="269" y="302"/>
                    <a:pt x="268" y="299"/>
                    <a:pt x="270" y="306"/>
                  </a:cubicBezTo>
                  <a:cubicBezTo>
                    <a:pt x="271" y="308"/>
                    <a:pt x="272" y="312"/>
                    <a:pt x="272" y="312"/>
                  </a:cubicBezTo>
                  <a:cubicBezTo>
                    <a:pt x="275" y="310"/>
                    <a:pt x="289" y="311"/>
                    <a:pt x="270" y="315"/>
                  </a:cubicBezTo>
                  <a:cubicBezTo>
                    <a:pt x="272" y="316"/>
                    <a:pt x="283" y="316"/>
                    <a:pt x="287" y="319"/>
                  </a:cubicBezTo>
                  <a:cubicBezTo>
                    <a:pt x="290" y="311"/>
                    <a:pt x="278" y="330"/>
                    <a:pt x="296" y="333"/>
                  </a:cubicBezTo>
                  <a:cubicBezTo>
                    <a:pt x="300" y="339"/>
                    <a:pt x="303" y="345"/>
                    <a:pt x="305" y="352"/>
                  </a:cubicBezTo>
                  <a:cubicBezTo>
                    <a:pt x="304" y="364"/>
                    <a:pt x="301" y="372"/>
                    <a:pt x="305" y="385"/>
                  </a:cubicBezTo>
                  <a:cubicBezTo>
                    <a:pt x="298" y="387"/>
                    <a:pt x="299" y="379"/>
                    <a:pt x="294" y="376"/>
                  </a:cubicBezTo>
                  <a:cubicBezTo>
                    <a:pt x="289" y="373"/>
                    <a:pt x="281" y="374"/>
                    <a:pt x="275" y="372"/>
                  </a:cubicBezTo>
                  <a:cubicBezTo>
                    <a:pt x="275" y="372"/>
                    <a:pt x="267" y="373"/>
                    <a:pt x="269" y="376"/>
                  </a:cubicBezTo>
                  <a:cubicBezTo>
                    <a:pt x="271" y="380"/>
                    <a:pt x="284" y="386"/>
                    <a:pt x="288" y="387"/>
                  </a:cubicBezTo>
                  <a:cubicBezTo>
                    <a:pt x="291" y="389"/>
                    <a:pt x="299" y="392"/>
                    <a:pt x="299" y="392"/>
                  </a:cubicBezTo>
                  <a:cubicBezTo>
                    <a:pt x="302" y="396"/>
                    <a:pt x="306" y="398"/>
                    <a:pt x="310" y="402"/>
                  </a:cubicBezTo>
                  <a:cubicBezTo>
                    <a:pt x="312" y="409"/>
                    <a:pt x="315" y="419"/>
                    <a:pt x="308" y="424"/>
                  </a:cubicBezTo>
                  <a:cubicBezTo>
                    <a:pt x="305" y="428"/>
                    <a:pt x="302" y="429"/>
                    <a:pt x="301" y="434"/>
                  </a:cubicBezTo>
                  <a:cubicBezTo>
                    <a:pt x="301" y="438"/>
                    <a:pt x="301" y="442"/>
                    <a:pt x="302" y="445"/>
                  </a:cubicBezTo>
                  <a:cubicBezTo>
                    <a:pt x="303" y="448"/>
                    <a:pt x="311" y="444"/>
                    <a:pt x="311" y="444"/>
                  </a:cubicBezTo>
                  <a:cubicBezTo>
                    <a:pt x="314" y="440"/>
                    <a:pt x="315" y="440"/>
                    <a:pt x="320" y="439"/>
                  </a:cubicBezTo>
                  <a:cubicBezTo>
                    <a:pt x="338" y="440"/>
                    <a:pt x="332" y="431"/>
                    <a:pt x="342" y="436"/>
                  </a:cubicBezTo>
                  <a:cubicBezTo>
                    <a:pt x="345" y="438"/>
                    <a:pt x="354" y="440"/>
                    <a:pt x="354" y="440"/>
                  </a:cubicBezTo>
                  <a:cubicBezTo>
                    <a:pt x="357" y="443"/>
                    <a:pt x="360" y="450"/>
                    <a:pt x="364" y="451"/>
                  </a:cubicBezTo>
                  <a:cubicBezTo>
                    <a:pt x="366" y="453"/>
                    <a:pt x="364" y="457"/>
                    <a:pt x="365" y="459"/>
                  </a:cubicBezTo>
                  <a:cubicBezTo>
                    <a:pt x="366" y="461"/>
                    <a:pt x="367" y="465"/>
                    <a:pt x="367" y="465"/>
                  </a:cubicBezTo>
                  <a:cubicBezTo>
                    <a:pt x="368" y="475"/>
                    <a:pt x="370" y="488"/>
                    <a:pt x="361" y="494"/>
                  </a:cubicBezTo>
                  <a:cubicBezTo>
                    <a:pt x="358" y="501"/>
                    <a:pt x="354" y="505"/>
                    <a:pt x="351" y="510"/>
                  </a:cubicBezTo>
                  <a:cubicBezTo>
                    <a:pt x="347" y="512"/>
                    <a:pt x="338" y="506"/>
                    <a:pt x="336" y="508"/>
                  </a:cubicBezTo>
                  <a:cubicBezTo>
                    <a:pt x="334" y="510"/>
                    <a:pt x="343" y="520"/>
                    <a:pt x="341" y="522"/>
                  </a:cubicBezTo>
                  <a:cubicBezTo>
                    <a:pt x="340" y="525"/>
                    <a:pt x="327" y="521"/>
                    <a:pt x="324" y="522"/>
                  </a:cubicBezTo>
                  <a:cubicBezTo>
                    <a:pt x="321" y="523"/>
                    <a:pt x="327" y="527"/>
                    <a:pt x="325" y="530"/>
                  </a:cubicBezTo>
                  <a:cubicBezTo>
                    <a:pt x="323" y="533"/>
                    <a:pt x="315" y="536"/>
                    <a:pt x="311" y="538"/>
                  </a:cubicBezTo>
                  <a:cubicBezTo>
                    <a:pt x="310" y="541"/>
                    <a:pt x="304" y="544"/>
                    <a:pt x="304" y="544"/>
                  </a:cubicBezTo>
                  <a:cubicBezTo>
                    <a:pt x="307" y="552"/>
                    <a:pt x="307" y="552"/>
                    <a:pt x="316" y="553"/>
                  </a:cubicBezTo>
                  <a:cubicBezTo>
                    <a:pt x="320" y="552"/>
                    <a:pt x="324" y="549"/>
                    <a:pt x="328" y="549"/>
                  </a:cubicBezTo>
                  <a:cubicBezTo>
                    <a:pt x="329" y="549"/>
                    <a:pt x="330" y="551"/>
                    <a:pt x="331" y="552"/>
                  </a:cubicBezTo>
                  <a:cubicBezTo>
                    <a:pt x="335" y="554"/>
                    <a:pt x="340" y="554"/>
                    <a:pt x="344" y="554"/>
                  </a:cubicBezTo>
                  <a:cubicBezTo>
                    <a:pt x="343" y="561"/>
                    <a:pt x="343" y="568"/>
                    <a:pt x="338" y="573"/>
                  </a:cubicBezTo>
                  <a:cubicBezTo>
                    <a:pt x="335" y="582"/>
                    <a:pt x="325" y="583"/>
                    <a:pt x="317" y="584"/>
                  </a:cubicBezTo>
                  <a:cubicBezTo>
                    <a:pt x="311" y="586"/>
                    <a:pt x="305" y="588"/>
                    <a:pt x="300" y="591"/>
                  </a:cubicBezTo>
                  <a:cubicBezTo>
                    <a:pt x="297" y="593"/>
                    <a:pt x="290" y="596"/>
                    <a:pt x="290" y="596"/>
                  </a:cubicBezTo>
                  <a:cubicBezTo>
                    <a:pt x="288" y="596"/>
                    <a:pt x="286" y="596"/>
                    <a:pt x="284" y="595"/>
                  </a:cubicBezTo>
                  <a:cubicBezTo>
                    <a:pt x="283" y="594"/>
                    <a:pt x="284" y="593"/>
                    <a:pt x="283" y="592"/>
                  </a:cubicBezTo>
                  <a:cubicBezTo>
                    <a:pt x="281" y="591"/>
                    <a:pt x="277" y="590"/>
                    <a:pt x="277" y="590"/>
                  </a:cubicBezTo>
                  <a:cubicBezTo>
                    <a:pt x="272" y="589"/>
                    <a:pt x="256" y="586"/>
                    <a:pt x="251" y="585"/>
                  </a:cubicBezTo>
                  <a:cubicBezTo>
                    <a:pt x="249" y="584"/>
                    <a:pt x="245" y="583"/>
                    <a:pt x="245" y="583"/>
                  </a:cubicBezTo>
                  <a:cubicBezTo>
                    <a:pt x="235" y="585"/>
                    <a:pt x="228" y="580"/>
                    <a:pt x="218" y="579"/>
                  </a:cubicBezTo>
                  <a:cubicBezTo>
                    <a:pt x="219" y="579"/>
                    <a:pt x="220" y="577"/>
                    <a:pt x="221" y="578"/>
                  </a:cubicBezTo>
                  <a:cubicBezTo>
                    <a:pt x="222" y="579"/>
                    <a:pt x="221" y="582"/>
                    <a:pt x="220" y="582"/>
                  </a:cubicBezTo>
                  <a:cubicBezTo>
                    <a:pt x="215" y="582"/>
                    <a:pt x="206" y="579"/>
                    <a:pt x="206" y="579"/>
                  </a:cubicBezTo>
                  <a:cubicBezTo>
                    <a:pt x="201" y="581"/>
                    <a:pt x="201" y="585"/>
                    <a:pt x="198" y="580"/>
                  </a:cubicBezTo>
                  <a:cubicBezTo>
                    <a:pt x="196" y="580"/>
                    <a:pt x="195" y="580"/>
                    <a:pt x="193" y="580"/>
                  </a:cubicBezTo>
                  <a:cubicBezTo>
                    <a:pt x="195" y="579"/>
                    <a:pt x="189" y="583"/>
                    <a:pt x="187" y="583"/>
                  </a:cubicBezTo>
                  <a:cubicBezTo>
                    <a:pt x="183" y="584"/>
                    <a:pt x="178" y="584"/>
                    <a:pt x="174" y="584"/>
                  </a:cubicBezTo>
                  <a:cubicBezTo>
                    <a:pt x="171" y="595"/>
                    <a:pt x="155" y="577"/>
                    <a:pt x="148" y="574"/>
                  </a:cubicBezTo>
                  <a:cubicBezTo>
                    <a:pt x="145" y="573"/>
                    <a:pt x="140" y="572"/>
                    <a:pt x="140" y="572"/>
                  </a:cubicBezTo>
                  <a:cubicBezTo>
                    <a:pt x="133" y="573"/>
                    <a:pt x="126" y="571"/>
                    <a:pt x="120" y="574"/>
                  </a:cubicBezTo>
                  <a:cubicBezTo>
                    <a:pt x="118" y="575"/>
                    <a:pt x="116" y="580"/>
                    <a:pt x="116" y="580"/>
                  </a:cubicBezTo>
                  <a:cubicBezTo>
                    <a:pt x="114" y="589"/>
                    <a:pt x="117" y="579"/>
                    <a:pt x="106" y="586"/>
                  </a:cubicBezTo>
                  <a:cubicBezTo>
                    <a:pt x="103" y="589"/>
                    <a:pt x="99" y="595"/>
                    <a:pt x="97" y="596"/>
                  </a:cubicBezTo>
                  <a:cubicBezTo>
                    <a:pt x="104" y="591"/>
                    <a:pt x="100" y="591"/>
                    <a:pt x="92" y="590"/>
                  </a:cubicBezTo>
                  <a:cubicBezTo>
                    <a:pt x="83" y="587"/>
                    <a:pt x="75" y="586"/>
                    <a:pt x="66" y="585"/>
                  </a:cubicBezTo>
                  <a:cubicBezTo>
                    <a:pt x="59" y="586"/>
                    <a:pt x="56" y="588"/>
                    <a:pt x="49" y="590"/>
                  </a:cubicBezTo>
                  <a:cubicBezTo>
                    <a:pt x="47" y="591"/>
                    <a:pt x="43" y="592"/>
                    <a:pt x="43" y="592"/>
                  </a:cubicBezTo>
                  <a:cubicBezTo>
                    <a:pt x="39" y="596"/>
                    <a:pt x="37" y="598"/>
                    <a:pt x="34" y="603"/>
                  </a:cubicBezTo>
                  <a:cubicBezTo>
                    <a:pt x="19" y="601"/>
                    <a:pt x="22" y="595"/>
                    <a:pt x="8" y="594"/>
                  </a:cubicBezTo>
                  <a:cubicBezTo>
                    <a:pt x="2" y="596"/>
                    <a:pt x="3" y="600"/>
                    <a:pt x="0" y="592"/>
                  </a:cubicBezTo>
                  <a:cubicBezTo>
                    <a:pt x="4" y="590"/>
                    <a:pt x="7" y="589"/>
                    <a:pt x="12" y="588"/>
                  </a:cubicBezTo>
                  <a:cubicBezTo>
                    <a:pt x="24" y="582"/>
                    <a:pt x="18" y="584"/>
                    <a:pt x="40" y="583"/>
                  </a:cubicBezTo>
                  <a:cubicBezTo>
                    <a:pt x="45" y="564"/>
                    <a:pt x="44" y="571"/>
                    <a:pt x="58" y="562"/>
                  </a:cubicBezTo>
                  <a:cubicBezTo>
                    <a:pt x="63" y="555"/>
                    <a:pt x="60" y="557"/>
                    <a:pt x="65" y="554"/>
                  </a:cubicBezTo>
                  <a:cubicBezTo>
                    <a:pt x="68" y="548"/>
                    <a:pt x="76" y="545"/>
                    <a:pt x="82" y="543"/>
                  </a:cubicBezTo>
                  <a:cubicBezTo>
                    <a:pt x="85" y="540"/>
                    <a:pt x="86" y="537"/>
                    <a:pt x="89" y="534"/>
                  </a:cubicBezTo>
                  <a:cubicBezTo>
                    <a:pt x="91" y="525"/>
                    <a:pt x="107" y="530"/>
                    <a:pt x="114" y="530"/>
                  </a:cubicBezTo>
                  <a:cubicBezTo>
                    <a:pt x="116" y="531"/>
                    <a:pt x="118" y="534"/>
                    <a:pt x="120" y="535"/>
                  </a:cubicBezTo>
                  <a:cubicBezTo>
                    <a:pt x="122" y="536"/>
                    <a:pt x="128" y="537"/>
                    <a:pt x="128" y="537"/>
                  </a:cubicBezTo>
                  <a:cubicBezTo>
                    <a:pt x="155" y="535"/>
                    <a:pt x="148" y="523"/>
                    <a:pt x="162" y="518"/>
                  </a:cubicBezTo>
                  <a:cubicBezTo>
                    <a:pt x="165" y="514"/>
                    <a:pt x="168" y="511"/>
                    <a:pt x="172" y="508"/>
                  </a:cubicBezTo>
                  <a:cubicBezTo>
                    <a:pt x="174" y="507"/>
                    <a:pt x="178" y="504"/>
                    <a:pt x="178" y="504"/>
                  </a:cubicBezTo>
                  <a:cubicBezTo>
                    <a:pt x="179" y="503"/>
                    <a:pt x="181" y="502"/>
                    <a:pt x="180" y="501"/>
                  </a:cubicBezTo>
                  <a:cubicBezTo>
                    <a:pt x="175" y="498"/>
                    <a:pt x="164" y="507"/>
                    <a:pt x="164" y="507"/>
                  </a:cubicBezTo>
                  <a:cubicBezTo>
                    <a:pt x="159" y="512"/>
                    <a:pt x="157" y="511"/>
                    <a:pt x="149" y="512"/>
                  </a:cubicBezTo>
                  <a:cubicBezTo>
                    <a:pt x="146" y="513"/>
                    <a:pt x="140" y="516"/>
                    <a:pt x="140" y="516"/>
                  </a:cubicBezTo>
                  <a:cubicBezTo>
                    <a:pt x="136" y="518"/>
                    <a:pt x="127" y="519"/>
                    <a:pt x="127" y="519"/>
                  </a:cubicBezTo>
                  <a:cubicBezTo>
                    <a:pt x="121" y="517"/>
                    <a:pt x="122" y="512"/>
                    <a:pt x="118" y="508"/>
                  </a:cubicBezTo>
                  <a:cubicBezTo>
                    <a:pt x="108" y="498"/>
                    <a:pt x="97" y="502"/>
                    <a:pt x="91" y="501"/>
                  </a:cubicBezTo>
                  <a:cubicBezTo>
                    <a:pt x="86" y="498"/>
                    <a:pt x="95" y="490"/>
                    <a:pt x="90" y="487"/>
                  </a:cubicBezTo>
                  <a:cubicBezTo>
                    <a:pt x="86" y="484"/>
                    <a:pt x="75" y="483"/>
                    <a:pt x="70" y="484"/>
                  </a:cubicBezTo>
                  <a:cubicBezTo>
                    <a:pt x="63" y="489"/>
                    <a:pt x="60" y="491"/>
                    <a:pt x="58" y="482"/>
                  </a:cubicBezTo>
                  <a:cubicBezTo>
                    <a:pt x="52" y="458"/>
                    <a:pt x="55" y="464"/>
                    <a:pt x="88" y="460"/>
                  </a:cubicBezTo>
                  <a:cubicBezTo>
                    <a:pt x="94" y="458"/>
                    <a:pt x="96" y="449"/>
                    <a:pt x="101" y="448"/>
                  </a:cubicBezTo>
                  <a:cubicBezTo>
                    <a:pt x="105" y="447"/>
                    <a:pt x="112" y="445"/>
                    <a:pt x="112" y="445"/>
                  </a:cubicBezTo>
                  <a:cubicBezTo>
                    <a:pt x="115" y="441"/>
                    <a:pt x="115" y="436"/>
                    <a:pt x="118" y="432"/>
                  </a:cubicBezTo>
                  <a:cubicBezTo>
                    <a:pt x="120" y="423"/>
                    <a:pt x="121" y="417"/>
                    <a:pt x="118" y="406"/>
                  </a:cubicBezTo>
                  <a:cubicBezTo>
                    <a:pt x="117" y="404"/>
                    <a:pt x="112" y="404"/>
                    <a:pt x="112" y="404"/>
                  </a:cubicBezTo>
                  <a:cubicBezTo>
                    <a:pt x="105" y="406"/>
                    <a:pt x="99" y="409"/>
                    <a:pt x="92" y="410"/>
                  </a:cubicBezTo>
                  <a:cubicBezTo>
                    <a:pt x="91" y="405"/>
                    <a:pt x="90" y="404"/>
                    <a:pt x="95" y="402"/>
                  </a:cubicBezTo>
                  <a:cubicBezTo>
                    <a:pt x="99" y="398"/>
                    <a:pt x="115" y="392"/>
                    <a:pt x="122" y="390"/>
                  </a:cubicBezTo>
                  <a:cubicBezTo>
                    <a:pt x="129" y="385"/>
                    <a:pt x="126" y="387"/>
                    <a:pt x="131" y="385"/>
                  </a:cubicBezTo>
                  <a:cubicBezTo>
                    <a:pt x="144" y="385"/>
                    <a:pt x="148" y="385"/>
                    <a:pt x="161" y="381"/>
                  </a:cubicBezTo>
                  <a:cubicBezTo>
                    <a:pt x="167" y="380"/>
                    <a:pt x="172" y="390"/>
                    <a:pt x="174" y="388"/>
                  </a:cubicBezTo>
                  <a:cubicBezTo>
                    <a:pt x="176" y="386"/>
                    <a:pt x="173" y="375"/>
                    <a:pt x="174" y="369"/>
                  </a:cubicBezTo>
                  <a:cubicBezTo>
                    <a:pt x="175" y="363"/>
                    <a:pt x="176" y="357"/>
                    <a:pt x="179" y="352"/>
                  </a:cubicBezTo>
                  <a:cubicBezTo>
                    <a:pt x="180" y="345"/>
                    <a:pt x="193" y="336"/>
                    <a:pt x="193" y="336"/>
                  </a:cubicBezTo>
                  <a:cubicBezTo>
                    <a:pt x="194" y="332"/>
                    <a:pt x="196" y="329"/>
                    <a:pt x="197" y="325"/>
                  </a:cubicBezTo>
                  <a:cubicBezTo>
                    <a:pt x="195" y="307"/>
                    <a:pt x="189" y="323"/>
                    <a:pt x="170" y="322"/>
                  </a:cubicBezTo>
                  <a:cubicBezTo>
                    <a:pt x="164" y="318"/>
                    <a:pt x="160" y="308"/>
                    <a:pt x="158" y="301"/>
                  </a:cubicBezTo>
                  <a:cubicBezTo>
                    <a:pt x="162" y="290"/>
                    <a:pt x="167" y="280"/>
                    <a:pt x="179" y="276"/>
                  </a:cubicBezTo>
                  <a:cubicBezTo>
                    <a:pt x="187" y="268"/>
                    <a:pt x="186" y="270"/>
                    <a:pt x="170" y="266"/>
                  </a:cubicBezTo>
                  <a:cubicBezTo>
                    <a:pt x="157" y="267"/>
                    <a:pt x="147" y="271"/>
                    <a:pt x="134" y="272"/>
                  </a:cubicBezTo>
                  <a:cubicBezTo>
                    <a:pt x="128" y="272"/>
                    <a:pt x="120" y="274"/>
                    <a:pt x="115" y="270"/>
                  </a:cubicBezTo>
                  <a:cubicBezTo>
                    <a:pt x="109" y="266"/>
                    <a:pt x="108" y="258"/>
                    <a:pt x="103" y="254"/>
                  </a:cubicBezTo>
                  <a:cubicBezTo>
                    <a:pt x="107" y="246"/>
                    <a:pt x="113" y="243"/>
                    <a:pt x="122" y="240"/>
                  </a:cubicBezTo>
                  <a:cubicBezTo>
                    <a:pt x="125" y="236"/>
                    <a:pt x="126" y="233"/>
                    <a:pt x="130" y="230"/>
                  </a:cubicBezTo>
                  <a:cubicBezTo>
                    <a:pt x="134" y="222"/>
                    <a:pt x="133" y="202"/>
                    <a:pt x="127" y="194"/>
                  </a:cubicBezTo>
                  <a:cubicBezTo>
                    <a:pt x="124" y="190"/>
                    <a:pt x="124" y="201"/>
                    <a:pt x="120" y="198"/>
                  </a:cubicBezTo>
                  <a:cubicBezTo>
                    <a:pt x="118" y="197"/>
                    <a:pt x="124" y="177"/>
                    <a:pt x="124" y="177"/>
                  </a:cubicBezTo>
                  <a:cubicBezTo>
                    <a:pt x="123" y="173"/>
                    <a:pt x="85" y="223"/>
                    <a:pt x="85" y="223"/>
                  </a:cubicBezTo>
                  <a:cubicBezTo>
                    <a:pt x="87" y="212"/>
                    <a:pt x="101" y="156"/>
                    <a:pt x="110" y="153"/>
                  </a:cubicBezTo>
                  <a:cubicBezTo>
                    <a:pt x="117" y="146"/>
                    <a:pt x="115" y="152"/>
                    <a:pt x="118" y="145"/>
                  </a:cubicBezTo>
                  <a:cubicBezTo>
                    <a:pt x="119" y="138"/>
                    <a:pt x="125" y="137"/>
                    <a:pt x="127" y="130"/>
                  </a:cubicBezTo>
                  <a:cubicBezTo>
                    <a:pt x="122" y="121"/>
                    <a:pt x="106" y="142"/>
                    <a:pt x="97" y="145"/>
                  </a:cubicBezTo>
                  <a:cubicBezTo>
                    <a:pt x="94" y="148"/>
                    <a:pt x="81" y="142"/>
                    <a:pt x="78" y="146"/>
                  </a:cubicBezTo>
                  <a:cubicBezTo>
                    <a:pt x="73" y="139"/>
                    <a:pt x="76" y="129"/>
                    <a:pt x="84" y="123"/>
                  </a:cubicBezTo>
                  <a:cubicBezTo>
                    <a:pt x="88" y="120"/>
                    <a:pt x="92" y="118"/>
                    <a:pt x="97" y="116"/>
                  </a:cubicBezTo>
                  <a:cubicBezTo>
                    <a:pt x="98" y="116"/>
                    <a:pt x="100" y="115"/>
                    <a:pt x="100" y="115"/>
                  </a:cubicBezTo>
                  <a:cubicBezTo>
                    <a:pt x="103" y="110"/>
                    <a:pt x="110" y="109"/>
                    <a:pt x="115" y="105"/>
                  </a:cubicBezTo>
                  <a:cubicBezTo>
                    <a:pt x="118" y="102"/>
                    <a:pt x="124" y="97"/>
                    <a:pt x="124" y="97"/>
                  </a:cubicBezTo>
                  <a:cubicBezTo>
                    <a:pt x="127" y="87"/>
                    <a:pt x="129" y="77"/>
                    <a:pt x="122" y="67"/>
                  </a:cubicBezTo>
                  <a:cubicBezTo>
                    <a:pt x="120" y="60"/>
                    <a:pt x="124" y="62"/>
                    <a:pt x="127" y="56"/>
                  </a:cubicBezTo>
                  <a:cubicBezTo>
                    <a:pt x="136" y="38"/>
                    <a:pt x="125" y="46"/>
                    <a:pt x="152" y="36"/>
                  </a:cubicBezTo>
                  <a:cubicBezTo>
                    <a:pt x="154" y="24"/>
                    <a:pt x="155" y="21"/>
                    <a:pt x="160" y="12"/>
                  </a:cubicBezTo>
                  <a:cubicBezTo>
                    <a:pt x="163" y="8"/>
                    <a:pt x="170" y="0"/>
                    <a:pt x="170" y="0"/>
                  </a:cubicBezTo>
                  <a:cubicBezTo>
                    <a:pt x="176" y="2"/>
                    <a:pt x="180" y="2"/>
                    <a:pt x="185" y="7"/>
                  </a:cubicBezTo>
                  <a:lnTo>
                    <a:pt x="174" y="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7" name="Freeform 4548">
              <a:extLst>
                <a:ext uri="{FF2B5EF4-FFF2-40B4-BE49-F238E27FC236}">
                  <a16:creationId xmlns:a16="http://schemas.microsoft.com/office/drawing/2014/main" xmlns="" id="{A89B269B-34AF-4141-A071-83F9DEBF3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569" y="2932900"/>
              <a:ext cx="33779" cy="43430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9" y="27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6" y="7"/>
                </a:cxn>
              </a:cxnLst>
              <a:rect l="0" t="0" r="r" b="b"/>
              <a:pathLst>
                <a:path w="21" h="27">
                  <a:moveTo>
                    <a:pt x="6" y="7"/>
                  </a:moveTo>
                  <a:cubicBezTo>
                    <a:pt x="4" y="18"/>
                    <a:pt x="0" y="21"/>
                    <a:pt x="9" y="27"/>
                  </a:cubicBezTo>
                  <a:cubicBezTo>
                    <a:pt x="21" y="23"/>
                    <a:pt x="18" y="12"/>
                    <a:pt x="14" y="0"/>
                  </a:cubicBezTo>
                  <a:cubicBezTo>
                    <a:pt x="12" y="0"/>
                    <a:pt x="10" y="0"/>
                    <a:pt x="9" y="1"/>
                  </a:cubicBezTo>
                  <a:cubicBezTo>
                    <a:pt x="7" y="2"/>
                    <a:pt x="6" y="7"/>
                    <a:pt x="6" y="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Freeform 4549">
              <a:extLst>
                <a:ext uri="{FF2B5EF4-FFF2-40B4-BE49-F238E27FC236}">
                  <a16:creationId xmlns:a16="http://schemas.microsoft.com/office/drawing/2014/main" xmlns="" id="{4AAC45AF-FA1F-442C-9327-D4C4C737C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727" y="3125922"/>
              <a:ext cx="19302" cy="49864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12"/>
                </a:cxn>
                <a:cxn ang="0">
                  <a:pos x="3" y="31"/>
                </a:cxn>
                <a:cxn ang="0">
                  <a:pos x="6" y="0"/>
                </a:cxn>
              </a:cxnLst>
              <a:rect l="0" t="0" r="r" b="b"/>
              <a:pathLst>
                <a:path w="12" h="31">
                  <a:moveTo>
                    <a:pt x="6" y="0"/>
                  </a:moveTo>
                  <a:cubicBezTo>
                    <a:pt x="5" y="4"/>
                    <a:pt x="0" y="12"/>
                    <a:pt x="0" y="12"/>
                  </a:cubicBezTo>
                  <a:cubicBezTo>
                    <a:pt x="1" y="18"/>
                    <a:pt x="2" y="25"/>
                    <a:pt x="3" y="31"/>
                  </a:cubicBezTo>
                  <a:cubicBezTo>
                    <a:pt x="12" y="22"/>
                    <a:pt x="8" y="11"/>
                    <a:pt x="6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9" name="Freeform 4550">
              <a:extLst>
                <a:ext uri="{FF2B5EF4-FFF2-40B4-BE49-F238E27FC236}">
                  <a16:creationId xmlns:a16="http://schemas.microsoft.com/office/drawing/2014/main" xmlns="" id="{51DD3837-A3C4-4618-BFCC-5261DEA54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9705" y="3289990"/>
              <a:ext cx="38604" cy="11260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2" y="7"/>
                </a:cxn>
                <a:cxn ang="0">
                  <a:pos x="1" y="4"/>
                </a:cxn>
              </a:cxnLst>
              <a:rect l="0" t="0" r="r" b="b"/>
              <a:pathLst>
                <a:path w="24" h="7">
                  <a:moveTo>
                    <a:pt x="1" y="4"/>
                  </a:moveTo>
                  <a:cubicBezTo>
                    <a:pt x="22" y="3"/>
                    <a:pt x="24" y="3"/>
                    <a:pt x="12" y="7"/>
                  </a:cubicBezTo>
                  <a:cubicBezTo>
                    <a:pt x="6" y="6"/>
                    <a:pt x="0" y="0"/>
                    <a:pt x="1" y="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0" name="Freeform 4551">
              <a:extLst>
                <a:ext uri="{FF2B5EF4-FFF2-40B4-BE49-F238E27FC236}">
                  <a16:creationId xmlns:a16="http://schemas.microsoft.com/office/drawing/2014/main" xmlns="" id="{B3DB3B06-F78E-4B68-85FD-55E6394A7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4071" y="3561828"/>
              <a:ext cx="38604" cy="209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8"/>
                </a:cxn>
                <a:cxn ang="0">
                  <a:pos x="3" y="11"/>
                </a:cxn>
                <a:cxn ang="0">
                  <a:pos x="0" y="0"/>
                </a:cxn>
              </a:cxnLst>
              <a:rect l="0" t="0" r="r" b="b"/>
              <a:pathLst>
                <a:path w="24" h="13">
                  <a:moveTo>
                    <a:pt x="0" y="0"/>
                  </a:moveTo>
                  <a:cubicBezTo>
                    <a:pt x="7" y="4"/>
                    <a:pt x="24" y="0"/>
                    <a:pt x="12" y="8"/>
                  </a:cubicBezTo>
                  <a:cubicBezTo>
                    <a:pt x="9" y="12"/>
                    <a:pt x="8" y="13"/>
                    <a:pt x="3" y="11"/>
                  </a:cubicBezTo>
                  <a:cubicBezTo>
                    <a:pt x="2" y="3"/>
                    <a:pt x="3" y="6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1" name="Freeform 4552">
              <a:extLst>
                <a:ext uri="{FF2B5EF4-FFF2-40B4-BE49-F238E27FC236}">
                  <a16:creationId xmlns:a16="http://schemas.microsoft.com/office/drawing/2014/main" xmlns="" id="{680D680B-50EF-4843-B7A9-581124BEC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4096" y="2942551"/>
              <a:ext cx="406954" cy="405345"/>
            </a:xfrm>
            <a:custGeom>
              <a:avLst/>
              <a:gdLst/>
              <a:ahLst/>
              <a:cxnLst>
                <a:cxn ang="0">
                  <a:pos x="199" y="12"/>
                </a:cxn>
                <a:cxn ang="0">
                  <a:pos x="180" y="12"/>
                </a:cxn>
                <a:cxn ang="0">
                  <a:pos x="171" y="13"/>
                </a:cxn>
                <a:cxn ang="0">
                  <a:pos x="144" y="17"/>
                </a:cxn>
                <a:cxn ang="0">
                  <a:pos x="124" y="42"/>
                </a:cxn>
                <a:cxn ang="0">
                  <a:pos x="126" y="60"/>
                </a:cxn>
                <a:cxn ang="0">
                  <a:pos x="106" y="60"/>
                </a:cxn>
                <a:cxn ang="0">
                  <a:pos x="76" y="49"/>
                </a:cxn>
                <a:cxn ang="0">
                  <a:pos x="72" y="83"/>
                </a:cxn>
                <a:cxn ang="0">
                  <a:pos x="55" y="93"/>
                </a:cxn>
                <a:cxn ang="0">
                  <a:pos x="46" y="100"/>
                </a:cxn>
                <a:cxn ang="0">
                  <a:pos x="55" y="121"/>
                </a:cxn>
                <a:cxn ang="0">
                  <a:pos x="84" y="131"/>
                </a:cxn>
                <a:cxn ang="0">
                  <a:pos x="75" y="137"/>
                </a:cxn>
                <a:cxn ang="0">
                  <a:pos x="61" y="147"/>
                </a:cxn>
                <a:cxn ang="0">
                  <a:pos x="40" y="169"/>
                </a:cxn>
                <a:cxn ang="0">
                  <a:pos x="82" y="174"/>
                </a:cxn>
                <a:cxn ang="0">
                  <a:pos x="28" y="181"/>
                </a:cxn>
                <a:cxn ang="0">
                  <a:pos x="13" y="187"/>
                </a:cxn>
                <a:cxn ang="0">
                  <a:pos x="9" y="202"/>
                </a:cxn>
                <a:cxn ang="0">
                  <a:pos x="13" y="208"/>
                </a:cxn>
                <a:cxn ang="0">
                  <a:pos x="9" y="225"/>
                </a:cxn>
                <a:cxn ang="0">
                  <a:pos x="1" y="233"/>
                </a:cxn>
                <a:cxn ang="0">
                  <a:pos x="34" y="239"/>
                </a:cxn>
                <a:cxn ang="0">
                  <a:pos x="42" y="252"/>
                </a:cxn>
                <a:cxn ang="0">
                  <a:pos x="91" y="238"/>
                </a:cxn>
                <a:cxn ang="0">
                  <a:pos x="149" y="229"/>
                </a:cxn>
                <a:cxn ang="0">
                  <a:pos x="172" y="237"/>
                </a:cxn>
                <a:cxn ang="0">
                  <a:pos x="174" y="225"/>
                </a:cxn>
                <a:cxn ang="0">
                  <a:pos x="192" y="211"/>
                </a:cxn>
                <a:cxn ang="0">
                  <a:pos x="208" y="178"/>
                </a:cxn>
                <a:cxn ang="0">
                  <a:pos x="234" y="105"/>
                </a:cxn>
                <a:cxn ang="0">
                  <a:pos x="249" y="95"/>
                </a:cxn>
                <a:cxn ang="0">
                  <a:pos x="251" y="73"/>
                </a:cxn>
                <a:cxn ang="0">
                  <a:pos x="247" y="59"/>
                </a:cxn>
                <a:cxn ang="0">
                  <a:pos x="235" y="22"/>
                </a:cxn>
                <a:cxn ang="0">
                  <a:pos x="189" y="28"/>
                </a:cxn>
              </a:cxnLst>
              <a:rect l="0" t="0" r="r" b="b"/>
              <a:pathLst>
                <a:path w="253" h="252">
                  <a:moveTo>
                    <a:pt x="189" y="28"/>
                  </a:moveTo>
                  <a:cubicBezTo>
                    <a:pt x="181" y="26"/>
                    <a:pt x="199" y="17"/>
                    <a:pt x="199" y="12"/>
                  </a:cubicBezTo>
                  <a:cubicBezTo>
                    <a:pt x="199" y="7"/>
                    <a:pt x="195" y="0"/>
                    <a:pt x="192" y="0"/>
                  </a:cubicBezTo>
                  <a:cubicBezTo>
                    <a:pt x="188" y="4"/>
                    <a:pt x="184" y="8"/>
                    <a:pt x="180" y="12"/>
                  </a:cubicBezTo>
                  <a:cubicBezTo>
                    <a:pt x="180" y="16"/>
                    <a:pt x="179" y="26"/>
                    <a:pt x="175" y="24"/>
                  </a:cubicBezTo>
                  <a:cubicBezTo>
                    <a:pt x="172" y="22"/>
                    <a:pt x="172" y="17"/>
                    <a:pt x="171" y="13"/>
                  </a:cubicBezTo>
                  <a:cubicBezTo>
                    <a:pt x="170" y="9"/>
                    <a:pt x="159" y="9"/>
                    <a:pt x="159" y="9"/>
                  </a:cubicBezTo>
                  <a:cubicBezTo>
                    <a:pt x="139" y="11"/>
                    <a:pt x="154" y="10"/>
                    <a:pt x="144" y="17"/>
                  </a:cubicBezTo>
                  <a:cubicBezTo>
                    <a:pt x="140" y="25"/>
                    <a:pt x="131" y="30"/>
                    <a:pt x="124" y="35"/>
                  </a:cubicBezTo>
                  <a:cubicBezTo>
                    <a:pt x="123" y="37"/>
                    <a:pt x="122" y="40"/>
                    <a:pt x="124" y="42"/>
                  </a:cubicBezTo>
                  <a:cubicBezTo>
                    <a:pt x="129" y="47"/>
                    <a:pt x="144" y="46"/>
                    <a:pt x="144" y="46"/>
                  </a:cubicBezTo>
                  <a:cubicBezTo>
                    <a:pt x="142" y="55"/>
                    <a:pt x="134" y="57"/>
                    <a:pt x="126" y="60"/>
                  </a:cubicBezTo>
                  <a:cubicBezTo>
                    <a:pt x="124" y="65"/>
                    <a:pt x="125" y="68"/>
                    <a:pt x="120" y="70"/>
                  </a:cubicBezTo>
                  <a:cubicBezTo>
                    <a:pt x="107" y="68"/>
                    <a:pt x="112" y="61"/>
                    <a:pt x="106" y="60"/>
                  </a:cubicBezTo>
                  <a:cubicBezTo>
                    <a:pt x="101" y="59"/>
                    <a:pt x="95" y="59"/>
                    <a:pt x="90" y="59"/>
                  </a:cubicBezTo>
                  <a:cubicBezTo>
                    <a:pt x="85" y="56"/>
                    <a:pt x="81" y="52"/>
                    <a:pt x="76" y="49"/>
                  </a:cubicBezTo>
                  <a:cubicBezTo>
                    <a:pt x="43" y="53"/>
                    <a:pt x="70" y="56"/>
                    <a:pt x="54" y="72"/>
                  </a:cubicBezTo>
                  <a:cubicBezTo>
                    <a:pt x="51" y="82"/>
                    <a:pt x="65" y="82"/>
                    <a:pt x="72" y="83"/>
                  </a:cubicBezTo>
                  <a:cubicBezTo>
                    <a:pt x="66" y="85"/>
                    <a:pt x="62" y="86"/>
                    <a:pt x="57" y="89"/>
                  </a:cubicBezTo>
                  <a:cubicBezTo>
                    <a:pt x="56" y="90"/>
                    <a:pt x="55" y="92"/>
                    <a:pt x="55" y="93"/>
                  </a:cubicBezTo>
                  <a:cubicBezTo>
                    <a:pt x="55" y="95"/>
                    <a:pt x="59" y="99"/>
                    <a:pt x="59" y="99"/>
                  </a:cubicBezTo>
                  <a:cubicBezTo>
                    <a:pt x="53" y="100"/>
                    <a:pt x="52" y="101"/>
                    <a:pt x="46" y="100"/>
                  </a:cubicBezTo>
                  <a:cubicBezTo>
                    <a:pt x="45" y="97"/>
                    <a:pt x="44" y="91"/>
                    <a:pt x="42" y="97"/>
                  </a:cubicBezTo>
                  <a:cubicBezTo>
                    <a:pt x="43" y="119"/>
                    <a:pt x="42" y="112"/>
                    <a:pt x="55" y="121"/>
                  </a:cubicBezTo>
                  <a:cubicBezTo>
                    <a:pt x="60" y="128"/>
                    <a:pt x="58" y="125"/>
                    <a:pt x="60" y="130"/>
                  </a:cubicBezTo>
                  <a:cubicBezTo>
                    <a:pt x="69" y="129"/>
                    <a:pt x="75" y="130"/>
                    <a:pt x="84" y="131"/>
                  </a:cubicBezTo>
                  <a:cubicBezTo>
                    <a:pt x="85" y="131"/>
                    <a:pt x="95" y="134"/>
                    <a:pt x="85" y="138"/>
                  </a:cubicBezTo>
                  <a:cubicBezTo>
                    <a:pt x="82" y="139"/>
                    <a:pt x="78" y="137"/>
                    <a:pt x="75" y="137"/>
                  </a:cubicBezTo>
                  <a:cubicBezTo>
                    <a:pt x="72" y="136"/>
                    <a:pt x="66" y="138"/>
                    <a:pt x="66" y="138"/>
                  </a:cubicBezTo>
                  <a:cubicBezTo>
                    <a:pt x="64" y="141"/>
                    <a:pt x="63" y="144"/>
                    <a:pt x="61" y="147"/>
                  </a:cubicBezTo>
                  <a:cubicBezTo>
                    <a:pt x="59" y="154"/>
                    <a:pt x="55" y="158"/>
                    <a:pt x="48" y="161"/>
                  </a:cubicBezTo>
                  <a:cubicBezTo>
                    <a:pt x="46" y="164"/>
                    <a:pt x="40" y="169"/>
                    <a:pt x="40" y="169"/>
                  </a:cubicBezTo>
                  <a:cubicBezTo>
                    <a:pt x="47" y="174"/>
                    <a:pt x="49" y="172"/>
                    <a:pt x="59" y="171"/>
                  </a:cubicBezTo>
                  <a:cubicBezTo>
                    <a:pt x="71" y="172"/>
                    <a:pt x="73" y="172"/>
                    <a:pt x="82" y="174"/>
                  </a:cubicBezTo>
                  <a:cubicBezTo>
                    <a:pt x="81" y="177"/>
                    <a:pt x="47" y="177"/>
                    <a:pt x="45" y="177"/>
                  </a:cubicBezTo>
                  <a:cubicBezTo>
                    <a:pt x="39" y="178"/>
                    <a:pt x="33" y="179"/>
                    <a:pt x="28" y="181"/>
                  </a:cubicBezTo>
                  <a:cubicBezTo>
                    <a:pt x="26" y="187"/>
                    <a:pt x="30" y="191"/>
                    <a:pt x="24" y="195"/>
                  </a:cubicBezTo>
                  <a:cubicBezTo>
                    <a:pt x="17" y="193"/>
                    <a:pt x="18" y="192"/>
                    <a:pt x="13" y="187"/>
                  </a:cubicBezTo>
                  <a:cubicBezTo>
                    <a:pt x="9" y="188"/>
                    <a:pt x="2" y="186"/>
                    <a:pt x="1" y="190"/>
                  </a:cubicBezTo>
                  <a:cubicBezTo>
                    <a:pt x="0" y="196"/>
                    <a:pt x="4" y="201"/>
                    <a:pt x="9" y="202"/>
                  </a:cubicBezTo>
                  <a:cubicBezTo>
                    <a:pt x="15" y="201"/>
                    <a:pt x="18" y="200"/>
                    <a:pt x="24" y="198"/>
                  </a:cubicBezTo>
                  <a:cubicBezTo>
                    <a:pt x="22" y="205"/>
                    <a:pt x="20" y="206"/>
                    <a:pt x="13" y="208"/>
                  </a:cubicBezTo>
                  <a:cubicBezTo>
                    <a:pt x="9" y="211"/>
                    <a:pt x="5" y="210"/>
                    <a:pt x="1" y="213"/>
                  </a:cubicBezTo>
                  <a:cubicBezTo>
                    <a:pt x="3" y="219"/>
                    <a:pt x="4" y="221"/>
                    <a:pt x="9" y="225"/>
                  </a:cubicBezTo>
                  <a:cubicBezTo>
                    <a:pt x="13" y="224"/>
                    <a:pt x="28" y="219"/>
                    <a:pt x="30" y="225"/>
                  </a:cubicBezTo>
                  <a:cubicBezTo>
                    <a:pt x="21" y="231"/>
                    <a:pt x="11" y="230"/>
                    <a:pt x="1" y="233"/>
                  </a:cubicBezTo>
                  <a:cubicBezTo>
                    <a:pt x="8" y="235"/>
                    <a:pt x="17" y="236"/>
                    <a:pt x="24" y="237"/>
                  </a:cubicBezTo>
                  <a:cubicBezTo>
                    <a:pt x="27" y="238"/>
                    <a:pt x="34" y="239"/>
                    <a:pt x="34" y="239"/>
                  </a:cubicBezTo>
                  <a:cubicBezTo>
                    <a:pt x="28" y="241"/>
                    <a:pt x="23" y="244"/>
                    <a:pt x="16" y="245"/>
                  </a:cubicBezTo>
                  <a:cubicBezTo>
                    <a:pt x="22" y="249"/>
                    <a:pt x="36" y="248"/>
                    <a:pt x="42" y="252"/>
                  </a:cubicBezTo>
                  <a:cubicBezTo>
                    <a:pt x="60" y="250"/>
                    <a:pt x="61" y="251"/>
                    <a:pt x="79" y="247"/>
                  </a:cubicBezTo>
                  <a:cubicBezTo>
                    <a:pt x="83" y="242"/>
                    <a:pt x="90" y="245"/>
                    <a:pt x="91" y="238"/>
                  </a:cubicBezTo>
                  <a:cubicBezTo>
                    <a:pt x="101" y="238"/>
                    <a:pt x="117" y="244"/>
                    <a:pt x="126" y="235"/>
                  </a:cubicBezTo>
                  <a:cubicBezTo>
                    <a:pt x="128" y="228"/>
                    <a:pt x="144" y="230"/>
                    <a:pt x="149" y="229"/>
                  </a:cubicBezTo>
                  <a:cubicBezTo>
                    <a:pt x="153" y="227"/>
                    <a:pt x="161" y="230"/>
                    <a:pt x="166" y="233"/>
                  </a:cubicBezTo>
                  <a:cubicBezTo>
                    <a:pt x="168" y="234"/>
                    <a:pt x="172" y="237"/>
                    <a:pt x="172" y="237"/>
                  </a:cubicBezTo>
                  <a:cubicBezTo>
                    <a:pt x="176" y="235"/>
                    <a:pt x="179" y="234"/>
                    <a:pt x="183" y="232"/>
                  </a:cubicBezTo>
                  <a:cubicBezTo>
                    <a:pt x="185" y="227"/>
                    <a:pt x="178" y="226"/>
                    <a:pt x="174" y="225"/>
                  </a:cubicBezTo>
                  <a:cubicBezTo>
                    <a:pt x="177" y="222"/>
                    <a:pt x="179" y="220"/>
                    <a:pt x="183" y="219"/>
                  </a:cubicBezTo>
                  <a:cubicBezTo>
                    <a:pt x="187" y="215"/>
                    <a:pt x="189" y="215"/>
                    <a:pt x="192" y="211"/>
                  </a:cubicBezTo>
                  <a:cubicBezTo>
                    <a:pt x="195" y="203"/>
                    <a:pt x="196" y="196"/>
                    <a:pt x="202" y="190"/>
                  </a:cubicBezTo>
                  <a:cubicBezTo>
                    <a:pt x="203" y="186"/>
                    <a:pt x="207" y="182"/>
                    <a:pt x="208" y="178"/>
                  </a:cubicBezTo>
                  <a:cubicBezTo>
                    <a:pt x="207" y="159"/>
                    <a:pt x="205" y="147"/>
                    <a:pt x="203" y="129"/>
                  </a:cubicBezTo>
                  <a:cubicBezTo>
                    <a:pt x="205" y="106"/>
                    <a:pt x="214" y="106"/>
                    <a:pt x="234" y="105"/>
                  </a:cubicBezTo>
                  <a:cubicBezTo>
                    <a:pt x="237" y="102"/>
                    <a:pt x="239" y="101"/>
                    <a:pt x="243" y="99"/>
                  </a:cubicBezTo>
                  <a:cubicBezTo>
                    <a:pt x="245" y="98"/>
                    <a:pt x="249" y="95"/>
                    <a:pt x="249" y="95"/>
                  </a:cubicBezTo>
                  <a:cubicBezTo>
                    <a:pt x="250" y="91"/>
                    <a:pt x="253" y="87"/>
                    <a:pt x="253" y="83"/>
                  </a:cubicBezTo>
                  <a:cubicBezTo>
                    <a:pt x="253" y="80"/>
                    <a:pt x="251" y="73"/>
                    <a:pt x="251" y="73"/>
                  </a:cubicBezTo>
                  <a:lnTo>
                    <a:pt x="234" y="69"/>
                  </a:lnTo>
                  <a:lnTo>
                    <a:pt x="247" y="59"/>
                  </a:lnTo>
                  <a:lnTo>
                    <a:pt x="240" y="37"/>
                  </a:lnTo>
                  <a:lnTo>
                    <a:pt x="235" y="22"/>
                  </a:lnTo>
                  <a:lnTo>
                    <a:pt x="210" y="19"/>
                  </a:lnTo>
                  <a:lnTo>
                    <a:pt x="189" y="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2" name="Freeform 4553">
              <a:extLst>
                <a:ext uri="{FF2B5EF4-FFF2-40B4-BE49-F238E27FC236}">
                  <a16:creationId xmlns:a16="http://schemas.microsoft.com/office/drawing/2014/main" xmlns="" id="{5EEBDB28-B9BF-4D17-A7B8-7C5E593F1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211" y="4079769"/>
              <a:ext cx="27345" cy="82034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1" y="20"/>
                </a:cxn>
                <a:cxn ang="0">
                  <a:pos x="9" y="40"/>
                </a:cxn>
                <a:cxn ang="0">
                  <a:pos x="5" y="11"/>
                </a:cxn>
              </a:cxnLst>
              <a:rect l="0" t="0" r="r" b="b"/>
              <a:pathLst>
                <a:path w="17" h="51">
                  <a:moveTo>
                    <a:pt x="5" y="11"/>
                  </a:moveTo>
                  <a:cubicBezTo>
                    <a:pt x="8" y="14"/>
                    <a:pt x="9" y="17"/>
                    <a:pt x="11" y="20"/>
                  </a:cubicBezTo>
                  <a:cubicBezTo>
                    <a:pt x="12" y="26"/>
                    <a:pt x="17" y="51"/>
                    <a:pt x="9" y="40"/>
                  </a:cubicBezTo>
                  <a:cubicBezTo>
                    <a:pt x="8" y="35"/>
                    <a:pt x="0" y="0"/>
                    <a:pt x="5" y="11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3" name="Freeform 4554">
              <a:extLst>
                <a:ext uri="{FF2B5EF4-FFF2-40B4-BE49-F238E27FC236}">
                  <a16:creationId xmlns:a16="http://schemas.microsoft.com/office/drawing/2014/main" xmlns="" id="{9D123B1A-EBD6-42EF-B524-E887FE6D8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994" y="4066901"/>
              <a:ext cx="30562" cy="209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3"/>
                </a:cxn>
                <a:cxn ang="0">
                  <a:pos x="0" y="0"/>
                </a:cxn>
              </a:cxnLst>
              <a:rect l="0" t="0" r="r" b="b"/>
              <a:pathLst>
                <a:path w="19" h="13">
                  <a:moveTo>
                    <a:pt x="0" y="0"/>
                  </a:moveTo>
                  <a:cubicBezTo>
                    <a:pt x="7" y="3"/>
                    <a:pt x="10" y="11"/>
                    <a:pt x="16" y="13"/>
                  </a:cubicBezTo>
                  <a:cubicBezTo>
                    <a:pt x="19" y="2"/>
                    <a:pt x="9" y="0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4" name="Freeform 4555">
              <a:extLst>
                <a:ext uri="{FF2B5EF4-FFF2-40B4-BE49-F238E27FC236}">
                  <a16:creationId xmlns:a16="http://schemas.microsoft.com/office/drawing/2014/main" xmlns="" id="{89E84E06-B666-4B4E-8D2B-0FF4F3A54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590" y="4945149"/>
              <a:ext cx="43430" cy="33779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0" y="10"/>
                </a:cxn>
                <a:cxn ang="0">
                  <a:pos x="10" y="20"/>
                </a:cxn>
                <a:cxn ang="0">
                  <a:pos x="27" y="15"/>
                </a:cxn>
                <a:cxn ang="0">
                  <a:pos x="19" y="1"/>
                </a:cxn>
                <a:cxn ang="0">
                  <a:pos x="9" y="3"/>
                </a:cxn>
              </a:cxnLst>
              <a:rect l="0" t="0" r="r" b="b"/>
              <a:pathLst>
                <a:path w="27" h="21">
                  <a:moveTo>
                    <a:pt x="25" y="0"/>
                  </a:moveTo>
                  <a:cubicBezTo>
                    <a:pt x="5" y="2"/>
                    <a:pt x="12" y="2"/>
                    <a:pt x="0" y="10"/>
                  </a:cubicBezTo>
                  <a:cubicBezTo>
                    <a:pt x="1" y="15"/>
                    <a:pt x="10" y="20"/>
                    <a:pt x="10" y="20"/>
                  </a:cubicBezTo>
                  <a:cubicBezTo>
                    <a:pt x="16" y="19"/>
                    <a:pt x="23" y="21"/>
                    <a:pt x="27" y="15"/>
                  </a:cubicBezTo>
                  <a:cubicBezTo>
                    <a:pt x="25" y="10"/>
                    <a:pt x="24" y="3"/>
                    <a:pt x="19" y="1"/>
                  </a:cubicBezTo>
                  <a:cubicBezTo>
                    <a:pt x="16" y="2"/>
                    <a:pt x="9" y="3"/>
                    <a:pt x="9" y="3"/>
                  </a:cubicBez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5" name="Freeform 4556">
              <a:extLst>
                <a:ext uri="{FF2B5EF4-FFF2-40B4-BE49-F238E27FC236}">
                  <a16:creationId xmlns:a16="http://schemas.microsoft.com/office/drawing/2014/main" xmlns="" id="{CA33BA08-D611-42E3-B95A-C943F1195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4284" y="4993404"/>
              <a:ext cx="36996" cy="144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" y="7"/>
                </a:cxn>
                <a:cxn ang="0">
                  <a:pos x="1" y="0"/>
                </a:cxn>
              </a:cxnLst>
              <a:rect l="0" t="0" r="r" b="b"/>
              <a:pathLst>
                <a:path w="23" h="9">
                  <a:moveTo>
                    <a:pt x="1" y="0"/>
                  </a:moveTo>
                  <a:cubicBezTo>
                    <a:pt x="23" y="2"/>
                    <a:pt x="19" y="9"/>
                    <a:pt x="3" y="7"/>
                  </a:cubicBezTo>
                  <a:cubicBezTo>
                    <a:pt x="0" y="3"/>
                    <a:pt x="1" y="5"/>
                    <a:pt x="1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6" name="Freeform 4557">
              <a:extLst>
                <a:ext uri="{FF2B5EF4-FFF2-40B4-BE49-F238E27FC236}">
                  <a16:creationId xmlns:a16="http://schemas.microsoft.com/office/drawing/2014/main" xmlns="" id="{84C24541-1CE8-4D3A-8148-2475082B4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403" y="4859898"/>
              <a:ext cx="102945" cy="80426"/>
            </a:xfrm>
            <a:custGeom>
              <a:avLst/>
              <a:gdLst/>
              <a:ahLst/>
              <a:cxnLst>
                <a:cxn ang="0">
                  <a:pos x="3" y="19"/>
                </a:cxn>
                <a:cxn ang="0">
                  <a:pos x="18" y="14"/>
                </a:cxn>
                <a:cxn ang="0">
                  <a:pos x="30" y="6"/>
                </a:cxn>
                <a:cxn ang="0">
                  <a:pos x="44" y="0"/>
                </a:cxn>
                <a:cxn ang="0">
                  <a:pos x="52" y="21"/>
                </a:cxn>
                <a:cxn ang="0">
                  <a:pos x="64" y="18"/>
                </a:cxn>
                <a:cxn ang="0">
                  <a:pos x="58" y="32"/>
                </a:cxn>
                <a:cxn ang="0">
                  <a:pos x="56" y="35"/>
                </a:cxn>
                <a:cxn ang="0">
                  <a:pos x="52" y="37"/>
                </a:cxn>
                <a:cxn ang="0">
                  <a:pos x="40" y="50"/>
                </a:cxn>
                <a:cxn ang="0">
                  <a:pos x="26" y="42"/>
                </a:cxn>
                <a:cxn ang="0">
                  <a:pos x="19" y="31"/>
                </a:cxn>
                <a:cxn ang="0">
                  <a:pos x="0" y="25"/>
                </a:cxn>
                <a:cxn ang="0">
                  <a:pos x="15" y="15"/>
                </a:cxn>
                <a:cxn ang="0">
                  <a:pos x="18" y="14"/>
                </a:cxn>
              </a:cxnLst>
              <a:rect l="0" t="0" r="r" b="b"/>
              <a:pathLst>
                <a:path w="64" h="50">
                  <a:moveTo>
                    <a:pt x="3" y="19"/>
                  </a:moveTo>
                  <a:cubicBezTo>
                    <a:pt x="8" y="17"/>
                    <a:pt x="13" y="16"/>
                    <a:pt x="18" y="14"/>
                  </a:cubicBezTo>
                  <a:cubicBezTo>
                    <a:pt x="23" y="12"/>
                    <a:pt x="25" y="8"/>
                    <a:pt x="30" y="6"/>
                  </a:cubicBezTo>
                  <a:cubicBezTo>
                    <a:pt x="33" y="2"/>
                    <a:pt x="44" y="0"/>
                    <a:pt x="44" y="0"/>
                  </a:cubicBezTo>
                  <a:cubicBezTo>
                    <a:pt x="55" y="3"/>
                    <a:pt x="43" y="15"/>
                    <a:pt x="52" y="21"/>
                  </a:cubicBezTo>
                  <a:cubicBezTo>
                    <a:pt x="60" y="16"/>
                    <a:pt x="56" y="17"/>
                    <a:pt x="64" y="18"/>
                  </a:cubicBezTo>
                  <a:cubicBezTo>
                    <a:pt x="63" y="24"/>
                    <a:pt x="63" y="29"/>
                    <a:pt x="58" y="32"/>
                  </a:cubicBezTo>
                  <a:cubicBezTo>
                    <a:pt x="57" y="33"/>
                    <a:pt x="57" y="34"/>
                    <a:pt x="56" y="35"/>
                  </a:cubicBezTo>
                  <a:cubicBezTo>
                    <a:pt x="55" y="36"/>
                    <a:pt x="53" y="36"/>
                    <a:pt x="52" y="37"/>
                  </a:cubicBezTo>
                  <a:cubicBezTo>
                    <a:pt x="45" y="45"/>
                    <a:pt x="52" y="44"/>
                    <a:pt x="40" y="50"/>
                  </a:cubicBezTo>
                  <a:cubicBezTo>
                    <a:pt x="35" y="46"/>
                    <a:pt x="33" y="43"/>
                    <a:pt x="26" y="42"/>
                  </a:cubicBezTo>
                  <a:cubicBezTo>
                    <a:pt x="24" y="36"/>
                    <a:pt x="24" y="34"/>
                    <a:pt x="19" y="31"/>
                  </a:cubicBezTo>
                  <a:cubicBezTo>
                    <a:pt x="3" y="32"/>
                    <a:pt x="0" y="38"/>
                    <a:pt x="0" y="25"/>
                  </a:cubicBezTo>
                  <a:cubicBezTo>
                    <a:pt x="0" y="19"/>
                    <a:pt x="10" y="17"/>
                    <a:pt x="15" y="15"/>
                  </a:cubicBezTo>
                  <a:cubicBezTo>
                    <a:pt x="16" y="15"/>
                    <a:pt x="18" y="14"/>
                    <a:pt x="18" y="14"/>
                  </a:cubicBez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7" name="Freeform 4558">
              <a:extLst>
                <a:ext uri="{FF2B5EF4-FFF2-40B4-BE49-F238E27FC236}">
                  <a16:creationId xmlns:a16="http://schemas.microsoft.com/office/drawing/2014/main" xmlns="" id="{71F1CCBA-2082-4507-A1D5-3EDFBB31E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9126" y="4858289"/>
              <a:ext cx="49864" cy="38604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24" y="1"/>
                </a:cxn>
                <a:cxn ang="0">
                  <a:pos x="29" y="21"/>
                </a:cxn>
                <a:cxn ang="0">
                  <a:pos x="19" y="13"/>
                </a:cxn>
                <a:cxn ang="0">
                  <a:pos x="6" y="10"/>
                </a:cxn>
                <a:cxn ang="0">
                  <a:pos x="1" y="0"/>
                </a:cxn>
              </a:cxnLst>
              <a:rect l="0" t="0" r="r" b="b"/>
              <a:pathLst>
                <a:path w="31" h="24">
                  <a:moveTo>
                    <a:pt x="1" y="0"/>
                  </a:moveTo>
                  <a:cubicBezTo>
                    <a:pt x="9" y="0"/>
                    <a:pt x="16" y="0"/>
                    <a:pt x="24" y="1"/>
                  </a:cubicBezTo>
                  <a:cubicBezTo>
                    <a:pt x="31" y="2"/>
                    <a:pt x="29" y="21"/>
                    <a:pt x="29" y="21"/>
                  </a:cubicBezTo>
                  <a:cubicBezTo>
                    <a:pt x="21" y="24"/>
                    <a:pt x="24" y="16"/>
                    <a:pt x="19" y="13"/>
                  </a:cubicBezTo>
                  <a:cubicBezTo>
                    <a:pt x="15" y="11"/>
                    <a:pt x="10" y="11"/>
                    <a:pt x="6" y="10"/>
                  </a:cubicBezTo>
                  <a:cubicBezTo>
                    <a:pt x="0" y="6"/>
                    <a:pt x="0" y="9"/>
                    <a:pt x="1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8" name="Freeform 4559">
              <a:extLst>
                <a:ext uri="{FF2B5EF4-FFF2-40B4-BE49-F238E27FC236}">
                  <a16:creationId xmlns:a16="http://schemas.microsoft.com/office/drawing/2014/main" xmlns="" id="{C95EF73E-F509-46D1-8952-AC8D34D1E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1816" y="4525327"/>
              <a:ext cx="104553" cy="193021"/>
            </a:xfrm>
            <a:custGeom>
              <a:avLst/>
              <a:gdLst/>
              <a:ahLst/>
              <a:cxnLst>
                <a:cxn ang="0">
                  <a:pos x="49" y="27"/>
                </a:cxn>
                <a:cxn ang="0">
                  <a:pos x="57" y="0"/>
                </a:cxn>
                <a:cxn ang="0">
                  <a:pos x="56" y="25"/>
                </a:cxn>
                <a:cxn ang="0">
                  <a:pos x="61" y="36"/>
                </a:cxn>
                <a:cxn ang="0">
                  <a:pos x="60" y="72"/>
                </a:cxn>
                <a:cxn ang="0">
                  <a:pos x="55" y="85"/>
                </a:cxn>
                <a:cxn ang="0">
                  <a:pos x="54" y="88"/>
                </a:cxn>
                <a:cxn ang="0">
                  <a:pos x="51" y="103"/>
                </a:cxn>
                <a:cxn ang="0">
                  <a:pos x="44" y="120"/>
                </a:cxn>
                <a:cxn ang="0">
                  <a:pos x="24" y="106"/>
                </a:cxn>
                <a:cxn ang="0">
                  <a:pos x="22" y="103"/>
                </a:cxn>
                <a:cxn ang="0">
                  <a:pos x="24" y="99"/>
                </a:cxn>
                <a:cxn ang="0">
                  <a:pos x="19" y="94"/>
                </a:cxn>
                <a:cxn ang="0">
                  <a:pos x="19" y="78"/>
                </a:cxn>
                <a:cxn ang="0">
                  <a:pos x="13" y="79"/>
                </a:cxn>
                <a:cxn ang="0">
                  <a:pos x="18" y="67"/>
                </a:cxn>
                <a:cxn ang="0">
                  <a:pos x="10" y="52"/>
                </a:cxn>
                <a:cxn ang="0">
                  <a:pos x="18" y="34"/>
                </a:cxn>
                <a:cxn ang="0">
                  <a:pos x="37" y="23"/>
                </a:cxn>
                <a:cxn ang="0">
                  <a:pos x="49" y="24"/>
                </a:cxn>
                <a:cxn ang="0">
                  <a:pos x="49" y="27"/>
                </a:cxn>
              </a:cxnLst>
              <a:rect l="0" t="0" r="r" b="b"/>
              <a:pathLst>
                <a:path w="65" h="120">
                  <a:moveTo>
                    <a:pt x="49" y="27"/>
                  </a:moveTo>
                  <a:cubicBezTo>
                    <a:pt x="53" y="16"/>
                    <a:pt x="45" y="4"/>
                    <a:pt x="57" y="0"/>
                  </a:cubicBezTo>
                  <a:cubicBezTo>
                    <a:pt x="59" y="6"/>
                    <a:pt x="56" y="19"/>
                    <a:pt x="56" y="25"/>
                  </a:cubicBezTo>
                  <a:cubicBezTo>
                    <a:pt x="57" y="31"/>
                    <a:pt x="56" y="33"/>
                    <a:pt x="61" y="36"/>
                  </a:cubicBezTo>
                  <a:cubicBezTo>
                    <a:pt x="63" y="48"/>
                    <a:pt x="65" y="61"/>
                    <a:pt x="60" y="72"/>
                  </a:cubicBezTo>
                  <a:cubicBezTo>
                    <a:pt x="58" y="76"/>
                    <a:pt x="56" y="81"/>
                    <a:pt x="55" y="85"/>
                  </a:cubicBezTo>
                  <a:cubicBezTo>
                    <a:pt x="55" y="86"/>
                    <a:pt x="54" y="88"/>
                    <a:pt x="54" y="88"/>
                  </a:cubicBezTo>
                  <a:cubicBezTo>
                    <a:pt x="55" y="94"/>
                    <a:pt x="56" y="98"/>
                    <a:pt x="51" y="103"/>
                  </a:cubicBezTo>
                  <a:cubicBezTo>
                    <a:pt x="49" y="109"/>
                    <a:pt x="47" y="115"/>
                    <a:pt x="44" y="120"/>
                  </a:cubicBezTo>
                  <a:cubicBezTo>
                    <a:pt x="36" y="119"/>
                    <a:pt x="32" y="111"/>
                    <a:pt x="24" y="106"/>
                  </a:cubicBezTo>
                  <a:cubicBezTo>
                    <a:pt x="23" y="105"/>
                    <a:pt x="22" y="104"/>
                    <a:pt x="22" y="103"/>
                  </a:cubicBezTo>
                  <a:cubicBezTo>
                    <a:pt x="22" y="102"/>
                    <a:pt x="23" y="100"/>
                    <a:pt x="24" y="99"/>
                  </a:cubicBezTo>
                  <a:cubicBezTo>
                    <a:pt x="27" y="91"/>
                    <a:pt x="27" y="93"/>
                    <a:pt x="19" y="94"/>
                  </a:cubicBezTo>
                  <a:cubicBezTo>
                    <a:pt x="9" y="92"/>
                    <a:pt x="17" y="84"/>
                    <a:pt x="19" y="78"/>
                  </a:cubicBezTo>
                  <a:cubicBezTo>
                    <a:pt x="17" y="77"/>
                    <a:pt x="14" y="81"/>
                    <a:pt x="13" y="79"/>
                  </a:cubicBezTo>
                  <a:cubicBezTo>
                    <a:pt x="11" y="75"/>
                    <a:pt x="18" y="67"/>
                    <a:pt x="18" y="67"/>
                  </a:cubicBezTo>
                  <a:cubicBezTo>
                    <a:pt x="6" y="63"/>
                    <a:pt x="0" y="66"/>
                    <a:pt x="10" y="52"/>
                  </a:cubicBezTo>
                  <a:cubicBezTo>
                    <a:pt x="8" y="42"/>
                    <a:pt x="9" y="40"/>
                    <a:pt x="18" y="34"/>
                  </a:cubicBezTo>
                  <a:cubicBezTo>
                    <a:pt x="20" y="31"/>
                    <a:pt x="33" y="24"/>
                    <a:pt x="37" y="23"/>
                  </a:cubicBezTo>
                  <a:cubicBezTo>
                    <a:pt x="41" y="23"/>
                    <a:pt x="45" y="23"/>
                    <a:pt x="49" y="24"/>
                  </a:cubicBezTo>
                  <a:cubicBezTo>
                    <a:pt x="50" y="24"/>
                    <a:pt x="50" y="27"/>
                    <a:pt x="49" y="2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9" name="Freeform 4560">
              <a:extLst>
                <a:ext uri="{FF2B5EF4-FFF2-40B4-BE49-F238E27FC236}">
                  <a16:creationId xmlns:a16="http://schemas.microsoft.com/office/drawing/2014/main" xmlns="" id="{5D9B0897-DB6E-4BC2-8CB1-DC45BAB53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2863" y="4737651"/>
              <a:ext cx="147983" cy="291141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52" y="6"/>
                </a:cxn>
                <a:cxn ang="0">
                  <a:pos x="45" y="13"/>
                </a:cxn>
                <a:cxn ang="0">
                  <a:pos x="33" y="24"/>
                </a:cxn>
                <a:cxn ang="0">
                  <a:pos x="21" y="30"/>
                </a:cxn>
                <a:cxn ang="0">
                  <a:pos x="10" y="29"/>
                </a:cxn>
                <a:cxn ang="0">
                  <a:pos x="3" y="18"/>
                </a:cxn>
                <a:cxn ang="0">
                  <a:pos x="0" y="36"/>
                </a:cxn>
                <a:cxn ang="0">
                  <a:pos x="7" y="49"/>
                </a:cxn>
                <a:cxn ang="0">
                  <a:pos x="13" y="58"/>
                </a:cxn>
                <a:cxn ang="0">
                  <a:pos x="18" y="76"/>
                </a:cxn>
                <a:cxn ang="0">
                  <a:pos x="21" y="106"/>
                </a:cxn>
                <a:cxn ang="0">
                  <a:pos x="15" y="118"/>
                </a:cxn>
                <a:cxn ang="0">
                  <a:pos x="12" y="132"/>
                </a:cxn>
                <a:cxn ang="0">
                  <a:pos x="14" y="145"/>
                </a:cxn>
                <a:cxn ang="0">
                  <a:pos x="8" y="154"/>
                </a:cxn>
                <a:cxn ang="0">
                  <a:pos x="8" y="168"/>
                </a:cxn>
                <a:cxn ang="0">
                  <a:pos x="18" y="165"/>
                </a:cxn>
                <a:cxn ang="0">
                  <a:pos x="24" y="177"/>
                </a:cxn>
                <a:cxn ang="0">
                  <a:pos x="36" y="180"/>
                </a:cxn>
                <a:cxn ang="0">
                  <a:pos x="48" y="159"/>
                </a:cxn>
                <a:cxn ang="0">
                  <a:pos x="55" y="154"/>
                </a:cxn>
                <a:cxn ang="0">
                  <a:pos x="72" y="160"/>
                </a:cxn>
                <a:cxn ang="0">
                  <a:pos x="84" y="145"/>
                </a:cxn>
                <a:cxn ang="0">
                  <a:pos x="91" y="96"/>
                </a:cxn>
                <a:cxn ang="0">
                  <a:pos x="81" y="72"/>
                </a:cxn>
                <a:cxn ang="0">
                  <a:pos x="86" y="63"/>
                </a:cxn>
                <a:cxn ang="0">
                  <a:pos x="90" y="57"/>
                </a:cxn>
                <a:cxn ang="0">
                  <a:pos x="90" y="28"/>
                </a:cxn>
                <a:cxn ang="0">
                  <a:pos x="79" y="21"/>
                </a:cxn>
                <a:cxn ang="0">
                  <a:pos x="79" y="4"/>
                </a:cxn>
                <a:cxn ang="0">
                  <a:pos x="61" y="0"/>
                </a:cxn>
              </a:cxnLst>
              <a:rect l="0" t="0" r="r" b="b"/>
              <a:pathLst>
                <a:path w="92" h="181">
                  <a:moveTo>
                    <a:pt x="61" y="0"/>
                  </a:moveTo>
                  <a:cubicBezTo>
                    <a:pt x="58" y="3"/>
                    <a:pt x="55" y="4"/>
                    <a:pt x="52" y="6"/>
                  </a:cubicBezTo>
                  <a:cubicBezTo>
                    <a:pt x="47" y="13"/>
                    <a:pt x="50" y="11"/>
                    <a:pt x="45" y="13"/>
                  </a:cubicBezTo>
                  <a:cubicBezTo>
                    <a:pt x="44" y="17"/>
                    <a:pt x="38" y="22"/>
                    <a:pt x="33" y="24"/>
                  </a:cubicBezTo>
                  <a:cubicBezTo>
                    <a:pt x="30" y="28"/>
                    <a:pt x="26" y="29"/>
                    <a:pt x="21" y="30"/>
                  </a:cubicBezTo>
                  <a:cubicBezTo>
                    <a:pt x="17" y="30"/>
                    <a:pt x="13" y="30"/>
                    <a:pt x="10" y="29"/>
                  </a:cubicBezTo>
                  <a:cubicBezTo>
                    <a:pt x="4" y="27"/>
                    <a:pt x="9" y="20"/>
                    <a:pt x="3" y="18"/>
                  </a:cubicBezTo>
                  <a:cubicBezTo>
                    <a:pt x="2" y="24"/>
                    <a:pt x="2" y="30"/>
                    <a:pt x="0" y="36"/>
                  </a:cubicBezTo>
                  <a:cubicBezTo>
                    <a:pt x="1" y="40"/>
                    <a:pt x="3" y="48"/>
                    <a:pt x="7" y="49"/>
                  </a:cubicBezTo>
                  <a:cubicBezTo>
                    <a:pt x="8" y="53"/>
                    <a:pt x="10" y="55"/>
                    <a:pt x="13" y="58"/>
                  </a:cubicBezTo>
                  <a:cubicBezTo>
                    <a:pt x="15" y="64"/>
                    <a:pt x="15" y="70"/>
                    <a:pt x="18" y="76"/>
                  </a:cubicBezTo>
                  <a:cubicBezTo>
                    <a:pt x="15" y="93"/>
                    <a:pt x="16" y="92"/>
                    <a:pt x="21" y="106"/>
                  </a:cubicBezTo>
                  <a:cubicBezTo>
                    <a:pt x="20" y="110"/>
                    <a:pt x="16" y="114"/>
                    <a:pt x="15" y="118"/>
                  </a:cubicBezTo>
                  <a:cubicBezTo>
                    <a:pt x="16" y="124"/>
                    <a:pt x="18" y="128"/>
                    <a:pt x="12" y="132"/>
                  </a:cubicBezTo>
                  <a:cubicBezTo>
                    <a:pt x="9" y="137"/>
                    <a:pt x="11" y="140"/>
                    <a:pt x="14" y="145"/>
                  </a:cubicBezTo>
                  <a:cubicBezTo>
                    <a:pt x="12" y="148"/>
                    <a:pt x="9" y="150"/>
                    <a:pt x="8" y="154"/>
                  </a:cubicBezTo>
                  <a:cubicBezTo>
                    <a:pt x="10" y="160"/>
                    <a:pt x="10" y="162"/>
                    <a:pt x="8" y="168"/>
                  </a:cubicBezTo>
                  <a:cubicBezTo>
                    <a:pt x="11" y="169"/>
                    <a:pt x="18" y="165"/>
                    <a:pt x="18" y="165"/>
                  </a:cubicBezTo>
                  <a:cubicBezTo>
                    <a:pt x="23" y="157"/>
                    <a:pt x="23" y="175"/>
                    <a:pt x="24" y="177"/>
                  </a:cubicBezTo>
                  <a:cubicBezTo>
                    <a:pt x="25" y="181"/>
                    <a:pt x="32" y="179"/>
                    <a:pt x="36" y="180"/>
                  </a:cubicBezTo>
                  <a:cubicBezTo>
                    <a:pt x="52" y="178"/>
                    <a:pt x="36" y="167"/>
                    <a:pt x="48" y="159"/>
                  </a:cubicBezTo>
                  <a:cubicBezTo>
                    <a:pt x="49" y="156"/>
                    <a:pt x="55" y="154"/>
                    <a:pt x="55" y="154"/>
                  </a:cubicBezTo>
                  <a:cubicBezTo>
                    <a:pt x="63" y="155"/>
                    <a:pt x="65" y="158"/>
                    <a:pt x="72" y="160"/>
                  </a:cubicBezTo>
                  <a:cubicBezTo>
                    <a:pt x="81" y="158"/>
                    <a:pt x="80" y="151"/>
                    <a:pt x="84" y="145"/>
                  </a:cubicBezTo>
                  <a:cubicBezTo>
                    <a:pt x="86" y="128"/>
                    <a:pt x="88" y="112"/>
                    <a:pt x="91" y="96"/>
                  </a:cubicBezTo>
                  <a:cubicBezTo>
                    <a:pt x="90" y="86"/>
                    <a:pt x="86" y="81"/>
                    <a:pt x="81" y="72"/>
                  </a:cubicBezTo>
                  <a:cubicBezTo>
                    <a:pt x="83" y="61"/>
                    <a:pt x="80" y="70"/>
                    <a:pt x="86" y="63"/>
                  </a:cubicBezTo>
                  <a:cubicBezTo>
                    <a:pt x="88" y="61"/>
                    <a:pt x="90" y="57"/>
                    <a:pt x="90" y="57"/>
                  </a:cubicBezTo>
                  <a:cubicBezTo>
                    <a:pt x="91" y="55"/>
                    <a:pt x="92" y="34"/>
                    <a:pt x="90" y="28"/>
                  </a:cubicBezTo>
                  <a:lnTo>
                    <a:pt x="79" y="21"/>
                  </a:lnTo>
                  <a:lnTo>
                    <a:pt x="79" y="4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0" name="Freeform 4561">
              <a:extLst>
                <a:ext uri="{FF2B5EF4-FFF2-40B4-BE49-F238E27FC236}">
                  <a16:creationId xmlns:a16="http://schemas.microsoft.com/office/drawing/2014/main" xmlns="" id="{DA7412FF-CEA2-4BD9-BC31-2E593942E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408" y="4549455"/>
              <a:ext cx="27345" cy="22519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6" y="2"/>
                </a:cxn>
                <a:cxn ang="0">
                  <a:pos x="15" y="14"/>
                </a:cxn>
                <a:cxn ang="0">
                  <a:pos x="0" y="3"/>
                </a:cxn>
              </a:cxnLst>
              <a:rect l="0" t="0" r="r" b="b"/>
              <a:pathLst>
                <a:path w="17" h="14">
                  <a:moveTo>
                    <a:pt x="0" y="3"/>
                  </a:moveTo>
                  <a:cubicBezTo>
                    <a:pt x="5" y="3"/>
                    <a:pt x="11" y="0"/>
                    <a:pt x="16" y="2"/>
                  </a:cubicBezTo>
                  <a:cubicBezTo>
                    <a:pt x="16" y="6"/>
                    <a:pt x="17" y="10"/>
                    <a:pt x="15" y="14"/>
                  </a:cubicBezTo>
                  <a:cubicBezTo>
                    <a:pt x="12" y="14"/>
                    <a:pt x="0" y="5"/>
                    <a:pt x="0" y="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1" name="Freeform 4562">
              <a:extLst>
                <a:ext uri="{FF2B5EF4-FFF2-40B4-BE49-F238E27FC236}">
                  <a16:creationId xmlns:a16="http://schemas.microsoft.com/office/drawing/2014/main" xmlns="" id="{7E9C8F42-D9E9-464E-A4B2-C3C3C604B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557" y="5072222"/>
              <a:ext cx="307226" cy="196239"/>
            </a:xfrm>
            <a:custGeom>
              <a:avLst/>
              <a:gdLst/>
              <a:ahLst/>
              <a:cxnLst>
                <a:cxn ang="0">
                  <a:pos x="180" y="0"/>
                </a:cxn>
                <a:cxn ang="0">
                  <a:pos x="165" y="8"/>
                </a:cxn>
                <a:cxn ang="0">
                  <a:pos x="156" y="14"/>
                </a:cxn>
                <a:cxn ang="0">
                  <a:pos x="135" y="13"/>
                </a:cxn>
                <a:cxn ang="0">
                  <a:pos x="114" y="25"/>
                </a:cxn>
                <a:cxn ang="0">
                  <a:pos x="97" y="24"/>
                </a:cxn>
                <a:cxn ang="0">
                  <a:pos x="78" y="33"/>
                </a:cxn>
                <a:cxn ang="0">
                  <a:pos x="63" y="26"/>
                </a:cxn>
                <a:cxn ang="0">
                  <a:pos x="62" y="21"/>
                </a:cxn>
                <a:cxn ang="0">
                  <a:pos x="58" y="20"/>
                </a:cxn>
                <a:cxn ang="0">
                  <a:pos x="52" y="13"/>
                </a:cxn>
                <a:cxn ang="0">
                  <a:pos x="38" y="18"/>
                </a:cxn>
                <a:cxn ang="0">
                  <a:pos x="30" y="27"/>
                </a:cxn>
                <a:cxn ang="0">
                  <a:pos x="18" y="19"/>
                </a:cxn>
                <a:cxn ang="0">
                  <a:pos x="3" y="27"/>
                </a:cxn>
                <a:cxn ang="0">
                  <a:pos x="0" y="33"/>
                </a:cxn>
                <a:cxn ang="0">
                  <a:pos x="2" y="39"/>
                </a:cxn>
                <a:cxn ang="0">
                  <a:pos x="3" y="55"/>
                </a:cxn>
                <a:cxn ang="0">
                  <a:pos x="9" y="57"/>
                </a:cxn>
                <a:cxn ang="0">
                  <a:pos x="18" y="66"/>
                </a:cxn>
                <a:cxn ang="0">
                  <a:pos x="36" y="65"/>
                </a:cxn>
                <a:cxn ang="0">
                  <a:pos x="46" y="69"/>
                </a:cxn>
                <a:cxn ang="0">
                  <a:pos x="55" y="73"/>
                </a:cxn>
                <a:cxn ang="0">
                  <a:pos x="72" y="85"/>
                </a:cxn>
                <a:cxn ang="0">
                  <a:pos x="82" y="92"/>
                </a:cxn>
                <a:cxn ang="0">
                  <a:pos x="111" y="95"/>
                </a:cxn>
                <a:cxn ang="0">
                  <a:pos x="121" y="103"/>
                </a:cxn>
                <a:cxn ang="0">
                  <a:pos x="136" y="120"/>
                </a:cxn>
                <a:cxn ang="0">
                  <a:pos x="164" y="122"/>
                </a:cxn>
                <a:cxn ang="0">
                  <a:pos x="164" y="111"/>
                </a:cxn>
                <a:cxn ang="0">
                  <a:pos x="169" y="102"/>
                </a:cxn>
                <a:cxn ang="0">
                  <a:pos x="177" y="92"/>
                </a:cxn>
                <a:cxn ang="0">
                  <a:pos x="171" y="84"/>
                </a:cxn>
                <a:cxn ang="0">
                  <a:pos x="160" y="73"/>
                </a:cxn>
                <a:cxn ang="0">
                  <a:pos x="164" y="56"/>
                </a:cxn>
                <a:cxn ang="0">
                  <a:pos x="168" y="50"/>
                </a:cxn>
                <a:cxn ang="0">
                  <a:pos x="184" y="18"/>
                </a:cxn>
                <a:cxn ang="0">
                  <a:pos x="180" y="0"/>
                </a:cxn>
              </a:cxnLst>
              <a:rect l="0" t="0" r="r" b="b"/>
              <a:pathLst>
                <a:path w="191" h="122">
                  <a:moveTo>
                    <a:pt x="180" y="0"/>
                  </a:moveTo>
                  <a:cubicBezTo>
                    <a:pt x="174" y="2"/>
                    <a:pt x="171" y="6"/>
                    <a:pt x="165" y="8"/>
                  </a:cubicBezTo>
                  <a:cubicBezTo>
                    <a:pt x="162" y="11"/>
                    <a:pt x="159" y="12"/>
                    <a:pt x="156" y="14"/>
                  </a:cubicBezTo>
                  <a:cubicBezTo>
                    <a:pt x="149" y="13"/>
                    <a:pt x="142" y="11"/>
                    <a:pt x="135" y="13"/>
                  </a:cubicBezTo>
                  <a:cubicBezTo>
                    <a:pt x="129" y="21"/>
                    <a:pt x="124" y="24"/>
                    <a:pt x="114" y="25"/>
                  </a:cubicBezTo>
                  <a:cubicBezTo>
                    <a:pt x="107" y="27"/>
                    <a:pt x="104" y="26"/>
                    <a:pt x="97" y="24"/>
                  </a:cubicBezTo>
                  <a:cubicBezTo>
                    <a:pt x="89" y="25"/>
                    <a:pt x="86" y="30"/>
                    <a:pt x="78" y="33"/>
                  </a:cubicBezTo>
                  <a:cubicBezTo>
                    <a:pt x="71" y="31"/>
                    <a:pt x="72" y="27"/>
                    <a:pt x="63" y="26"/>
                  </a:cubicBezTo>
                  <a:cubicBezTo>
                    <a:pt x="63" y="24"/>
                    <a:pt x="63" y="22"/>
                    <a:pt x="62" y="21"/>
                  </a:cubicBezTo>
                  <a:cubicBezTo>
                    <a:pt x="61" y="20"/>
                    <a:pt x="59" y="21"/>
                    <a:pt x="58" y="20"/>
                  </a:cubicBezTo>
                  <a:cubicBezTo>
                    <a:pt x="51" y="11"/>
                    <a:pt x="61" y="15"/>
                    <a:pt x="52" y="13"/>
                  </a:cubicBezTo>
                  <a:cubicBezTo>
                    <a:pt x="46" y="15"/>
                    <a:pt x="45" y="17"/>
                    <a:pt x="38" y="18"/>
                  </a:cubicBezTo>
                  <a:cubicBezTo>
                    <a:pt x="36" y="24"/>
                    <a:pt x="36" y="25"/>
                    <a:pt x="30" y="27"/>
                  </a:cubicBezTo>
                  <a:cubicBezTo>
                    <a:pt x="21" y="26"/>
                    <a:pt x="25" y="21"/>
                    <a:pt x="18" y="19"/>
                  </a:cubicBezTo>
                  <a:cubicBezTo>
                    <a:pt x="13" y="28"/>
                    <a:pt x="18" y="26"/>
                    <a:pt x="3" y="27"/>
                  </a:cubicBezTo>
                  <a:cubicBezTo>
                    <a:pt x="2" y="28"/>
                    <a:pt x="0" y="31"/>
                    <a:pt x="0" y="33"/>
                  </a:cubicBezTo>
                  <a:cubicBezTo>
                    <a:pt x="0" y="35"/>
                    <a:pt x="2" y="39"/>
                    <a:pt x="2" y="39"/>
                  </a:cubicBezTo>
                  <a:cubicBezTo>
                    <a:pt x="2" y="44"/>
                    <a:pt x="1" y="50"/>
                    <a:pt x="3" y="55"/>
                  </a:cubicBezTo>
                  <a:cubicBezTo>
                    <a:pt x="4" y="57"/>
                    <a:pt x="9" y="57"/>
                    <a:pt x="9" y="57"/>
                  </a:cubicBezTo>
                  <a:cubicBezTo>
                    <a:pt x="11" y="62"/>
                    <a:pt x="13" y="64"/>
                    <a:pt x="18" y="66"/>
                  </a:cubicBezTo>
                  <a:cubicBezTo>
                    <a:pt x="28" y="64"/>
                    <a:pt x="25" y="63"/>
                    <a:pt x="36" y="65"/>
                  </a:cubicBezTo>
                  <a:cubicBezTo>
                    <a:pt x="39" y="67"/>
                    <a:pt x="42" y="68"/>
                    <a:pt x="46" y="69"/>
                  </a:cubicBezTo>
                  <a:cubicBezTo>
                    <a:pt x="49" y="71"/>
                    <a:pt x="55" y="73"/>
                    <a:pt x="55" y="73"/>
                  </a:cubicBezTo>
                  <a:cubicBezTo>
                    <a:pt x="58" y="84"/>
                    <a:pt x="61" y="84"/>
                    <a:pt x="72" y="85"/>
                  </a:cubicBezTo>
                  <a:cubicBezTo>
                    <a:pt x="78" y="87"/>
                    <a:pt x="77" y="91"/>
                    <a:pt x="82" y="92"/>
                  </a:cubicBezTo>
                  <a:cubicBezTo>
                    <a:pt x="91" y="95"/>
                    <a:pt x="101" y="94"/>
                    <a:pt x="111" y="95"/>
                  </a:cubicBezTo>
                  <a:cubicBezTo>
                    <a:pt x="113" y="101"/>
                    <a:pt x="116" y="100"/>
                    <a:pt x="121" y="103"/>
                  </a:cubicBezTo>
                  <a:cubicBezTo>
                    <a:pt x="123" y="113"/>
                    <a:pt x="126" y="117"/>
                    <a:pt x="136" y="120"/>
                  </a:cubicBezTo>
                  <a:cubicBezTo>
                    <a:pt x="150" y="118"/>
                    <a:pt x="150" y="119"/>
                    <a:pt x="164" y="122"/>
                  </a:cubicBezTo>
                  <a:cubicBezTo>
                    <a:pt x="166" y="119"/>
                    <a:pt x="164" y="111"/>
                    <a:pt x="164" y="111"/>
                  </a:cubicBezTo>
                  <a:cubicBezTo>
                    <a:pt x="165" y="106"/>
                    <a:pt x="165" y="105"/>
                    <a:pt x="169" y="102"/>
                  </a:cubicBezTo>
                  <a:cubicBezTo>
                    <a:pt x="172" y="98"/>
                    <a:pt x="175" y="98"/>
                    <a:pt x="177" y="92"/>
                  </a:cubicBezTo>
                  <a:cubicBezTo>
                    <a:pt x="176" y="88"/>
                    <a:pt x="174" y="86"/>
                    <a:pt x="171" y="84"/>
                  </a:cubicBezTo>
                  <a:cubicBezTo>
                    <a:pt x="168" y="75"/>
                    <a:pt x="170" y="75"/>
                    <a:pt x="160" y="73"/>
                  </a:cubicBezTo>
                  <a:cubicBezTo>
                    <a:pt x="162" y="68"/>
                    <a:pt x="162" y="61"/>
                    <a:pt x="164" y="56"/>
                  </a:cubicBezTo>
                  <a:cubicBezTo>
                    <a:pt x="165" y="54"/>
                    <a:pt x="168" y="50"/>
                    <a:pt x="168" y="50"/>
                  </a:cubicBezTo>
                  <a:cubicBezTo>
                    <a:pt x="170" y="21"/>
                    <a:pt x="169" y="33"/>
                    <a:pt x="184" y="18"/>
                  </a:cubicBezTo>
                  <a:cubicBezTo>
                    <a:pt x="186" y="1"/>
                    <a:pt x="191" y="5"/>
                    <a:pt x="180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2" name="Freeform 4563">
              <a:extLst>
                <a:ext uri="{FF2B5EF4-FFF2-40B4-BE49-F238E27FC236}">
                  <a16:creationId xmlns:a16="http://schemas.microsoft.com/office/drawing/2014/main" xmlns="" id="{3BF658C8-9367-4937-AA54-F946F7F0A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7238" y="4272791"/>
              <a:ext cx="38604" cy="788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43"/>
                </a:cxn>
                <a:cxn ang="0">
                  <a:pos x="22" y="43"/>
                </a:cxn>
                <a:cxn ang="0">
                  <a:pos x="14" y="10"/>
                </a:cxn>
                <a:cxn ang="0">
                  <a:pos x="0" y="0"/>
                </a:cxn>
              </a:cxnLst>
              <a:rect l="0" t="0" r="r" b="b"/>
              <a:pathLst>
                <a:path w="24" h="49">
                  <a:moveTo>
                    <a:pt x="0" y="0"/>
                  </a:moveTo>
                  <a:cubicBezTo>
                    <a:pt x="2" y="12"/>
                    <a:pt x="7" y="34"/>
                    <a:pt x="16" y="43"/>
                  </a:cubicBezTo>
                  <a:cubicBezTo>
                    <a:pt x="18" y="49"/>
                    <a:pt x="19" y="49"/>
                    <a:pt x="22" y="43"/>
                  </a:cubicBezTo>
                  <a:cubicBezTo>
                    <a:pt x="21" y="34"/>
                    <a:pt x="24" y="17"/>
                    <a:pt x="14" y="10"/>
                  </a:cubicBezTo>
                  <a:cubicBezTo>
                    <a:pt x="11" y="5"/>
                    <a:pt x="6" y="0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3" name="Freeform 4564">
              <a:extLst>
                <a:ext uri="{FF2B5EF4-FFF2-40B4-BE49-F238E27FC236}">
                  <a16:creationId xmlns:a16="http://schemas.microsoft.com/office/drawing/2014/main" xmlns="" id="{FBD0B8AB-E4CE-4A35-88C6-A69D266D4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710" y="4372519"/>
              <a:ext cx="62732" cy="595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11"/>
                </a:cxn>
                <a:cxn ang="0">
                  <a:pos x="26" y="15"/>
                </a:cxn>
                <a:cxn ang="0">
                  <a:pos x="36" y="33"/>
                </a:cxn>
                <a:cxn ang="0">
                  <a:pos x="38" y="36"/>
                </a:cxn>
                <a:cxn ang="0">
                  <a:pos x="34" y="35"/>
                </a:cxn>
                <a:cxn ang="0">
                  <a:pos x="0" y="0"/>
                </a:cxn>
              </a:cxnLst>
              <a:rect l="0" t="0" r="r" b="b"/>
              <a:pathLst>
                <a:path w="39" h="37">
                  <a:moveTo>
                    <a:pt x="0" y="0"/>
                  </a:moveTo>
                  <a:cubicBezTo>
                    <a:pt x="8" y="3"/>
                    <a:pt x="12" y="8"/>
                    <a:pt x="20" y="11"/>
                  </a:cubicBezTo>
                  <a:cubicBezTo>
                    <a:pt x="22" y="13"/>
                    <a:pt x="24" y="13"/>
                    <a:pt x="26" y="15"/>
                  </a:cubicBezTo>
                  <a:cubicBezTo>
                    <a:pt x="31" y="20"/>
                    <a:pt x="33" y="27"/>
                    <a:pt x="36" y="33"/>
                  </a:cubicBezTo>
                  <a:cubicBezTo>
                    <a:pt x="37" y="34"/>
                    <a:pt x="39" y="35"/>
                    <a:pt x="38" y="36"/>
                  </a:cubicBezTo>
                  <a:cubicBezTo>
                    <a:pt x="37" y="37"/>
                    <a:pt x="35" y="35"/>
                    <a:pt x="34" y="35"/>
                  </a:cubicBezTo>
                  <a:cubicBezTo>
                    <a:pt x="28" y="29"/>
                    <a:pt x="2" y="4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4" name="Freeform 4565">
              <a:extLst>
                <a:ext uri="{FF2B5EF4-FFF2-40B4-BE49-F238E27FC236}">
                  <a16:creationId xmlns:a16="http://schemas.microsoft.com/office/drawing/2014/main" xmlns="" id="{5726075F-8612-44F8-AD91-23A82A4ED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451" y="4316221"/>
              <a:ext cx="49864" cy="54689"/>
            </a:xfrm>
            <a:custGeom>
              <a:avLst/>
              <a:gdLst/>
              <a:ahLst/>
              <a:cxnLst>
                <a:cxn ang="0">
                  <a:pos x="5" y="2"/>
                </a:cxn>
                <a:cxn ang="0">
                  <a:pos x="27" y="23"/>
                </a:cxn>
                <a:cxn ang="0">
                  <a:pos x="21" y="27"/>
                </a:cxn>
                <a:cxn ang="0">
                  <a:pos x="10" y="13"/>
                </a:cxn>
                <a:cxn ang="0">
                  <a:pos x="5" y="2"/>
                </a:cxn>
              </a:cxnLst>
              <a:rect l="0" t="0" r="r" b="b"/>
              <a:pathLst>
                <a:path w="31" h="34">
                  <a:moveTo>
                    <a:pt x="5" y="2"/>
                  </a:moveTo>
                  <a:cubicBezTo>
                    <a:pt x="13" y="8"/>
                    <a:pt x="19" y="17"/>
                    <a:pt x="27" y="23"/>
                  </a:cubicBezTo>
                  <a:cubicBezTo>
                    <a:pt x="31" y="34"/>
                    <a:pt x="31" y="33"/>
                    <a:pt x="21" y="27"/>
                  </a:cubicBezTo>
                  <a:cubicBezTo>
                    <a:pt x="18" y="21"/>
                    <a:pt x="15" y="16"/>
                    <a:pt x="10" y="13"/>
                  </a:cubicBezTo>
                  <a:cubicBezTo>
                    <a:pt x="9" y="11"/>
                    <a:pt x="0" y="0"/>
                    <a:pt x="5" y="2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5" name="Freeform 4566">
              <a:extLst>
                <a:ext uri="{FF2B5EF4-FFF2-40B4-BE49-F238E27FC236}">
                  <a16:creationId xmlns:a16="http://schemas.microsoft.com/office/drawing/2014/main" xmlns="" id="{B5B26D5D-2C42-4BD6-8CAF-B06FCAAF1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3477" y="4457770"/>
              <a:ext cx="43430" cy="209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6"/>
                </a:cxn>
                <a:cxn ang="0">
                  <a:pos x="27" y="4"/>
                </a:cxn>
                <a:cxn ang="0">
                  <a:pos x="12" y="13"/>
                </a:cxn>
                <a:cxn ang="0">
                  <a:pos x="0" y="0"/>
                </a:cxn>
              </a:cxnLst>
              <a:rect l="0" t="0" r="r" b="b"/>
              <a:pathLst>
                <a:path w="27" h="13">
                  <a:moveTo>
                    <a:pt x="0" y="0"/>
                  </a:moveTo>
                  <a:cubicBezTo>
                    <a:pt x="3" y="3"/>
                    <a:pt x="11" y="6"/>
                    <a:pt x="11" y="6"/>
                  </a:cubicBezTo>
                  <a:cubicBezTo>
                    <a:pt x="17" y="5"/>
                    <a:pt x="22" y="3"/>
                    <a:pt x="27" y="4"/>
                  </a:cubicBezTo>
                  <a:cubicBezTo>
                    <a:pt x="24" y="12"/>
                    <a:pt x="19" y="12"/>
                    <a:pt x="12" y="13"/>
                  </a:cubicBezTo>
                  <a:cubicBezTo>
                    <a:pt x="5" y="11"/>
                    <a:pt x="0" y="8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6" name="Freeform 4567">
              <a:extLst>
                <a:ext uri="{FF2B5EF4-FFF2-40B4-BE49-F238E27FC236}">
                  <a16:creationId xmlns:a16="http://schemas.microsoft.com/office/drawing/2014/main" xmlns="" id="{52872A2F-42A9-4EEC-AAE6-4B914B757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349" y="4475463"/>
              <a:ext cx="88468" cy="17694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55" y="4"/>
                </a:cxn>
                <a:cxn ang="0">
                  <a:pos x="31" y="8"/>
                </a:cxn>
                <a:cxn ang="0">
                  <a:pos x="12" y="4"/>
                </a:cxn>
              </a:cxnLst>
              <a:rect l="0" t="0" r="r" b="b"/>
              <a:pathLst>
                <a:path w="55" h="11">
                  <a:moveTo>
                    <a:pt x="12" y="4"/>
                  </a:moveTo>
                  <a:cubicBezTo>
                    <a:pt x="27" y="0"/>
                    <a:pt x="39" y="2"/>
                    <a:pt x="55" y="4"/>
                  </a:cubicBezTo>
                  <a:cubicBezTo>
                    <a:pt x="53" y="11"/>
                    <a:pt x="38" y="7"/>
                    <a:pt x="31" y="8"/>
                  </a:cubicBezTo>
                  <a:cubicBezTo>
                    <a:pt x="25" y="7"/>
                    <a:pt x="0" y="11"/>
                    <a:pt x="12" y="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7" name="Freeform 4568">
              <a:extLst>
                <a:ext uri="{FF2B5EF4-FFF2-40B4-BE49-F238E27FC236}">
                  <a16:creationId xmlns:a16="http://schemas.microsoft.com/office/drawing/2014/main" xmlns="" id="{BFC3E3AB-0706-450C-B4A1-027560806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53" y="4501200"/>
              <a:ext cx="53081" cy="14477"/>
            </a:xfrm>
            <a:custGeom>
              <a:avLst/>
              <a:gdLst/>
              <a:ahLst/>
              <a:cxnLst>
                <a:cxn ang="0">
                  <a:pos x="5" y="2"/>
                </a:cxn>
                <a:cxn ang="0">
                  <a:pos x="30" y="2"/>
                </a:cxn>
                <a:cxn ang="0">
                  <a:pos x="19" y="9"/>
                </a:cxn>
                <a:cxn ang="0">
                  <a:pos x="5" y="8"/>
                </a:cxn>
                <a:cxn ang="0">
                  <a:pos x="5" y="2"/>
                </a:cxn>
              </a:cxnLst>
              <a:rect l="0" t="0" r="r" b="b"/>
              <a:pathLst>
                <a:path w="33" h="9">
                  <a:moveTo>
                    <a:pt x="5" y="2"/>
                  </a:moveTo>
                  <a:cubicBezTo>
                    <a:pt x="6" y="2"/>
                    <a:pt x="27" y="0"/>
                    <a:pt x="30" y="2"/>
                  </a:cubicBezTo>
                  <a:cubicBezTo>
                    <a:pt x="33" y="4"/>
                    <a:pt x="19" y="9"/>
                    <a:pt x="19" y="9"/>
                  </a:cubicBezTo>
                  <a:cubicBezTo>
                    <a:pt x="14" y="9"/>
                    <a:pt x="9" y="9"/>
                    <a:pt x="5" y="8"/>
                  </a:cubicBezTo>
                  <a:cubicBezTo>
                    <a:pt x="0" y="6"/>
                    <a:pt x="5" y="0"/>
                    <a:pt x="5" y="2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8" name="Freeform 4570">
              <a:extLst>
                <a:ext uri="{FF2B5EF4-FFF2-40B4-BE49-F238E27FC236}">
                  <a16:creationId xmlns:a16="http://schemas.microsoft.com/office/drawing/2014/main" xmlns="" id="{ABB26178-3060-4A78-B07E-B90A973D0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5511" y="4520502"/>
              <a:ext cx="32170" cy="1608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0" y="4"/>
                </a:cxn>
                <a:cxn ang="0">
                  <a:pos x="0" y="2"/>
                </a:cxn>
              </a:cxnLst>
              <a:rect l="0" t="0" r="r" b="b"/>
              <a:pathLst>
                <a:path w="20" h="10">
                  <a:moveTo>
                    <a:pt x="0" y="2"/>
                  </a:moveTo>
                  <a:cubicBezTo>
                    <a:pt x="6" y="0"/>
                    <a:pt x="14" y="2"/>
                    <a:pt x="20" y="4"/>
                  </a:cubicBezTo>
                  <a:cubicBezTo>
                    <a:pt x="20" y="4"/>
                    <a:pt x="0" y="10"/>
                    <a:pt x="0" y="2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9" name="Freeform 4571">
              <a:extLst>
                <a:ext uri="{FF2B5EF4-FFF2-40B4-BE49-F238E27FC236}">
                  <a16:creationId xmlns:a16="http://schemas.microsoft.com/office/drawing/2014/main" xmlns="" id="{DF903460-7278-4069-B10C-A1E69EBA8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571" y="4851855"/>
              <a:ext cx="54689" cy="46647"/>
            </a:xfrm>
            <a:custGeom>
              <a:avLst/>
              <a:gdLst/>
              <a:ahLst/>
              <a:cxnLst>
                <a:cxn ang="0">
                  <a:pos x="16" y="1"/>
                </a:cxn>
                <a:cxn ang="0">
                  <a:pos x="14" y="13"/>
                </a:cxn>
                <a:cxn ang="0">
                  <a:pos x="23" y="19"/>
                </a:cxn>
                <a:cxn ang="0">
                  <a:pos x="34" y="26"/>
                </a:cxn>
                <a:cxn ang="0">
                  <a:pos x="23" y="17"/>
                </a:cxn>
                <a:cxn ang="0">
                  <a:pos x="19" y="2"/>
                </a:cxn>
                <a:cxn ang="0">
                  <a:pos x="11" y="0"/>
                </a:cxn>
                <a:cxn ang="0">
                  <a:pos x="16" y="1"/>
                </a:cxn>
              </a:cxnLst>
              <a:rect l="0" t="0" r="r" b="b"/>
              <a:pathLst>
                <a:path w="34" h="29">
                  <a:moveTo>
                    <a:pt x="16" y="1"/>
                  </a:moveTo>
                  <a:cubicBezTo>
                    <a:pt x="2" y="3"/>
                    <a:pt x="0" y="8"/>
                    <a:pt x="14" y="13"/>
                  </a:cubicBezTo>
                  <a:cubicBezTo>
                    <a:pt x="17" y="16"/>
                    <a:pt x="20" y="17"/>
                    <a:pt x="23" y="19"/>
                  </a:cubicBezTo>
                  <a:cubicBezTo>
                    <a:pt x="26" y="28"/>
                    <a:pt x="25" y="29"/>
                    <a:pt x="34" y="26"/>
                  </a:cubicBezTo>
                  <a:cubicBezTo>
                    <a:pt x="33" y="22"/>
                    <a:pt x="27" y="21"/>
                    <a:pt x="23" y="17"/>
                  </a:cubicBezTo>
                  <a:cubicBezTo>
                    <a:pt x="22" y="14"/>
                    <a:pt x="21" y="4"/>
                    <a:pt x="19" y="2"/>
                  </a:cubicBezTo>
                  <a:cubicBezTo>
                    <a:pt x="17" y="0"/>
                    <a:pt x="11" y="0"/>
                    <a:pt x="11" y="0"/>
                  </a:cubicBezTo>
                  <a:cubicBezTo>
                    <a:pt x="11" y="0"/>
                    <a:pt x="14" y="1"/>
                    <a:pt x="16" y="1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0" name="Freeform 4572">
              <a:extLst>
                <a:ext uri="{FF2B5EF4-FFF2-40B4-BE49-F238E27FC236}">
                  <a16:creationId xmlns:a16="http://schemas.microsoft.com/office/drawing/2014/main" xmlns="" id="{4B4287B8-1391-4F9F-B575-A685928E8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124" y="4951583"/>
              <a:ext cx="25736" cy="36996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15" y="8"/>
                </a:cxn>
                <a:cxn ang="0">
                  <a:pos x="8" y="23"/>
                </a:cxn>
                <a:cxn ang="0">
                  <a:pos x="0" y="16"/>
                </a:cxn>
                <a:cxn ang="0">
                  <a:pos x="8" y="0"/>
                </a:cxn>
              </a:cxnLst>
              <a:rect l="0" t="0" r="r" b="b"/>
              <a:pathLst>
                <a:path w="16" h="23">
                  <a:moveTo>
                    <a:pt x="8" y="0"/>
                  </a:moveTo>
                  <a:cubicBezTo>
                    <a:pt x="11" y="3"/>
                    <a:pt x="14" y="4"/>
                    <a:pt x="15" y="8"/>
                  </a:cubicBezTo>
                  <a:cubicBezTo>
                    <a:pt x="14" y="19"/>
                    <a:pt x="16" y="20"/>
                    <a:pt x="8" y="23"/>
                  </a:cubicBezTo>
                  <a:cubicBezTo>
                    <a:pt x="2" y="22"/>
                    <a:pt x="5" y="19"/>
                    <a:pt x="0" y="16"/>
                  </a:cubicBezTo>
                  <a:cubicBezTo>
                    <a:pt x="1" y="13"/>
                    <a:pt x="8" y="0"/>
                    <a:pt x="8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1" name="Freeform 4573">
              <a:extLst>
                <a:ext uri="{FF2B5EF4-FFF2-40B4-BE49-F238E27FC236}">
                  <a16:creationId xmlns:a16="http://schemas.microsoft.com/office/drawing/2014/main" xmlns="" id="{7A7CD246-6C78-456F-8892-8A37B504E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8473" y="4986970"/>
              <a:ext cx="49864" cy="57906"/>
            </a:xfrm>
            <a:custGeom>
              <a:avLst/>
              <a:gdLst/>
              <a:ahLst/>
              <a:cxnLst>
                <a:cxn ang="0">
                  <a:pos x="16" y="6"/>
                </a:cxn>
                <a:cxn ang="0">
                  <a:pos x="24" y="13"/>
                </a:cxn>
                <a:cxn ang="0">
                  <a:pos x="27" y="24"/>
                </a:cxn>
                <a:cxn ang="0">
                  <a:pos x="24" y="36"/>
                </a:cxn>
                <a:cxn ang="0">
                  <a:pos x="14" y="34"/>
                </a:cxn>
                <a:cxn ang="0">
                  <a:pos x="8" y="36"/>
                </a:cxn>
                <a:cxn ang="0">
                  <a:pos x="0" y="28"/>
                </a:cxn>
                <a:cxn ang="0">
                  <a:pos x="11" y="19"/>
                </a:cxn>
                <a:cxn ang="0">
                  <a:pos x="12" y="2"/>
                </a:cxn>
                <a:cxn ang="0">
                  <a:pos x="16" y="6"/>
                </a:cxn>
              </a:cxnLst>
              <a:rect l="0" t="0" r="r" b="b"/>
              <a:pathLst>
                <a:path w="31" h="36">
                  <a:moveTo>
                    <a:pt x="16" y="6"/>
                  </a:moveTo>
                  <a:cubicBezTo>
                    <a:pt x="20" y="8"/>
                    <a:pt x="23" y="9"/>
                    <a:pt x="24" y="13"/>
                  </a:cubicBezTo>
                  <a:cubicBezTo>
                    <a:pt x="23" y="19"/>
                    <a:pt x="21" y="22"/>
                    <a:pt x="27" y="24"/>
                  </a:cubicBezTo>
                  <a:cubicBezTo>
                    <a:pt x="28" y="29"/>
                    <a:pt x="31" y="34"/>
                    <a:pt x="24" y="36"/>
                  </a:cubicBezTo>
                  <a:cubicBezTo>
                    <a:pt x="21" y="35"/>
                    <a:pt x="17" y="34"/>
                    <a:pt x="14" y="34"/>
                  </a:cubicBezTo>
                  <a:cubicBezTo>
                    <a:pt x="12" y="34"/>
                    <a:pt x="8" y="36"/>
                    <a:pt x="8" y="36"/>
                  </a:cubicBezTo>
                  <a:cubicBezTo>
                    <a:pt x="5" y="31"/>
                    <a:pt x="3" y="33"/>
                    <a:pt x="0" y="28"/>
                  </a:cubicBezTo>
                  <a:cubicBezTo>
                    <a:pt x="3" y="23"/>
                    <a:pt x="6" y="21"/>
                    <a:pt x="11" y="19"/>
                  </a:cubicBezTo>
                  <a:cubicBezTo>
                    <a:pt x="11" y="13"/>
                    <a:pt x="11" y="8"/>
                    <a:pt x="12" y="2"/>
                  </a:cubicBezTo>
                  <a:cubicBezTo>
                    <a:pt x="12" y="0"/>
                    <a:pt x="16" y="4"/>
                    <a:pt x="16" y="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2" name="Freeform 4574">
              <a:extLst>
                <a:ext uri="{FF2B5EF4-FFF2-40B4-BE49-F238E27FC236}">
                  <a16:creationId xmlns:a16="http://schemas.microsoft.com/office/drawing/2014/main" xmlns="" id="{3458B866-2BC5-47C3-B3DE-41C52FC13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2252" y="5056136"/>
              <a:ext cx="41821" cy="35387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26" y="15"/>
                </a:cxn>
                <a:cxn ang="0">
                  <a:pos x="18" y="22"/>
                </a:cxn>
                <a:cxn ang="0">
                  <a:pos x="13" y="21"/>
                </a:cxn>
                <a:cxn ang="0">
                  <a:pos x="11" y="18"/>
                </a:cxn>
                <a:cxn ang="0">
                  <a:pos x="2" y="15"/>
                </a:cxn>
                <a:cxn ang="0">
                  <a:pos x="5" y="5"/>
                </a:cxn>
                <a:cxn ang="0">
                  <a:pos x="5" y="4"/>
                </a:cxn>
              </a:cxnLst>
              <a:rect l="0" t="0" r="r" b="b"/>
              <a:pathLst>
                <a:path w="26" h="22">
                  <a:moveTo>
                    <a:pt x="5" y="4"/>
                  </a:moveTo>
                  <a:cubicBezTo>
                    <a:pt x="15" y="5"/>
                    <a:pt x="17" y="12"/>
                    <a:pt x="26" y="15"/>
                  </a:cubicBezTo>
                  <a:cubicBezTo>
                    <a:pt x="24" y="20"/>
                    <a:pt x="24" y="21"/>
                    <a:pt x="18" y="22"/>
                  </a:cubicBezTo>
                  <a:cubicBezTo>
                    <a:pt x="16" y="22"/>
                    <a:pt x="14" y="22"/>
                    <a:pt x="13" y="21"/>
                  </a:cubicBezTo>
                  <a:cubicBezTo>
                    <a:pt x="12" y="20"/>
                    <a:pt x="12" y="19"/>
                    <a:pt x="11" y="18"/>
                  </a:cubicBezTo>
                  <a:cubicBezTo>
                    <a:pt x="8" y="16"/>
                    <a:pt x="2" y="15"/>
                    <a:pt x="2" y="15"/>
                  </a:cubicBezTo>
                  <a:cubicBezTo>
                    <a:pt x="0" y="10"/>
                    <a:pt x="1" y="8"/>
                    <a:pt x="5" y="5"/>
                  </a:cubicBezTo>
                  <a:cubicBezTo>
                    <a:pt x="6" y="0"/>
                    <a:pt x="6" y="0"/>
                    <a:pt x="5" y="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3" name="Freeform 4575">
              <a:extLst>
                <a:ext uri="{FF2B5EF4-FFF2-40B4-BE49-F238E27FC236}">
                  <a16:creationId xmlns:a16="http://schemas.microsoft.com/office/drawing/2014/main" xmlns="" id="{4D002523-087F-4182-9DF9-702672854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030" y="4991796"/>
              <a:ext cx="255753" cy="233234"/>
            </a:xfrm>
            <a:custGeom>
              <a:avLst/>
              <a:gdLst/>
              <a:ahLst/>
              <a:cxnLst>
                <a:cxn ang="0">
                  <a:pos x="47" y="3"/>
                </a:cxn>
                <a:cxn ang="0">
                  <a:pos x="39" y="13"/>
                </a:cxn>
                <a:cxn ang="0">
                  <a:pos x="21" y="20"/>
                </a:cxn>
                <a:cxn ang="0">
                  <a:pos x="11" y="34"/>
                </a:cxn>
                <a:cxn ang="0">
                  <a:pos x="0" y="40"/>
                </a:cxn>
                <a:cxn ang="0">
                  <a:pos x="17" y="46"/>
                </a:cxn>
                <a:cxn ang="0">
                  <a:pos x="24" y="55"/>
                </a:cxn>
                <a:cxn ang="0">
                  <a:pos x="36" y="61"/>
                </a:cxn>
                <a:cxn ang="0">
                  <a:pos x="44" y="70"/>
                </a:cxn>
                <a:cxn ang="0">
                  <a:pos x="47" y="81"/>
                </a:cxn>
                <a:cxn ang="0">
                  <a:pos x="53" y="101"/>
                </a:cxn>
                <a:cxn ang="0">
                  <a:pos x="64" y="121"/>
                </a:cxn>
                <a:cxn ang="0">
                  <a:pos x="68" y="109"/>
                </a:cxn>
                <a:cxn ang="0">
                  <a:pos x="74" y="98"/>
                </a:cxn>
                <a:cxn ang="0">
                  <a:pos x="82" y="106"/>
                </a:cxn>
                <a:cxn ang="0">
                  <a:pos x="98" y="116"/>
                </a:cxn>
                <a:cxn ang="0">
                  <a:pos x="108" y="145"/>
                </a:cxn>
                <a:cxn ang="0">
                  <a:pos x="117" y="106"/>
                </a:cxn>
                <a:cxn ang="0">
                  <a:pos x="131" y="121"/>
                </a:cxn>
                <a:cxn ang="0">
                  <a:pos x="147" y="129"/>
                </a:cxn>
                <a:cxn ang="0">
                  <a:pos x="150" y="123"/>
                </a:cxn>
                <a:cxn ang="0">
                  <a:pos x="137" y="113"/>
                </a:cxn>
                <a:cxn ang="0">
                  <a:pos x="140" y="106"/>
                </a:cxn>
                <a:cxn ang="0">
                  <a:pos x="138" y="99"/>
                </a:cxn>
                <a:cxn ang="0">
                  <a:pos x="129" y="89"/>
                </a:cxn>
                <a:cxn ang="0">
                  <a:pos x="120" y="77"/>
                </a:cxn>
                <a:cxn ang="0">
                  <a:pos x="111" y="61"/>
                </a:cxn>
                <a:cxn ang="0">
                  <a:pos x="108" y="52"/>
                </a:cxn>
                <a:cxn ang="0">
                  <a:pos x="111" y="47"/>
                </a:cxn>
                <a:cxn ang="0">
                  <a:pos x="130" y="55"/>
                </a:cxn>
                <a:cxn ang="0">
                  <a:pos x="137" y="70"/>
                </a:cxn>
                <a:cxn ang="0">
                  <a:pos x="153" y="53"/>
                </a:cxn>
                <a:cxn ang="0">
                  <a:pos x="136" y="43"/>
                </a:cxn>
                <a:cxn ang="0">
                  <a:pos x="118" y="22"/>
                </a:cxn>
                <a:cxn ang="0">
                  <a:pos x="111" y="17"/>
                </a:cxn>
                <a:cxn ang="0">
                  <a:pos x="105" y="21"/>
                </a:cxn>
                <a:cxn ang="0">
                  <a:pos x="99" y="13"/>
                </a:cxn>
                <a:cxn ang="0">
                  <a:pos x="90" y="9"/>
                </a:cxn>
                <a:cxn ang="0">
                  <a:pos x="81" y="13"/>
                </a:cxn>
                <a:cxn ang="0">
                  <a:pos x="59" y="7"/>
                </a:cxn>
                <a:cxn ang="0">
                  <a:pos x="47" y="4"/>
                </a:cxn>
                <a:cxn ang="0">
                  <a:pos x="39" y="9"/>
                </a:cxn>
              </a:cxnLst>
              <a:rect l="0" t="0" r="r" b="b"/>
              <a:pathLst>
                <a:path w="159" h="145">
                  <a:moveTo>
                    <a:pt x="47" y="3"/>
                  </a:moveTo>
                  <a:cubicBezTo>
                    <a:pt x="41" y="5"/>
                    <a:pt x="42" y="10"/>
                    <a:pt x="39" y="13"/>
                  </a:cubicBezTo>
                  <a:cubicBezTo>
                    <a:pt x="34" y="18"/>
                    <a:pt x="28" y="18"/>
                    <a:pt x="21" y="20"/>
                  </a:cubicBezTo>
                  <a:cubicBezTo>
                    <a:pt x="20" y="27"/>
                    <a:pt x="18" y="32"/>
                    <a:pt x="11" y="34"/>
                  </a:cubicBezTo>
                  <a:cubicBezTo>
                    <a:pt x="7" y="38"/>
                    <a:pt x="5" y="38"/>
                    <a:pt x="0" y="40"/>
                  </a:cubicBezTo>
                  <a:cubicBezTo>
                    <a:pt x="5" y="47"/>
                    <a:pt x="7" y="45"/>
                    <a:pt x="17" y="46"/>
                  </a:cubicBezTo>
                  <a:cubicBezTo>
                    <a:pt x="18" y="50"/>
                    <a:pt x="24" y="55"/>
                    <a:pt x="24" y="55"/>
                  </a:cubicBezTo>
                  <a:cubicBezTo>
                    <a:pt x="27" y="60"/>
                    <a:pt x="30" y="59"/>
                    <a:pt x="36" y="61"/>
                  </a:cubicBezTo>
                  <a:cubicBezTo>
                    <a:pt x="40" y="63"/>
                    <a:pt x="42" y="66"/>
                    <a:pt x="44" y="70"/>
                  </a:cubicBezTo>
                  <a:cubicBezTo>
                    <a:pt x="45" y="74"/>
                    <a:pt x="46" y="77"/>
                    <a:pt x="47" y="81"/>
                  </a:cubicBezTo>
                  <a:cubicBezTo>
                    <a:pt x="46" y="93"/>
                    <a:pt x="42" y="97"/>
                    <a:pt x="53" y="101"/>
                  </a:cubicBezTo>
                  <a:cubicBezTo>
                    <a:pt x="54" y="110"/>
                    <a:pt x="55" y="118"/>
                    <a:pt x="64" y="121"/>
                  </a:cubicBezTo>
                  <a:cubicBezTo>
                    <a:pt x="72" y="118"/>
                    <a:pt x="73" y="116"/>
                    <a:pt x="68" y="109"/>
                  </a:cubicBezTo>
                  <a:cubicBezTo>
                    <a:pt x="69" y="102"/>
                    <a:pt x="68" y="101"/>
                    <a:pt x="74" y="98"/>
                  </a:cubicBezTo>
                  <a:cubicBezTo>
                    <a:pt x="79" y="90"/>
                    <a:pt x="81" y="102"/>
                    <a:pt x="82" y="106"/>
                  </a:cubicBezTo>
                  <a:cubicBezTo>
                    <a:pt x="94" y="103"/>
                    <a:pt x="96" y="104"/>
                    <a:pt x="98" y="116"/>
                  </a:cubicBezTo>
                  <a:cubicBezTo>
                    <a:pt x="95" y="125"/>
                    <a:pt x="100" y="139"/>
                    <a:pt x="108" y="145"/>
                  </a:cubicBezTo>
                  <a:cubicBezTo>
                    <a:pt x="108" y="136"/>
                    <a:pt x="102" y="109"/>
                    <a:pt x="117" y="106"/>
                  </a:cubicBezTo>
                  <a:cubicBezTo>
                    <a:pt x="125" y="100"/>
                    <a:pt x="127" y="117"/>
                    <a:pt x="131" y="121"/>
                  </a:cubicBezTo>
                  <a:cubicBezTo>
                    <a:pt x="136" y="126"/>
                    <a:pt x="141" y="127"/>
                    <a:pt x="147" y="129"/>
                  </a:cubicBezTo>
                  <a:cubicBezTo>
                    <a:pt x="153" y="128"/>
                    <a:pt x="158" y="126"/>
                    <a:pt x="150" y="123"/>
                  </a:cubicBezTo>
                  <a:cubicBezTo>
                    <a:pt x="146" y="118"/>
                    <a:pt x="142" y="116"/>
                    <a:pt x="137" y="113"/>
                  </a:cubicBezTo>
                  <a:cubicBezTo>
                    <a:pt x="134" y="108"/>
                    <a:pt x="135" y="107"/>
                    <a:pt x="140" y="106"/>
                  </a:cubicBezTo>
                  <a:cubicBezTo>
                    <a:pt x="143" y="102"/>
                    <a:pt x="143" y="101"/>
                    <a:pt x="138" y="99"/>
                  </a:cubicBezTo>
                  <a:cubicBezTo>
                    <a:pt x="136" y="94"/>
                    <a:pt x="132" y="93"/>
                    <a:pt x="129" y="89"/>
                  </a:cubicBezTo>
                  <a:cubicBezTo>
                    <a:pt x="127" y="83"/>
                    <a:pt x="125" y="80"/>
                    <a:pt x="120" y="77"/>
                  </a:cubicBezTo>
                  <a:cubicBezTo>
                    <a:pt x="118" y="70"/>
                    <a:pt x="114" y="67"/>
                    <a:pt x="111" y="61"/>
                  </a:cubicBezTo>
                  <a:cubicBezTo>
                    <a:pt x="110" y="58"/>
                    <a:pt x="108" y="52"/>
                    <a:pt x="108" y="52"/>
                  </a:cubicBezTo>
                  <a:cubicBezTo>
                    <a:pt x="109" y="50"/>
                    <a:pt x="109" y="48"/>
                    <a:pt x="111" y="47"/>
                  </a:cubicBezTo>
                  <a:cubicBezTo>
                    <a:pt x="112" y="47"/>
                    <a:pt x="125" y="53"/>
                    <a:pt x="130" y="55"/>
                  </a:cubicBezTo>
                  <a:cubicBezTo>
                    <a:pt x="132" y="60"/>
                    <a:pt x="132" y="67"/>
                    <a:pt x="137" y="70"/>
                  </a:cubicBezTo>
                  <a:cubicBezTo>
                    <a:pt x="139" y="54"/>
                    <a:pt x="143" y="60"/>
                    <a:pt x="153" y="53"/>
                  </a:cubicBezTo>
                  <a:cubicBezTo>
                    <a:pt x="159" y="44"/>
                    <a:pt x="140" y="43"/>
                    <a:pt x="136" y="43"/>
                  </a:cubicBezTo>
                  <a:cubicBezTo>
                    <a:pt x="123" y="36"/>
                    <a:pt x="134" y="24"/>
                    <a:pt x="118" y="22"/>
                  </a:cubicBezTo>
                  <a:cubicBezTo>
                    <a:pt x="116" y="20"/>
                    <a:pt x="114" y="16"/>
                    <a:pt x="111" y="17"/>
                  </a:cubicBezTo>
                  <a:cubicBezTo>
                    <a:pt x="109" y="18"/>
                    <a:pt x="105" y="21"/>
                    <a:pt x="105" y="21"/>
                  </a:cubicBezTo>
                  <a:cubicBezTo>
                    <a:pt x="101" y="18"/>
                    <a:pt x="102" y="16"/>
                    <a:pt x="99" y="13"/>
                  </a:cubicBezTo>
                  <a:cubicBezTo>
                    <a:pt x="97" y="11"/>
                    <a:pt x="90" y="9"/>
                    <a:pt x="90" y="9"/>
                  </a:cubicBezTo>
                  <a:cubicBezTo>
                    <a:pt x="83" y="11"/>
                    <a:pt x="86" y="10"/>
                    <a:pt x="81" y="13"/>
                  </a:cubicBezTo>
                  <a:cubicBezTo>
                    <a:pt x="75" y="11"/>
                    <a:pt x="65" y="11"/>
                    <a:pt x="59" y="7"/>
                  </a:cubicBezTo>
                  <a:cubicBezTo>
                    <a:pt x="57" y="0"/>
                    <a:pt x="52" y="2"/>
                    <a:pt x="47" y="4"/>
                  </a:cubicBezTo>
                  <a:cubicBezTo>
                    <a:pt x="45" y="7"/>
                    <a:pt x="39" y="9"/>
                    <a:pt x="39" y="9"/>
                  </a:cubicBez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4" name="Freeform 4576">
              <a:extLst>
                <a:ext uri="{FF2B5EF4-FFF2-40B4-BE49-F238E27FC236}">
                  <a16:creationId xmlns:a16="http://schemas.microsoft.com/office/drawing/2014/main" xmlns="" id="{C7E739BE-0390-4ADB-BACB-B2594103D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6533" y="4887243"/>
              <a:ext cx="127072" cy="82034"/>
            </a:xfrm>
            <a:custGeom>
              <a:avLst/>
              <a:gdLst/>
              <a:ahLst/>
              <a:cxnLst>
                <a:cxn ang="0">
                  <a:pos x="12" y="3"/>
                </a:cxn>
                <a:cxn ang="0">
                  <a:pos x="28" y="10"/>
                </a:cxn>
                <a:cxn ang="0">
                  <a:pos x="49" y="21"/>
                </a:cxn>
                <a:cxn ang="0">
                  <a:pos x="64" y="19"/>
                </a:cxn>
                <a:cxn ang="0">
                  <a:pos x="76" y="33"/>
                </a:cxn>
                <a:cxn ang="0">
                  <a:pos x="79" y="44"/>
                </a:cxn>
                <a:cxn ang="0">
                  <a:pos x="74" y="51"/>
                </a:cxn>
                <a:cxn ang="0">
                  <a:pos x="68" y="49"/>
                </a:cxn>
                <a:cxn ang="0">
                  <a:pos x="54" y="44"/>
                </a:cxn>
                <a:cxn ang="0">
                  <a:pos x="43" y="36"/>
                </a:cxn>
                <a:cxn ang="0">
                  <a:pos x="31" y="30"/>
                </a:cxn>
                <a:cxn ang="0">
                  <a:pos x="14" y="24"/>
                </a:cxn>
                <a:cxn ang="0">
                  <a:pos x="5" y="19"/>
                </a:cxn>
                <a:cxn ang="0">
                  <a:pos x="0" y="10"/>
                </a:cxn>
                <a:cxn ang="0">
                  <a:pos x="10" y="0"/>
                </a:cxn>
                <a:cxn ang="0">
                  <a:pos x="12" y="3"/>
                </a:cxn>
              </a:cxnLst>
              <a:rect l="0" t="0" r="r" b="b"/>
              <a:pathLst>
                <a:path w="79" h="51">
                  <a:moveTo>
                    <a:pt x="12" y="3"/>
                  </a:moveTo>
                  <a:cubicBezTo>
                    <a:pt x="25" y="4"/>
                    <a:pt x="21" y="3"/>
                    <a:pt x="28" y="10"/>
                  </a:cubicBezTo>
                  <a:cubicBezTo>
                    <a:pt x="30" y="20"/>
                    <a:pt x="40" y="20"/>
                    <a:pt x="49" y="21"/>
                  </a:cubicBezTo>
                  <a:cubicBezTo>
                    <a:pt x="54" y="22"/>
                    <a:pt x="64" y="19"/>
                    <a:pt x="64" y="19"/>
                  </a:cubicBezTo>
                  <a:cubicBezTo>
                    <a:pt x="72" y="21"/>
                    <a:pt x="71" y="28"/>
                    <a:pt x="76" y="33"/>
                  </a:cubicBezTo>
                  <a:cubicBezTo>
                    <a:pt x="77" y="37"/>
                    <a:pt x="79" y="44"/>
                    <a:pt x="79" y="44"/>
                  </a:cubicBezTo>
                  <a:cubicBezTo>
                    <a:pt x="78" y="47"/>
                    <a:pt x="79" y="51"/>
                    <a:pt x="74" y="51"/>
                  </a:cubicBezTo>
                  <a:cubicBezTo>
                    <a:pt x="72" y="51"/>
                    <a:pt x="68" y="49"/>
                    <a:pt x="68" y="49"/>
                  </a:cubicBezTo>
                  <a:cubicBezTo>
                    <a:pt x="66" y="43"/>
                    <a:pt x="60" y="45"/>
                    <a:pt x="54" y="44"/>
                  </a:cubicBezTo>
                  <a:cubicBezTo>
                    <a:pt x="49" y="42"/>
                    <a:pt x="49" y="38"/>
                    <a:pt x="43" y="36"/>
                  </a:cubicBezTo>
                  <a:cubicBezTo>
                    <a:pt x="40" y="33"/>
                    <a:pt x="31" y="30"/>
                    <a:pt x="31" y="30"/>
                  </a:cubicBezTo>
                  <a:cubicBezTo>
                    <a:pt x="26" y="25"/>
                    <a:pt x="21" y="25"/>
                    <a:pt x="14" y="24"/>
                  </a:cubicBezTo>
                  <a:cubicBezTo>
                    <a:pt x="11" y="22"/>
                    <a:pt x="8" y="21"/>
                    <a:pt x="5" y="19"/>
                  </a:cubicBezTo>
                  <a:cubicBezTo>
                    <a:pt x="4" y="14"/>
                    <a:pt x="1" y="14"/>
                    <a:pt x="0" y="10"/>
                  </a:cubicBezTo>
                  <a:cubicBezTo>
                    <a:pt x="4" y="4"/>
                    <a:pt x="4" y="2"/>
                    <a:pt x="10" y="0"/>
                  </a:cubicBezTo>
                  <a:cubicBezTo>
                    <a:pt x="17" y="1"/>
                    <a:pt x="18" y="0"/>
                    <a:pt x="12" y="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5" name="Freeform 4577">
              <a:extLst>
                <a:ext uri="{FF2B5EF4-FFF2-40B4-BE49-F238E27FC236}">
                  <a16:creationId xmlns:a16="http://schemas.microsoft.com/office/drawing/2014/main" xmlns="" id="{7F2F5693-FC70-446B-AE40-F11715D75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1571" y="5207337"/>
              <a:ext cx="24128" cy="38604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4" y="8"/>
                </a:cxn>
                <a:cxn ang="0">
                  <a:pos x="10" y="18"/>
                </a:cxn>
                <a:cxn ang="0">
                  <a:pos x="6" y="24"/>
                </a:cxn>
                <a:cxn ang="0">
                  <a:pos x="0" y="12"/>
                </a:cxn>
                <a:cxn ang="0">
                  <a:pos x="3" y="0"/>
                </a:cxn>
              </a:cxnLst>
              <a:rect l="0" t="0" r="r" b="b"/>
              <a:pathLst>
                <a:path w="15" h="24">
                  <a:moveTo>
                    <a:pt x="3" y="0"/>
                  </a:moveTo>
                  <a:cubicBezTo>
                    <a:pt x="11" y="1"/>
                    <a:pt x="13" y="0"/>
                    <a:pt x="14" y="8"/>
                  </a:cubicBezTo>
                  <a:cubicBezTo>
                    <a:pt x="12" y="19"/>
                    <a:pt x="15" y="12"/>
                    <a:pt x="10" y="18"/>
                  </a:cubicBezTo>
                  <a:cubicBezTo>
                    <a:pt x="9" y="20"/>
                    <a:pt x="6" y="24"/>
                    <a:pt x="6" y="24"/>
                  </a:cubicBezTo>
                  <a:cubicBezTo>
                    <a:pt x="3" y="21"/>
                    <a:pt x="0" y="12"/>
                    <a:pt x="0" y="12"/>
                  </a:cubicBezTo>
                  <a:cubicBezTo>
                    <a:pt x="1" y="8"/>
                    <a:pt x="2" y="4"/>
                    <a:pt x="3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6" name="Freeform 4578">
              <a:extLst>
                <a:ext uri="{FF2B5EF4-FFF2-40B4-BE49-F238E27FC236}">
                  <a16:creationId xmlns:a16="http://schemas.microsoft.com/office/drawing/2014/main" xmlns="" id="{92B60CAE-9F4A-46EA-B602-20156CF22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5001" y="4657225"/>
              <a:ext cx="30562" cy="2734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6" y="3"/>
                </a:cxn>
                <a:cxn ang="0">
                  <a:pos x="1" y="9"/>
                </a:cxn>
                <a:cxn ang="0">
                  <a:pos x="12" y="17"/>
                </a:cxn>
                <a:cxn ang="0">
                  <a:pos x="17" y="15"/>
                </a:cxn>
                <a:cxn ang="0">
                  <a:pos x="19" y="9"/>
                </a:cxn>
                <a:cxn ang="0">
                  <a:pos x="16" y="0"/>
                </a:cxn>
              </a:cxnLst>
              <a:rect l="0" t="0" r="r" b="b"/>
              <a:pathLst>
                <a:path w="19" h="17">
                  <a:moveTo>
                    <a:pt x="16" y="0"/>
                  </a:moveTo>
                  <a:cubicBezTo>
                    <a:pt x="13" y="1"/>
                    <a:pt x="9" y="2"/>
                    <a:pt x="6" y="3"/>
                  </a:cubicBezTo>
                  <a:cubicBezTo>
                    <a:pt x="5" y="5"/>
                    <a:pt x="2" y="6"/>
                    <a:pt x="1" y="9"/>
                  </a:cubicBezTo>
                  <a:cubicBezTo>
                    <a:pt x="0" y="13"/>
                    <a:pt x="9" y="15"/>
                    <a:pt x="12" y="17"/>
                  </a:cubicBezTo>
                  <a:cubicBezTo>
                    <a:pt x="14" y="16"/>
                    <a:pt x="16" y="16"/>
                    <a:pt x="17" y="15"/>
                  </a:cubicBezTo>
                  <a:cubicBezTo>
                    <a:pt x="18" y="13"/>
                    <a:pt x="19" y="9"/>
                    <a:pt x="19" y="9"/>
                  </a:cubicBezTo>
                  <a:cubicBezTo>
                    <a:pt x="19" y="7"/>
                    <a:pt x="16" y="0"/>
                    <a:pt x="16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7" name="Freeform 4579">
              <a:extLst>
                <a:ext uri="{FF2B5EF4-FFF2-40B4-BE49-F238E27FC236}">
                  <a16:creationId xmlns:a16="http://schemas.microsoft.com/office/drawing/2014/main" xmlns="" id="{70101E11-790B-4ABB-AE13-9152F607A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5077" y="4666876"/>
              <a:ext cx="27345" cy="20911"/>
            </a:xfrm>
            <a:custGeom>
              <a:avLst/>
              <a:gdLst/>
              <a:ahLst/>
              <a:cxnLst>
                <a:cxn ang="0">
                  <a:pos x="15" y="3"/>
                </a:cxn>
                <a:cxn ang="0">
                  <a:pos x="11" y="13"/>
                </a:cxn>
                <a:cxn ang="0">
                  <a:pos x="15" y="3"/>
                </a:cxn>
              </a:cxnLst>
              <a:rect l="0" t="0" r="r" b="b"/>
              <a:pathLst>
                <a:path w="17" h="13">
                  <a:moveTo>
                    <a:pt x="15" y="3"/>
                  </a:moveTo>
                  <a:cubicBezTo>
                    <a:pt x="3" y="0"/>
                    <a:pt x="0" y="9"/>
                    <a:pt x="11" y="13"/>
                  </a:cubicBezTo>
                  <a:cubicBezTo>
                    <a:pt x="17" y="11"/>
                    <a:pt x="15" y="8"/>
                    <a:pt x="15" y="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8" name="Freeform 4580">
              <a:extLst>
                <a:ext uri="{FF2B5EF4-FFF2-40B4-BE49-F238E27FC236}">
                  <a16:creationId xmlns:a16="http://schemas.microsoft.com/office/drawing/2014/main" xmlns="" id="{015544FE-6C6F-4598-B2F5-4433CAAE7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7248" y="4692613"/>
              <a:ext cx="25736" cy="27345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3" y="8"/>
                </a:cxn>
                <a:cxn ang="0">
                  <a:pos x="2" y="17"/>
                </a:cxn>
                <a:cxn ang="0">
                  <a:pos x="12" y="13"/>
                </a:cxn>
                <a:cxn ang="0">
                  <a:pos x="13" y="3"/>
                </a:cxn>
              </a:cxnLst>
              <a:rect l="0" t="0" r="r" b="b"/>
              <a:pathLst>
                <a:path w="16" h="17">
                  <a:moveTo>
                    <a:pt x="13" y="3"/>
                  </a:moveTo>
                  <a:cubicBezTo>
                    <a:pt x="10" y="5"/>
                    <a:pt x="7" y="7"/>
                    <a:pt x="3" y="8"/>
                  </a:cubicBezTo>
                  <a:cubicBezTo>
                    <a:pt x="1" y="15"/>
                    <a:pt x="0" y="12"/>
                    <a:pt x="2" y="17"/>
                  </a:cubicBezTo>
                  <a:cubicBezTo>
                    <a:pt x="6" y="16"/>
                    <a:pt x="8" y="14"/>
                    <a:pt x="12" y="13"/>
                  </a:cubicBezTo>
                  <a:cubicBezTo>
                    <a:pt x="13" y="11"/>
                    <a:pt x="16" y="0"/>
                    <a:pt x="13" y="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9" name="Freeform 4581">
              <a:extLst>
                <a:ext uri="{FF2B5EF4-FFF2-40B4-BE49-F238E27FC236}">
                  <a16:creationId xmlns:a16="http://schemas.microsoft.com/office/drawing/2014/main" xmlns="" id="{6C0290EA-A15A-4F67-B291-926A63D8E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299" y="4734434"/>
              <a:ext cx="48255" cy="38604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25" y="9"/>
                </a:cxn>
                <a:cxn ang="0">
                  <a:pos x="16" y="6"/>
                </a:cxn>
                <a:cxn ang="0">
                  <a:pos x="10" y="13"/>
                </a:cxn>
                <a:cxn ang="0">
                  <a:pos x="28" y="19"/>
                </a:cxn>
                <a:cxn ang="0">
                  <a:pos x="29" y="0"/>
                </a:cxn>
              </a:cxnLst>
              <a:rect l="0" t="0" r="r" b="b"/>
              <a:pathLst>
                <a:path w="30" h="24">
                  <a:moveTo>
                    <a:pt x="29" y="0"/>
                  </a:moveTo>
                  <a:cubicBezTo>
                    <a:pt x="28" y="3"/>
                    <a:pt x="26" y="6"/>
                    <a:pt x="25" y="9"/>
                  </a:cubicBezTo>
                  <a:cubicBezTo>
                    <a:pt x="22" y="8"/>
                    <a:pt x="16" y="6"/>
                    <a:pt x="16" y="6"/>
                  </a:cubicBezTo>
                  <a:cubicBezTo>
                    <a:pt x="10" y="7"/>
                    <a:pt x="0" y="8"/>
                    <a:pt x="10" y="13"/>
                  </a:cubicBezTo>
                  <a:cubicBezTo>
                    <a:pt x="12" y="24"/>
                    <a:pt x="16" y="20"/>
                    <a:pt x="28" y="19"/>
                  </a:cubicBezTo>
                  <a:cubicBezTo>
                    <a:pt x="30" y="12"/>
                    <a:pt x="30" y="7"/>
                    <a:pt x="2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0" name="Freeform 4582">
              <a:extLst>
                <a:ext uri="{FF2B5EF4-FFF2-40B4-BE49-F238E27FC236}">
                  <a16:creationId xmlns:a16="http://schemas.microsoft.com/office/drawing/2014/main" xmlns="" id="{B442F4D5-E9C7-40E7-B4EA-2282BAF67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0388" y="4967668"/>
              <a:ext cx="54689" cy="3538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7" y="0"/>
                </a:cxn>
                <a:cxn ang="0">
                  <a:pos x="26" y="14"/>
                </a:cxn>
                <a:cxn ang="0">
                  <a:pos x="9" y="19"/>
                </a:cxn>
                <a:cxn ang="0">
                  <a:pos x="2" y="7"/>
                </a:cxn>
                <a:cxn ang="0">
                  <a:pos x="6" y="0"/>
                </a:cxn>
              </a:cxnLst>
              <a:rect l="0" t="0" r="r" b="b"/>
              <a:pathLst>
                <a:path w="34" h="22">
                  <a:moveTo>
                    <a:pt x="6" y="0"/>
                  </a:moveTo>
                  <a:cubicBezTo>
                    <a:pt x="14" y="2"/>
                    <a:pt x="19" y="2"/>
                    <a:pt x="27" y="0"/>
                  </a:cubicBezTo>
                  <a:cubicBezTo>
                    <a:pt x="34" y="2"/>
                    <a:pt x="30" y="10"/>
                    <a:pt x="26" y="14"/>
                  </a:cubicBezTo>
                  <a:cubicBezTo>
                    <a:pt x="23" y="22"/>
                    <a:pt x="16" y="20"/>
                    <a:pt x="9" y="19"/>
                  </a:cubicBezTo>
                  <a:cubicBezTo>
                    <a:pt x="6" y="15"/>
                    <a:pt x="6" y="11"/>
                    <a:pt x="2" y="7"/>
                  </a:cubicBezTo>
                  <a:cubicBezTo>
                    <a:pt x="0" y="2"/>
                    <a:pt x="0" y="5"/>
                    <a:pt x="6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1" name="Freeform 4583">
              <a:extLst>
                <a:ext uri="{FF2B5EF4-FFF2-40B4-BE49-F238E27FC236}">
                  <a16:creationId xmlns:a16="http://schemas.microsoft.com/office/drawing/2014/main" xmlns="" id="{D50A3F16-0965-4DB4-8441-3E008038A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3818" y="4988579"/>
              <a:ext cx="40213" cy="2895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0" y="1"/>
                </a:cxn>
                <a:cxn ang="0">
                  <a:pos x="24" y="10"/>
                </a:cxn>
                <a:cxn ang="0">
                  <a:pos x="23" y="17"/>
                </a:cxn>
                <a:cxn ang="0">
                  <a:pos x="20" y="13"/>
                </a:cxn>
                <a:cxn ang="0">
                  <a:pos x="11" y="9"/>
                </a:cxn>
                <a:cxn ang="0">
                  <a:pos x="9" y="0"/>
                </a:cxn>
              </a:cxnLst>
              <a:rect l="0" t="0" r="r" b="b"/>
              <a:pathLst>
                <a:path w="25" h="18">
                  <a:moveTo>
                    <a:pt x="9" y="0"/>
                  </a:moveTo>
                  <a:cubicBezTo>
                    <a:pt x="13" y="0"/>
                    <a:pt x="16" y="0"/>
                    <a:pt x="20" y="1"/>
                  </a:cubicBezTo>
                  <a:cubicBezTo>
                    <a:pt x="23" y="2"/>
                    <a:pt x="24" y="10"/>
                    <a:pt x="24" y="10"/>
                  </a:cubicBezTo>
                  <a:cubicBezTo>
                    <a:pt x="24" y="12"/>
                    <a:pt x="25" y="16"/>
                    <a:pt x="23" y="17"/>
                  </a:cubicBezTo>
                  <a:cubicBezTo>
                    <a:pt x="22" y="18"/>
                    <a:pt x="21" y="14"/>
                    <a:pt x="20" y="13"/>
                  </a:cubicBezTo>
                  <a:cubicBezTo>
                    <a:pt x="18" y="11"/>
                    <a:pt x="11" y="9"/>
                    <a:pt x="11" y="9"/>
                  </a:cubicBezTo>
                  <a:cubicBezTo>
                    <a:pt x="8" y="5"/>
                    <a:pt x="0" y="2"/>
                    <a:pt x="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2" name="Freeform 4584">
              <a:extLst>
                <a:ext uri="{FF2B5EF4-FFF2-40B4-BE49-F238E27FC236}">
                  <a16:creationId xmlns:a16="http://schemas.microsoft.com/office/drawing/2014/main" xmlns="" id="{87E49BAE-2063-4B13-A10D-029DB8E6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895" y="5064179"/>
              <a:ext cx="25736" cy="3538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6" y="11"/>
                </a:cxn>
                <a:cxn ang="0">
                  <a:pos x="7" y="22"/>
                </a:cxn>
                <a:cxn ang="0">
                  <a:pos x="7" y="5"/>
                </a:cxn>
                <a:cxn ang="0">
                  <a:pos x="6" y="0"/>
                </a:cxn>
              </a:cxnLst>
              <a:rect l="0" t="0" r="r" b="b"/>
              <a:pathLst>
                <a:path w="16" h="22">
                  <a:moveTo>
                    <a:pt x="6" y="0"/>
                  </a:moveTo>
                  <a:cubicBezTo>
                    <a:pt x="13" y="2"/>
                    <a:pt x="14" y="4"/>
                    <a:pt x="16" y="11"/>
                  </a:cubicBezTo>
                  <a:cubicBezTo>
                    <a:pt x="14" y="19"/>
                    <a:pt x="13" y="18"/>
                    <a:pt x="7" y="22"/>
                  </a:cubicBezTo>
                  <a:cubicBezTo>
                    <a:pt x="5" y="15"/>
                    <a:pt x="0" y="12"/>
                    <a:pt x="7" y="5"/>
                  </a:cubicBezTo>
                  <a:cubicBezTo>
                    <a:pt x="8" y="1"/>
                    <a:pt x="9" y="3"/>
                    <a:pt x="6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3" name="Freeform 4585">
              <a:extLst>
                <a:ext uri="{FF2B5EF4-FFF2-40B4-BE49-F238E27FC236}">
                  <a16:creationId xmlns:a16="http://schemas.microsoft.com/office/drawing/2014/main" xmlns="" id="{501FC1D2-B97E-4B92-BE84-DB8B1C094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5852" y="4787515"/>
              <a:ext cx="72383" cy="54689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35" y="10"/>
                </a:cxn>
                <a:cxn ang="0">
                  <a:pos x="41" y="14"/>
                </a:cxn>
                <a:cxn ang="0">
                  <a:pos x="45" y="23"/>
                </a:cxn>
                <a:cxn ang="0">
                  <a:pos x="32" y="33"/>
                </a:cxn>
                <a:cxn ang="0">
                  <a:pos x="23" y="32"/>
                </a:cxn>
                <a:cxn ang="0">
                  <a:pos x="29" y="17"/>
                </a:cxn>
                <a:cxn ang="0">
                  <a:pos x="19" y="12"/>
                </a:cxn>
                <a:cxn ang="0">
                  <a:pos x="8" y="28"/>
                </a:cxn>
                <a:cxn ang="0">
                  <a:pos x="0" y="18"/>
                </a:cxn>
                <a:cxn ang="0">
                  <a:pos x="11" y="11"/>
                </a:cxn>
                <a:cxn ang="0">
                  <a:pos x="17" y="8"/>
                </a:cxn>
                <a:cxn ang="0">
                  <a:pos x="26" y="0"/>
                </a:cxn>
              </a:cxnLst>
              <a:rect l="0" t="0" r="r" b="b"/>
              <a:pathLst>
                <a:path w="45" h="34">
                  <a:moveTo>
                    <a:pt x="26" y="0"/>
                  </a:moveTo>
                  <a:cubicBezTo>
                    <a:pt x="27" y="4"/>
                    <a:pt x="31" y="8"/>
                    <a:pt x="35" y="10"/>
                  </a:cubicBezTo>
                  <a:cubicBezTo>
                    <a:pt x="37" y="11"/>
                    <a:pt x="41" y="14"/>
                    <a:pt x="41" y="14"/>
                  </a:cubicBezTo>
                  <a:cubicBezTo>
                    <a:pt x="43" y="17"/>
                    <a:pt x="45" y="23"/>
                    <a:pt x="45" y="23"/>
                  </a:cubicBezTo>
                  <a:cubicBezTo>
                    <a:pt x="43" y="29"/>
                    <a:pt x="37" y="31"/>
                    <a:pt x="32" y="33"/>
                  </a:cubicBezTo>
                  <a:cubicBezTo>
                    <a:pt x="29" y="33"/>
                    <a:pt x="25" y="34"/>
                    <a:pt x="23" y="32"/>
                  </a:cubicBezTo>
                  <a:cubicBezTo>
                    <a:pt x="19" y="28"/>
                    <a:pt x="29" y="17"/>
                    <a:pt x="29" y="17"/>
                  </a:cubicBezTo>
                  <a:cubicBezTo>
                    <a:pt x="26" y="10"/>
                    <a:pt x="26" y="11"/>
                    <a:pt x="19" y="12"/>
                  </a:cubicBezTo>
                  <a:cubicBezTo>
                    <a:pt x="17" y="19"/>
                    <a:pt x="16" y="26"/>
                    <a:pt x="8" y="28"/>
                  </a:cubicBezTo>
                  <a:cubicBezTo>
                    <a:pt x="4" y="27"/>
                    <a:pt x="0" y="18"/>
                    <a:pt x="0" y="18"/>
                  </a:cubicBezTo>
                  <a:cubicBezTo>
                    <a:pt x="2" y="12"/>
                    <a:pt x="5" y="12"/>
                    <a:pt x="11" y="11"/>
                  </a:cubicBezTo>
                  <a:cubicBezTo>
                    <a:pt x="13" y="10"/>
                    <a:pt x="15" y="10"/>
                    <a:pt x="17" y="8"/>
                  </a:cubicBezTo>
                  <a:cubicBezTo>
                    <a:pt x="21" y="4"/>
                    <a:pt x="19" y="0"/>
                    <a:pt x="26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4" name="Freeform 4586">
              <a:extLst>
                <a:ext uri="{FF2B5EF4-FFF2-40B4-BE49-F238E27FC236}">
                  <a16:creationId xmlns:a16="http://schemas.microsoft.com/office/drawing/2014/main" xmlns="" id="{62ACC1E6-C375-418B-83BE-BA41167DA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8720" y="4884026"/>
              <a:ext cx="43430" cy="56298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25" y="14"/>
                </a:cxn>
                <a:cxn ang="0">
                  <a:pos x="16" y="35"/>
                </a:cxn>
                <a:cxn ang="0">
                  <a:pos x="7" y="29"/>
                </a:cxn>
                <a:cxn ang="0">
                  <a:pos x="0" y="10"/>
                </a:cxn>
                <a:cxn ang="0">
                  <a:pos x="13" y="4"/>
                </a:cxn>
              </a:cxnLst>
              <a:rect l="0" t="0" r="r" b="b"/>
              <a:pathLst>
                <a:path w="27" h="35">
                  <a:moveTo>
                    <a:pt x="13" y="4"/>
                  </a:moveTo>
                  <a:cubicBezTo>
                    <a:pt x="18" y="5"/>
                    <a:pt x="22" y="10"/>
                    <a:pt x="25" y="14"/>
                  </a:cubicBezTo>
                  <a:cubicBezTo>
                    <a:pt x="24" y="24"/>
                    <a:pt x="26" y="32"/>
                    <a:pt x="16" y="35"/>
                  </a:cubicBezTo>
                  <a:cubicBezTo>
                    <a:pt x="11" y="34"/>
                    <a:pt x="10" y="33"/>
                    <a:pt x="7" y="29"/>
                  </a:cubicBezTo>
                  <a:cubicBezTo>
                    <a:pt x="17" y="23"/>
                    <a:pt x="7" y="13"/>
                    <a:pt x="0" y="10"/>
                  </a:cubicBezTo>
                  <a:cubicBezTo>
                    <a:pt x="3" y="0"/>
                    <a:pt x="27" y="9"/>
                    <a:pt x="13" y="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5" name="Freeform 4587">
              <a:extLst>
                <a:ext uri="{FF2B5EF4-FFF2-40B4-BE49-F238E27FC236}">
                  <a16:creationId xmlns:a16="http://schemas.microsoft.com/office/drawing/2014/main" xmlns="" id="{5A6DDB98-A4EE-43D0-B11F-58BA98CF5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3214" y="5089915"/>
              <a:ext cx="43430" cy="83643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14" y="12"/>
                </a:cxn>
                <a:cxn ang="0">
                  <a:pos x="5" y="15"/>
                </a:cxn>
                <a:cxn ang="0">
                  <a:pos x="8" y="46"/>
                </a:cxn>
                <a:cxn ang="0">
                  <a:pos x="19" y="43"/>
                </a:cxn>
                <a:cxn ang="0">
                  <a:pos x="23" y="28"/>
                </a:cxn>
                <a:cxn ang="0">
                  <a:pos x="25" y="13"/>
                </a:cxn>
                <a:cxn ang="0">
                  <a:pos x="27" y="7"/>
                </a:cxn>
                <a:cxn ang="0">
                  <a:pos x="25" y="1"/>
                </a:cxn>
                <a:cxn ang="0">
                  <a:pos x="22" y="4"/>
                </a:cxn>
                <a:cxn ang="0">
                  <a:pos x="25" y="2"/>
                </a:cxn>
              </a:cxnLst>
              <a:rect l="0" t="0" r="r" b="b"/>
              <a:pathLst>
                <a:path w="27" h="52">
                  <a:moveTo>
                    <a:pt x="25" y="2"/>
                  </a:moveTo>
                  <a:cubicBezTo>
                    <a:pt x="20" y="4"/>
                    <a:pt x="19" y="9"/>
                    <a:pt x="14" y="12"/>
                  </a:cubicBezTo>
                  <a:cubicBezTo>
                    <a:pt x="11" y="14"/>
                    <a:pt x="5" y="15"/>
                    <a:pt x="5" y="15"/>
                  </a:cubicBezTo>
                  <a:cubicBezTo>
                    <a:pt x="2" y="24"/>
                    <a:pt x="0" y="40"/>
                    <a:pt x="8" y="46"/>
                  </a:cubicBezTo>
                  <a:cubicBezTo>
                    <a:pt x="12" y="52"/>
                    <a:pt x="15" y="46"/>
                    <a:pt x="19" y="43"/>
                  </a:cubicBezTo>
                  <a:cubicBezTo>
                    <a:pt x="21" y="38"/>
                    <a:pt x="22" y="33"/>
                    <a:pt x="23" y="28"/>
                  </a:cubicBezTo>
                  <a:cubicBezTo>
                    <a:pt x="22" y="21"/>
                    <a:pt x="22" y="19"/>
                    <a:pt x="25" y="13"/>
                  </a:cubicBezTo>
                  <a:cubicBezTo>
                    <a:pt x="26" y="11"/>
                    <a:pt x="27" y="7"/>
                    <a:pt x="27" y="7"/>
                  </a:cubicBezTo>
                  <a:cubicBezTo>
                    <a:pt x="26" y="5"/>
                    <a:pt x="27" y="2"/>
                    <a:pt x="25" y="1"/>
                  </a:cubicBezTo>
                  <a:cubicBezTo>
                    <a:pt x="24" y="0"/>
                    <a:pt x="22" y="3"/>
                    <a:pt x="22" y="4"/>
                  </a:cubicBezTo>
                  <a:cubicBezTo>
                    <a:pt x="22" y="5"/>
                    <a:pt x="24" y="3"/>
                    <a:pt x="25" y="2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6" name="Freeform 4588">
              <a:extLst>
                <a:ext uri="{FF2B5EF4-FFF2-40B4-BE49-F238E27FC236}">
                  <a16:creationId xmlns:a16="http://schemas.microsoft.com/office/drawing/2014/main" xmlns="" id="{1DEC42D5-77E9-4B1B-B713-0D3333B25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8874" y="5181600"/>
              <a:ext cx="32170" cy="65949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7" y="41"/>
                </a:cxn>
                <a:cxn ang="0">
                  <a:pos x="20" y="0"/>
                </a:cxn>
              </a:cxnLst>
              <a:rect l="0" t="0" r="r" b="b"/>
              <a:pathLst>
                <a:path w="20" h="41">
                  <a:moveTo>
                    <a:pt x="20" y="0"/>
                  </a:moveTo>
                  <a:cubicBezTo>
                    <a:pt x="19" y="14"/>
                    <a:pt x="18" y="27"/>
                    <a:pt x="17" y="41"/>
                  </a:cubicBezTo>
                  <a:cubicBezTo>
                    <a:pt x="0" y="38"/>
                    <a:pt x="16" y="9"/>
                    <a:pt x="20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7" name="Freeform 4589">
              <a:extLst>
                <a:ext uri="{FF2B5EF4-FFF2-40B4-BE49-F238E27FC236}">
                  <a16:creationId xmlns:a16="http://schemas.microsoft.com/office/drawing/2014/main" xmlns="" id="{48953D81-7EC1-41B7-A973-67C1A7FCA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145" y="5345669"/>
              <a:ext cx="38604" cy="450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" y="13"/>
                </a:cxn>
                <a:cxn ang="0">
                  <a:pos x="24" y="22"/>
                </a:cxn>
                <a:cxn ang="0">
                  <a:pos x="14" y="25"/>
                </a:cxn>
                <a:cxn ang="0">
                  <a:pos x="8" y="17"/>
                </a:cxn>
                <a:cxn ang="0">
                  <a:pos x="2" y="10"/>
                </a:cxn>
                <a:cxn ang="0">
                  <a:pos x="7" y="3"/>
                </a:cxn>
                <a:cxn ang="0">
                  <a:pos x="0" y="0"/>
                </a:cxn>
              </a:cxnLst>
              <a:rect l="0" t="0" r="r" b="b"/>
              <a:pathLst>
                <a:path w="24" h="28">
                  <a:moveTo>
                    <a:pt x="0" y="0"/>
                  </a:moveTo>
                  <a:cubicBezTo>
                    <a:pt x="10" y="1"/>
                    <a:pt x="13" y="5"/>
                    <a:pt x="18" y="13"/>
                  </a:cubicBezTo>
                  <a:cubicBezTo>
                    <a:pt x="20" y="16"/>
                    <a:pt x="24" y="22"/>
                    <a:pt x="24" y="22"/>
                  </a:cubicBezTo>
                  <a:cubicBezTo>
                    <a:pt x="22" y="28"/>
                    <a:pt x="19" y="27"/>
                    <a:pt x="14" y="25"/>
                  </a:cubicBezTo>
                  <a:cubicBezTo>
                    <a:pt x="12" y="21"/>
                    <a:pt x="12" y="19"/>
                    <a:pt x="8" y="17"/>
                  </a:cubicBezTo>
                  <a:cubicBezTo>
                    <a:pt x="7" y="14"/>
                    <a:pt x="3" y="13"/>
                    <a:pt x="2" y="10"/>
                  </a:cubicBezTo>
                  <a:cubicBezTo>
                    <a:pt x="1" y="7"/>
                    <a:pt x="9" y="5"/>
                    <a:pt x="7" y="3"/>
                  </a:cubicBezTo>
                  <a:cubicBezTo>
                    <a:pt x="5" y="1"/>
                    <a:pt x="2" y="1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8" name="Freeform 4590">
              <a:extLst>
                <a:ext uri="{FF2B5EF4-FFF2-40B4-BE49-F238E27FC236}">
                  <a16:creationId xmlns:a16="http://schemas.microsoft.com/office/drawing/2014/main" xmlns="" id="{8938DD5C-673D-49F2-A1A1-C824A6B9D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1997" y="5266852"/>
              <a:ext cx="281490" cy="78817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13" y="6"/>
                </a:cxn>
                <a:cxn ang="0">
                  <a:pos x="25" y="19"/>
                </a:cxn>
                <a:cxn ang="0">
                  <a:pos x="34" y="11"/>
                </a:cxn>
                <a:cxn ang="0">
                  <a:pos x="40" y="23"/>
                </a:cxn>
                <a:cxn ang="0">
                  <a:pos x="52" y="23"/>
                </a:cxn>
                <a:cxn ang="0">
                  <a:pos x="70" y="12"/>
                </a:cxn>
                <a:cxn ang="0">
                  <a:pos x="88" y="13"/>
                </a:cxn>
                <a:cxn ang="0">
                  <a:pos x="101" y="16"/>
                </a:cxn>
                <a:cxn ang="0">
                  <a:pos x="114" y="12"/>
                </a:cxn>
                <a:cxn ang="0">
                  <a:pos x="128" y="12"/>
                </a:cxn>
                <a:cxn ang="0">
                  <a:pos x="136" y="6"/>
                </a:cxn>
                <a:cxn ang="0">
                  <a:pos x="134" y="18"/>
                </a:cxn>
                <a:cxn ang="0">
                  <a:pos x="150" y="19"/>
                </a:cxn>
                <a:cxn ang="0">
                  <a:pos x="162" y="10"/>
                </a:cxn>
                <a:cxn ang="0">
                  <a:pos x="175" y="18"/>
                </a:cxn>
                <a:cxn ang="0">
                  <a:pos x="163" y="28"/>
                </a:cxn>
                <a:cxn ang="0">
                  <a:pos x="142" y="30"/>
                </a:cxn>
                <a:cxn ang="0">
                  <a:pos x="122" y="35"/>
                </a:cxn>
                <a:cxn ang="0">
                  <a:pos x="100" y="43"/>
                </a:cxn>
                <a:cxn ang="0">
                  <a:pos x="88" y="49"/>
                </a:cxn>
                <a:cxn ang="0">
                  <a:pos x="52" y="38"/>
                </a:cxn>
                <a:cxn ang="0">
                  <a:pos x="24" y="37"/>
                </a:cxn>
                <a:cxn ang="0">
                  <a:pos x="0" y="32"/>
                </a:cxn>
                <a:cxn ang="0">
                  <a:pos x="2" y="29"/>
                </a:cxn>
                <a:cxn ang="0">
                  <a:pos x="11" y="23"/>
                </a:cxn>
                <a:cxn ang="0">
                  <a:pos x="8" y="24"/>
                </a:cxn>
              </a:cxnLst>
              <a:rect l="0" t="0" r="r" b="b"/>
              <a:pathLst>
                <a:path w="175" h="49">
                  <a:moveTo>
                    <a:pt x="8" y="24"/>
                  </a:moveTo>
                  <a:cubicBezTo>
                    <a:pt x="13" y="21"/>
                    <a:pt x="13" y="6"/>
                    <a:pt x="13" y="6"/>
                  </a:cubicBezTo>
                  <a:cubicBezTo>
                    <a:pt x="23" y="9"/>
                    <a:pt x="9" y="17"/>
                    <a:pt x="25" y="19"/>
                  </a:cubicBezTo>
                  <a:cubicBezTo>
                    <a:pt x="32" y="18"/>
                    <a:pt x="29" y="16"/>
                    <a:pt x="34" y="11"/>
                  </a:cubicBezTo>
                  <a:cubicBezTo>
                    <a:pt x="38" y="0"/>
                    <a:pt x="32" y="25"/>
                    <a:pt x="40" y="23"/>
                  </a:cubicBezTo>
                  <a:cubicBezTo>
                    <a:pt x="41" y="19"/>
                    <a:pt x="47" y="22"/>
                    <a:pt x="52" y="23"/>
                  </a:cubicBezTo>
                  <a:cubicBezTo>
                    <a:pt x="57" y="22"/>
                    <a:pt x="64" y="14"/>
                    <a:pt x="70" y="12"/>
                  </a:cubicBezTo>
                  <a:cubicBezTo>
                    <a:pt x="76" y="10"/>
                    <a:pt x="83" y="12"/>
                    <a:pt x="88" y="13"/>
                  </a:cubicBezTo>
                  <a:cubicBezTo>
                    <a:pt x="92" y="7"/>
                    <a:pt x="97" y="12"/>
                    <a:pt x="101" y="16"/>
                  </a:cubicBezTo>
                  <a:cubicBezTo>
                    <a:pt x="111" y="13"/>
                    <a:pt x="107" y="14"/>
                    <a:pt x="114" y="12"/>
                  </a:cubicBezTo>
                  <a:cubicBezTo>
                    <a:pt x="121" y="14"/>
                    <a:pt x="120" y="14"/>
                    <a:pt x="128" y="12"/>
                  </a:cubicBezTo>
                  <a:cubicBezTo>
                    <a:pt x="130" y="7"/>
                    <a:pt x="131" y="4"/>
                    <a:pt x="136" y="6"/>
                  </a:cubicBezTo>
                  <a:cubicBezTo>
                    <a:pt x="137" y="12"/>
                    <a:pt x="137" y="13"/>
                    <a:pt x="134" y="18"/>
                  </a:cubicBezTo>
                  <a:cubicBezTo>
                    <a:pt x="136" y="23"/>
                    <a:pt x="150" y="19"/>
                    <a:pt x="150" y="19"/>
                  </a:cubicBezTo>
                  <a:cubicBezTo>
                    <a:pt x="156" y="16"/>
                    <a:pt x="155" y="11"/>
                    <a:pt x="162" y="10"/>
                  </a:cubicBezTo>
                  <a:cubicBezTo>
                    <a:pt x="174" y="11"/>
                    <a:pt x="173" y="9"/>
                    <a:pt x="175" y="18"/>
                  </a:cubicBezTo>
                  <a:cubicBezTo>
                    <a:pt x="173" y="25"/>
                    <a:pt x="169" y="25"/>
                    <a:pt x="163" y="28"/>
                  </a:cubicBezTo>
                  <a:cubicBezTo>
                    <a:pt x="158" y="36"/>
                    <a:pt x="154" y="25"/>
                    <a:pt x="142" y="30"/>
                  </a:cubicBezTo>
                  <a:cubicBezTo>
                    <a:pt x="135" y="31"/>
                    <a:pt x="129" y="35"/>
                    <a:pt x="122" y="35"/>
                  </a:cubicBezTo>
                  <a:cubicBezTo>
                    <a:pt x="114" y="36"/>
                    <a:pt x="108" y="43"/>
                    <a:pt x="100" y="43"/>
                  </a:cubicBezTo>
                  <a:cubicBezTo>
                    <a:pt x="95" y="44"/>
                    <a:pt x="92" y="46"/>
                    <a:pt x="88" y="49"/>
                  </a:cubicBezTo>
                  <a:cubicBezTo>
                    <a:pt x="63" y="43"/>
                    <a:pt x="100" y="42"/>
                    <a:pt x="52" y="38"/>
                  </a:cubicBezTo>
                  <a:cubicBezTo>
                    <a:pt x="42" y="35"/>
                    <a:pt x="33" y="34"/>
                    <a:pt x="24" y="37"/>
                  </a:cubicBezTo>
                  <a:cubicBezTo>
                    <a:pt x="8" y="36"/>
                    <a:pt x="3" y="45"/>
                    <a:pt x="0" y="32"/>
                  </a:cubicBezTo>
                  <a:cubicBezTo>
                    <a:pt x="1" y="31"/>
                    <a:pt x="2" y="30"/>
                    <a:pt x="2" y="29"/>
                  </a:cubicBezTo>
                  <a:cubicBezTo>
                    <a:pt x="4" y="28"/>
                    <a:pt x="10" y="24"/>
                    <a:pt x="11" y="23"/>
                  </a:cubicBezTo>
                  <a:lnTo>
                    <a:pt x="8" y="2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9" name="Freeform 4591">
              <a:extLst>
                <a:ext uri="{FF2B5EF4-FFF2-40B4-BE49-F238E27FC236}">
                  <a16:creationId xmlns:a16="http://schemas.microsoft.com/office/drawing/2014/main" xmlns="" id="{4E342B7A-1053-49CC-B3FC-1AA2E2A74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9334" y="5003056"/>
              <a:ext cx="186587" cy="180153"/>
            </a:xfrm>
            <a:custGeom>
              <a:avLst/>
              <a:gdLst/>
              <a:ahLst/>
              <a:cxnLst>
                <a:cxn ang="0">
                  <a:pos x="26" y="69"/>
                </a:cxn>
                <a:cxn ang="0">
                  <a:pos x="36" y="64"/>
                </a:cxn>
                <a:cxn ang="0">
                  <a:pos x="33" y="54"/>
                </a:cxn>
                <a:cxn ang="0">
                  <a:pos x="59" y="46"/>
                </a:cxn>
                <a:cxn ang="0">
                  <a:pos x="73" y="38"/>
                </a:cxn>
                <a:cxn ang="0">
                  <a:pos x="85" y="28"/>
                </a:cxn>
                <a:cxn ang="0">
                  <a:pos x="114" y="0"/>
                </a:cxn>
                <a:cxn ang="0">
                  <a:pos x="95" y="42"/>
                </a:cxn>
                <a:cxn ang="0">
                  <a:pos x="102" y="58"/>
                </a:cxn>
                <a:cxn ang="0">
                  <a:pos x="87" y="69"/>
                </a:cxn>
                <a:cxn ang="0">
                  <a:pos x="74" y="82"/>
                </a:cxn>
                <a:cxn ang="0">
                  <a:pos x="57" y="100"/>
                </a:cxn>
                <a:cxn ang="0">
                  <a:pos x="48" y="111"/>
                </a:cxn>
                <a:cxn ang="0">
                  <a:pos x="12" y="108"/>
                </a:cxn>
                <a:cxn ang="0">
                  <a:pos x="0" y="91"/>
                </a:cxn>
                <a:cxn ang="0">
                  <a:pos x="15" y="74"/>
                </a:cxn>
                <a:cxn ang="0">
                  <a:pos x="23" y="72"/>
                </a:cxn>
                <a:cxn ang="0">
                  <a:pos x="26" y="69"/>
                </a:cxn>
              </a:cxnLst>
              <a:rect l="0" t="0" r="r" b="b"/>
              <a:pathLst>
                <a:path w="116" h="112">
                  <a:moveTo>
                    <a:pt x="26" y="69"/>
                  </a:moveTo>
                  <a:cubicBezTo>
                    <a:pt x="31" y="68"/>
                    <a:pt x="31" y="66"/>
                    <a:pt x="36" y="64"/>
                  </a:cubicBezTo>
                  <a:cubicBezTo>
                    <a:pt x="37" y="62"/>
                    <a:pt x="30" y="57"/>
                    <a:pt x="33" y="54"/>
                  </a:cubicBezTo>
                  <a:cubicBezTo>
                    <a:pt x="27" y="48"/>
                    <a:pt x="50" y="47"/>
                    <a:pt x="59" y="46"/>
                  </a:cubicBezTo>
                  <a:cubicBezTo>
                    <a:pt x="66" y="44"/>
                    <a:pt x="65" y="39"/>
                    <a:pt x="73" y="38"/>
                  </a:cubicBezTo>
                  <a:cubicBezTo>
                    <a:pt x="78" y="37"/>
                    <a:pt x="85" y="28"/>
                    <a:pt x="85" y="28"/>
                  </a:cubicBezTo>
                  <a:cubicBezTo>
                    <a:pt x="99" y="20"/>
                    <a:pt x="98" y="5"/>
                    <a:pt x="114" y="0"/>
                  </a:cubicBezTo>
                  <a:cubicBezTo>
                    <a:pt x="116" y="2"/>
                    <a:pt x="97" y="32"/>
                    <a:pt x="95" y="42"/>
                  </a:cubicBezTo>
                  <a:cubicBezTo>
                    <a:pt x="91" y="49"/>
                    <a:pt x="96" y="49"/>
                    <a:pt x="102" y="58"/>
                  </a:cubicBezTo>
                  <a:cubicBezTo>
                    <a:pt x="101" y="61"/>
                    <a:pt x="91" y="67"/>
                    <a:pt x="87" y="69"/>
                  </a:cubicBezTo>
                  <a:cubicBezTo>
                    <a:pt x="85" y="75"/>
                    <a:pt x="80" y="80"/>
                    <a:pt x="74" y="82"/>
                  </a:cubicBezTo>
                  <a:cubicBezTo>
                    <a:pt x="73" y="84"/>
                    <a:pt x="60" y="99"/>
                    <a:pt x="57" y="100"/>
                  </a:cubicBezTo>
                  <a:cubicBezTo>
                    <a:pt x="54" y="104"/>
                    <a:pt x="51" y="108"/>
                    <a:pt x="48" y="111"/>
                  </a:cubicBezTo>
                  <a:cubicBezTo>
                    <a:pt x="32" y="110"/>
                    <a:pt x="24" y="112"/>
                    <a:pt x="12" y="108"/>
                  </a:cubicBezTo>
                  <a:cubicBezTo>
                    <a:pt x="9" y="100"/>
                    <a:pt x="4" y="97"/>
                    <a:pt x="0" y="91"/>
                  </a:cubicBezTo>
                  <a:cubicBezTo>
                    <a:pt x="1" y="85"/>
                    <a:pt x="8" y="76"/>
                    <a:pt x="15" y="74"/>
                  </a:cubicBezTo>
                  <a:cubicBezTo>
                    <a:pt x="18" y="73"/>
                    <a:pt x="23" y="72"/>
                    <a:pt x="23" y="72"/>
                  </a:cubicBezTo>
                  <a:cubicBezTo>
                    <a:pt x="26" y="70"/>
                    <a:pt x="26" y="71"/>
                    <a:pt x="26" y="69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0" name="Freeform 4594">
              <a:extLst>
                <a:ext uri="{FF2B5EF4-FFF2-40B4-BE49-F238E27FC236}">
                  <a16:creationId xmlns:a16="http://schemas.microsoft.com/office/drawing/2014/main" xmlns="" id="{D92DD759-272B-434A-B1AB-6DD4C8B74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678" y="4044382"/>
              <a:ext cx="1746844" cy="1042316"/>
            </a:xfrm>
            <a:custGeom>
              <a:avLst/>
              <a:gdLst/>
              <a:ahLst/>
              <a:cxnLst>
                <a:cxn ang="0">
                  <a:pos x="146" y="291"/>
                </a:cxn>
                <a:cxn ang="0">
                  <a:pos x="174" y="320"/>
                </a:cxn>
                <a:cxn ang="0">
                  <a:pos x="147" y="335"/>
                </a:cxn>
                <a:cxn ang="0">
                  <a:pos x="155" y="353"/>
                </a:cxn>
                <a:cxn ang="0">
                  <a:pos x="100" y="372"/>
                </a:cxn>
                <a:cxn ang="0">
                  <a:pos x="69" y="381"/>
                </a:cxn>
                <a:cxn ang="0">
                  <a:pos x="34" y="386"/>
                </a:cxn>
                <a:cxn ang="0">
                  <a:pos x="9" y="416"/>
                </a:cxn>
                <a:cxn ang="0">
                  <a:pos x="21" y="459"/>
                </a:cxn>
                <a:cxn ang="0">
                  <a:pos x="47" y="452"/>
                </a:cxn>
                <a:cxn ang="0">
                  <a:pos x="53" y="474"/>
                </a:cxn>
                <a:cxn ang="0">
                  <a:pos x="58" y="477"/>
                </a:cxn>
                <a:cxn ang="0">
                  <a:pos x="62" y="503"/>
                </a:cxn>
                <a:cxn ang="0">
                  <a:pos x="54" y="532"/>
                </a:cxn>
                <a:cxn ang="0">
                  <a:pos x="42" y="527"/>
                </a:cxn>
                <a:cxn ang="0">
                  <a:pos x="36" y="546"/>
                </a:cxn>
                <a:cxn ang="0">
                  <a:pos x="80" y="551"/>
                </a:cxn>
                <a:cxn ang="0">
                  <a:pos x="95" y="578"/>
                </a:cxn>
                <a:cxn ang="0">
                  <a:pos x="129" y="605"/>
                </a:cxn>
                <a:cxn ang="0">
                  <a:pos x="120" y="629"/>
                </a:cxn>
                <a:cxn ang="0">
                  <a:pos x="171" y="610"/>
                </a:cxn>
                <a:cxn ang="0">
                  <a:pos x="174" y="627"/>
                </a:cxn>
                <a:cxn ang="0">
                  <a:pos x="219" y="627"/>
                </a:cxn>
                <a:cxn ang="0">
                  <a:pos x="236" y="642"/>
                </a:cxn>
                <a:cxn ang="0">
                  <a:pos x="304" y="636"/>
                </a:cxn>
                <a:cxn ang="0">
                  <a:pos x="314" y="593"/>
                </a:cxn>
                <a:cxn ang="0">
                  <a:pos x="327" y="578"/>
                </a:cxn>
                <a:cxn ang="0">
                  <a:pos x="410" y="584"/>
                </a:cxn>
                <a:cxn ang="0">
                  <a:pos x="494" y="585"/>
                </a:cxn>
                <a:cxn ang="0">
                  <a:pos x="537" y="530"/>
                </a:cxn>
                <a:cxn ang="0">
                  <a:pos x="584" y="514"/>
                </a:cxn>
                <a:cxn ang="0">
                  <a:pos x="608" y="489"/>
                </a:cxn>
                <a:cxn ang="0">
                  <a:pos x="630" y="509"/>
                </a:cxn>
                <a:cxn ang="0">
                  <a:pos x="642" y="539"/>
                </a:cxn>
                <a:cxn ang="0">
                  <a:pos x="659" y="519"/>
                </a:cxn>
                <a:cxn ang="0">
                  <a:pos x="659" y="489"/>
                </a:cxn>
                <a:cxn ang="0">
                  <a:pos x="711" y="464"/>
                </a:cxn>
                <a:cxn ang="0">
                  <a:pos x="807" y="422"/>
                </a:cxn>
                <a:cxn ang="0">
                  <a:pos x="833" y="401"/>
                </a:cxn>
                <a:cxn ang="0">
                  <a:pos x="902" y="344"/>
                </a:cxn>
                <a:cxn ang="0">
                  <a:pos x="983" y="297"/>
                </a:cxn>
                <a:cxn ang="0">
                  <a:pos x="1061" y="251"/>
                </a:cxn>
                <a:cxn ang="0">
                  <a:pos x="1086" y="249"/>
                </a:cxn>
                <a:cxn ang="0">
                  <a:pos x="1041" y="202"/>
                </a:cxn>
                <a:cxn ang="0">
                  <a:pos x="992" y="135"/>
                </a:cxn>
                <a:cxn ang="0">
                  <a:pos x="984" y="83"/>
                </a:cxn>
                <a:cxn ang="0">
                  <a:pos x="960" y="70"/>
                </a:cxn>
                <a:cxn ang="0">
                  <a:pos x="917" y="36"/>
                </a:cxn>
                <a:cxn ang="0">
                  <a:pos x="870" y="15"/>
                </a:cxn>
                <a:cxn ang="0">
                  <a:pos x="804" y="24"/>
                </a:cxn>
                <a:cxn ang="0">
                  <a:pos x="760" y="69"/>
                </a:cxn>
                <a:cxn ang="0">
                  <a:pos x="731" y="108"/>
                </a:cxn>
                <a:cxn ang="0">
                  <a:pos x="641" y="137"/>
                </a:cxn>
                <a:cxn ang="0">
                  <a:pos x="581" y="160"/>
                </a:cxn>
                <a:cxn ang="0">
                  <a:pos x="515" y="164"/>
                </a:cxn>
                <a:cxn ang="0">
                  <a:pos x="468" y="156"/>
                </a:cxn>
                <a:cxn ang="0">
                  <a:pos x="420" y="142"/>
                </a:cxn>
                <a:cxn ang="0">
                  <a:pos x="348" y="174"/>
                </a:cxn>
                <a:cxn ang="0">
                  <a:pos x="311" y="201"/>
                </a:cxn>
                <a:cxn ang="0">
                  <a:pos x="252" y="267"/>
                </a:cxn>
              </a:cxnLst>
              <a:rect l="0" t="0" r="r" b="b"/>
              <a:pathLst>
                <a:path w="1086" h="648">
                  <a:moveTo>
                    <a:pt x="245" y="275"/>
                  </a:moveTo>
                  <a:cubicBezTo>
                    <a:pt x="230" y="274"/>
                    <a:pt x="217" y="277"/>
                    <a:pt x="202" y="278"/>
                  </a:cubicBezTo>
                  <a:cubicBezTo>
                    <a:pt x="196" y="301"/>
                    <a:pt x="162" y="291"/>
                    <a:pt x="146" y="291"/>
                  </a:cubicBezTo>
                  <a:cubicBezTo>
                    <a:pt x="138" y="294"/>
                    <a:pt x="142" y="310"/>
                    <a:pt x="143" y="315"/>
                  </a:cubicBezTo>
                  <a:cubicBezTo>
                    <a:pt x="143" y="316"/>
                    <a:pt x="156" y="318"/>
                    <a:pt x="158" y="318"/>
                  </a:cubicBezTo>
                  <a:cubicBezTo>
                    <a:pt x="164" y="322"/>
                    <a:pt x="167" y="321"/>
                    <a:pt x="174" y="320"/>
                  </a:cubicBezTo>
                  <a:cubicBezTo>
                    <a:pt x="181" y="316"/>
                    <a:pt x="189" y="317"/>
                    <a:pt x="197" y="314"/>
                  </a:cubicBezTo>
                  <a:cubicBezTo>
                    <a:pt x="189" y="324"/>
                    <a:pt x="183" y="323"/>
                    <a:pt x="170" y="324"/>
                  </a:cubicBezTo>
                  <a:cubicBezTo>
                    <a:pt x="163" y="329"/>
                    <a:pt x="155" y="332"/>
                    <a:pt x="147" y="335"/>
                  </a:cubicBezTo>
                  <a:cubicBezTo>
                    <a:pt x="140" y="342"/>
                    <a:pt x="142" y="338"/>
                    <a:pt x="140" y="344"/>
                  </a:cubicBezTo>
                  <a:cubicBezTo>
                    <a:pt x="142" y="352"/>
                    <a:pt x="145" y="350"/>
                    <a:pt x="153" y="348"/>
                  </a:cubicBezTo>
                  <a:cubicBezTo>
                    <a:pt x="160" y="351"/>
                    <a:pt x="159" y="349"/>
                    <a:pt x="155" y="353"/>
                  </a:cubicBezTo>
                  <a:cubicBezTo>
                    <a:pt x="150" y="359"/>
                    <a:pt x="143" y="359"/>
                    <a:pt x="136" y="360"/>
                  </a:cubicBezTo>
                  <a:cubicBezTo>
                    <a:pt x="130" y="363"/>
                    <a:pt x="124" y="363"/>
                    <a:pt x="118" y="365"/>
                  </a:cubicBezTo>
                  <a:cubicBezTo>
                    <a:pt x="112" y="368"/>
                    <a:pt x="106" y="370"/>
                    <a:pt x="100" y="372"/>
                  </a:cubicBezTo>
                  <a:cubicBezTo>
                    <a:pt x="93" y="371"/>
                    <a:pt x="95" y="370"/>
                    <a:pt x="98" y="365"/>
                  </a:cubicBezTo>
                  <a:cubicBezTo>
                    <a:pt x="91" y="354"/>
                    <a:pt x="67" y="363"/>
                    <a:pt x="86" y="369"/>
                  </a:cubicBezTo>
                  <a:cubicBezTo>
                    <a:pt x="88" y="375"/>
                    <a:pt x="75" y="379"/>
                    <a:pt x="69" y="381"/>
                  </a:cubicBezTo>
                  <a:cubicBezTo>
                    <a:pt x="63" y="380"/>
                    <a:pt x="60" y="381"/>
                    <a:pt x="58" y="375"/>
                  </a:cubicBezTo>
                  <a:cubicBezTo>
                    <a:pt x="70" y="372"/>
                    <a:pt x="51" y="375"/>
                    <a:pt x="48" y="376"/>
                  </a:cubicBezTo>
                  <a:cubicBezTo>
                    <a:pt x="43" y="379"/>
                    <a:pt x="40" y="383"/>
                    <a:pt x="34" y="386"/>
                  </a:cubicBezTo>
                  <a:cubicBezTo>
                    <a:pt x="30" y="388"/>
                    <a:pt x="23" y="392"/>
                    <a:pt x="23" y="392"/>
                  </a:cubicBezTo>
                  <a:cubicBezTo>
                    <a:pt x="22" y="396"/>
                    <a:pt x="20" y="398"/>
                    <a:pt x="17" y="401"/>
                  </a:cubicBezTo>
                  <a:cubicBezTo>
                    <a:pt x="15" y="407"/>
                    <a:pt x="11" y="410"/>
                    <a:pt x="9" y="416"/>
                  </a:cubicBezTo>
                  <a:cubicBezTo>
                    <a:pt x="8" y="426"/>
                    <a:pt x="6" y="429"/>
                    <a:pt x="4" y="438"/>
                  </a:cubicBezTo>
                  <a:cubicBezTo>
                    <a:pt x="4" y="444"/>
                    <a:pt x="0" y="459"/>
                    <a:pt x="9" y="462"/>
                  </a:cubicBezTo>
                  <a:cubicBezTo>
                    <a:pt x="13" y="461"/>
                    <a:pt x="21" y="459"/>
                    <a:pt x="21" y="459"/>
                  </a:cubicBezTo>
                  <a:cubicBezTo>
                    <a:pt x="24" y="451"/>
                    <a:pt x="33" y="449"/>
                    <a:pt x="41" y="446"/>
                  </a:cubicBezTo>
                  <a:cubicBezTo>
                    <a:pt x="45" y="445"/>
                    <a:pt x="53" y="442"/>
                    <a:pt x="53" y="442"/>
                  </a:cubicBezTo>
                  <a:cubicBezTo>
                    <a:pt x="51" y="446"/>
                    <a:pt x="50" y="449"/>
                    <a:pt x="47" y="452"/>
                  </a:cubicBezTo>
                  <a:cubicBezTo>
                    <a:pt x="46" y="456"/>
                    <a:pt x="46" y="458"/>
                    <a:pt x="42" y="461"/>
                  </a:cubicBezTo>
                  <a:cubicBezTo>
                    <a:pt x="40" y="468"/>
                    <a:pt x="38" y="466"/>
                    <a:pt x="44" y="468"/>
                  </a:cubicBezTo>
                  <a:cubicBezTo>
                    <a:pt x="46" y="472"/>
                    <a:pt x="49" y="473"/>
                    <a:pt x="53" y="474"/>
                  </a:cubicBezTo>
                  <a:cubicBezTo>
                    <a:pt x="54" y="478"/>
                    <a:pt x="51" y="482"/>
                    <a:pt x="56" y="477"/>
                  </a:cubicBezTo>
                  <a:cubicBezTo>
                    <a:pt x="56" y="476"/>
                    <a:pt x="56" y="474"/>
                    <a:pt x="57" y="474"/>
                  </a:cubicBezTo>
                  <a:cubicBezTo>
                    <a:pt x="58" y="474"/>
                    <a:pt x="58" y="476"/>
                    <a:pt x="58" y="477"/>
                  </a:cubicBezTo>
                  <a:cubicBezTo>
                    <a:pt x="57" y="482"/>
                    <a:pt x="54" y="485"/>
                    <a:pt x="53" y="489"/>
                  </a:cubicBezTo>
                  <a:cubicBezTo>
                    <a:pt x="59" y="495"/>
                    <a:pt x="64" y="487"/>
                    <a:pt x="68" y="495"/>
                  </a:cubicBezTo>
                  <a:cubicBezTo>
                    <a:pt x="66" y="499"/>
                    <a:pt x="66" y="501"/>
                    <a:pt x="62" y="503"/>
                  </a:cubicBezTo>
                  <a:cubicBezTo>
                    <a:pt x="53" y="517"/>
                    <a:pt x="69" y="522"/>
                    <a:pt x="81" y="525"/>
                  </a:cubicBezTo>
                  <a:cubicBezTo>
                    <a:pt x="76" y="527"/>
                    <a:pt x="71" y="529"/>
                    <a:pt x="66" y="531"/>
                  </a:cubicBezTo>
                  <a:cubicBezTo>
                    <a:pt x="64" y="536"/>
                    <a:pt x="59" y="533"/>
                    <a:pt x="54" y="532"/>
                  </a:cubicBezTo>
                  <a:cubicBezTo>
                    <a:pt x="53" y="525"/>
                    <a:pt x="54" y="523"/>
                    <a:pt x="48" y="521"/>
                  </a:cubicBezTo>
                  <a:cubicBezTo>
                    <a:pt x="39" y="512"/>
                    <a:pt x="51" y="515"/>
                    <a:pt x="28" y="516"/>
                  </a:cubicBezTo>
                  <a:cubicBezTo>
                    <a:pt x="18" y="521"/>
                    <a:pt x="37" y="526"/>
                    <a:pt x="42" y="527"/>
                  </a:cubicBezTo>
                  <a:cubicBezTo>
                    <a:pt x="44" y="529"/>
                    <a:pt x="49" y="534"/>
                    <a:pt x="45" y="538"/>
                  </a:cubicBezTo>
                  <a:cubicBezTo>
                    <a:pt x="44" y="539"/>
                    <a:pt x="39" y="540"/>
                    <a:pt x="39" y="540"/>
                  </a:cubicBezTo>
                  <a:cubicBezTo>
                    <a:pt x="38" y="542"/>
                    <a:pt x="36" y="544"/>
                    <a:pt x="36" y="546"/>
                  </a:cubicBezTo>
                  <a:cubicBezTo>
                    <a:pt x="37" y="549"/>
                    <a:pt x="53" y="552"/>
                    <a:pt x="56" y="554"/>
                  </a:cubicBezTo>
                  <a:cubicBezTo>
                    <a:pt x="66" y="551"/>
                    <a:pt x="66" y="550"/>
                    <a:pt x="68" y="540"/>
                  </a:cubicBezTo>
                  <a:cubicBezTo>
                    <a:pt x="71" y="549"/>
                    <a:pt x="69" y="550"/>
                    <a:pt x="80" y="551"/>
                  </a:cubicBezTo>
                  <a:cubicBezTo>
                    <a:pt x="85" y="553"/>
                    <a:pt x="94" y="552"/>
                    <a:pt x="98" y="552"/>
                  </a:cubicBezTo>
                  <a:cubicBezTo>
                    <a:pt x="101" y="561"/>
                    <a:pt x="100" y="556"/>
                    <a:pt x="101" y="566"/>
                  </a:cubicBezTo>
                  <a:cubicBezTo>
                    <a:pt x="100" y="573"/>
                    <a:pt x="100" y="574"/>
                    <a:pt x="95" y="578"/>
                  </a:cubicBezTo>
                  <a:cubicBezTo>
                    <a:pt x="97" y="583"/>
                    <a:pt x="100" y="582"/>
                    <a:pt x="104" y="584"/>
                  </a:cubicBezTo>
                  <a:cubicBezTo>
                    <a:pt x="105" y="600"/>
                    <a:pt x="102" y="600"/>
                    <a:pt x="116" y="598"/>
                  </a:cubicBezTo>
                  <a:cubicBezTo>
                    <a:pt x="120" y="600"/>
                    <a:pt x="125" y="602"/>
                    <a:pt x="129" y="605"/>
                  </a:cubicBezTo>
                  <a:cubicBezTo>
                    <a:pt x="128" y="612"/>
                    <a:pt x="129" y="609"/>
                    <a:pt x="122" y="614"/>
                  </a:cubicBezTo>
                  <a:cubicBezTo>
                    <a:pt x="120" y="615"/>
                    <a:pt x="116" y="616"/>
                    <a:pt x="116" y="616"/>
                  </a:cubicBezTo>
                  <a:cubicBezTo>
                    <a:pt x="114" y="621"/>
                    <a:pt x="115" y="627"/>
                    <a:pt x="120" y="629"/>
                  </a:cubicBezTo>
                  <a:cubicBezTo>
                    <a:pt x="123" y="626"/>
                    <a:pt x="125" y="623"/>
                    <a:pt x="129" y="622"/>
                  </a:cubicBezTo>
                  <a:cubicBezTo>
                    <a:pt x="131" y="612"/>
                    <a:pt x="153" y="616"/>
                    <a:pt x="162" y="614"/>
                  </a:cubicBezTo>
                  <a:cubicBezTo>
                    <a:pt x="165" y="612"/>
                    <a:pt x="171" y="610"/>
                    <a:pt x="171" y="610"/>
                  </a:cubicBezTo>
                  <a:cubicBezTo>
                    <a:pt x="170" y="616"/>
                    <a:pt x="166" y="617"/>
                    <a:pt x="164" y="624"/>
                  </a:cubicBezTo>
                  <a:cubicBezTo>
                    <a:pt x="164" y="627"/>
                    <a:pt x="133" y="639"/>
                    <a:pt x="134" y="641"/>
                  </a:cubicBezTo>
                  <a:cubicBezTo>
                    <a:pt x="136" y="644"/>
                    <a:pt x="171" y="629"/>
                    <a:pt x="174" y="627"/>
                  </a:cubicBezTo>
                  <a:cubicBezTo>
                    <a:pt x="179" y="623"/>
                    <a:pt x="186" y="622"/>
                    <a:pt x="191" y="618"/>
                  </a:cubicBezTo>
                  <a:cubicBezTo>
                    <a:pt x="198" y="621"/>
                    <a:pt x="195" y="627"/>
                    <a:pt x="203" y="630"/>
                  </a:cubicBezTo>
                  <a:cubicBezTo>
                    <a:pt x="208" y="629"/>
                    <a:pt x="214" y="628"/>
                    <a:pt x="219" y="627"/>
                  </a:cubicBezTo>
                  <a:cubicBezTo>
                    <a:pt x="220" y="623"/>
                    <a:pt x="219" y="619"/>
                    <a:pt x="224" y="621"/>
                  </a:cubicBezTo>
                  <a:cubicBezTo>
                    <a:pt x="227" y="624"/>
                    <a:pt x="229" y="625"/>
                    <a:pt x="227" y="630"/>
                  </a:cubicBezTo>
                  <a:cubicBezTo>
                    <a:pt x="228" y="635"/>
                    <a:pt x="232" y="639"/>
                    <a:pt x="236" y="642"/>
                  </a:cubicBezTo>
                  <a:cubicBezTo>
                    <a:pt x="238" y="648"/>
                    <a:pt x="246" y="646"/>
                    <a:pt x="251" y="645"/>
                  </a:cubicBezTo>
                  <a:cubicBezTo>
                    <a:pt x="261" y="646"/>
                    <a:pt x="272" y="647"/>
                    <a:pt x="282" y="644"/>
                  </a:cubicBezTo>
                  <a:cubicBezTo>
                    <a:pt x="288" y="640"/>
                    <a:pt x="297" y="639"/>
                    <a:pt x="304" y="636"/>
                  </a:cubicBezTo>
                  <a:cubicBezTo>
                    <a:pt x="307" y="635"/>
                    <a:pt x="314" y="633"/>
                    <a:pt x="314" y="633"/>
                  </a:cubicBezTo>
                  <a:cubicBezTo>
                    <a:pt x="321" y="623"/>
                    <a:pt x="318" y="629"/>
                    <a:pt x="320" y="612"/>
                  </a:cubicBezTo>
                  <a:cubicBezTo>
                    <a:pt x="318" y="604"/>
                    <a:pt x="316" y="600"/>
                    <a:pt x="314" y="593"/>
                  </a:cubicBezTo>
                  <a:cubicBezTo>
                    <a:pt x="315" y="585"/>
                    <a:pt x="312" y="575"/>
                    <a:pt x="321" y="581"/>
                  </a:cubicBezTo>
                  <a:cubicBezTo>
                    <a:pt x="321" y="582"/>
                    <a:pt x="321" y="584"/>
                    <a:pt x="322" y="584"/>
                  </a:cubicBezTo>
                  <a:cubicBezTo>
                    <a:pt x="325" y="584"/>
                    <a:pt x="325" y="580"/>
                    <a:pt x="327" y="578"/>
                  </a:cubicBezTo>
                  <a:cubicBezTo>
                    <a:pt x="331" y="575"/>
                    <a:pt x="332" y="576"/>
                    <a:pt x="338" y="575"/>
                  </a:cubicBezTo>
                  <a:cubicBezTo>
                    <a:pt x="345" y="573"/>
                    <a:pt x="364" y="576"/>
                    <a:pt x="368" y="576"/>
                  </a:cubicBezTo>
                  <a:cubicBezTo>
                    <a:pt x="381" y="582"/>
                    <a:pt x="395" y="583"/>
                    <a:pt x="410" y="584"/>
                  </a:cubicBezTo>
                  <a:cubicBezTo>
                    <a:pt x="418" y="597"/>
                    <a:pt x="430" y="600"/>
                    <a:pt x="441" y="608"/>
                  </a:cubicBezTo>
                  <a:cubicBezTo>
                    <a:pt x="456" y="604"/>
                    <a:pt x="470" y="596"/>
                    <a:pt x="485" y="591"/>
                  </a:cubicBezTo>
                  <a:cubicBezTo>
                    <a:pt x="488" y="588"/>
                    <a:pt x="490" y="586"/>
                    <a:pt x="494" y="585"/>
                  </a:cubicBezTo>
                  <a:cubicBezTo>
                    <a:pt x="497" y="581"/>
                    <a:pt x="507" y="575"/>
                    <a:pt x="512" y="573"/>
                  </a:cubicBezTo>
                  <a:cubicBezTo>
                    <a:pt x="517" y="566"/>
                    <a:pt x="522" y="559"/>
                    <a:pt x="527" y="551"/>
                  </a:cubicBezTo>
                  <a:cubicBezTo>
                    <a:pt x="529" y="543"/>
                    <a:pt x="528" y="533"/>
                    <a:pt x="537" y="530"/>
                  </a:cubicBezTo>
                  <a:cubicBezTo>
                    <a:pt x="538" y="527"/>
                    <a:pt x="542" y="521"/>
                    <a:pt x="542" y="521"/>
                  </a:cubicBezTo>
                  <a:cubicBezTo>
                    <a:pt x="544" y="512"/>
                    <a:pt x="545" y="513"/>
                    <a:pt x="554" y="510"/>
                  </a:cubicBezTo>
                  <a:cubicBezTo>
                    <a:pt x="565" y="511"/>
                    <a:pt x="573" y="513"/>
                    <a:pt x="584" y="514"/>
                  </a:cubicBezTo>
                  <a:cubicBezTo>
                    <a:pt x="590" y="514"/>
                    <a:pt x="598" y="516"/>
                    <a:pt x="602" y="512"/>
                  </a:cubicBezTo>
                  <a:cubicBezTo>
                    <a:pt x="604" y="510"/>
                    <a:pt x="606" y="506"/>
                    <a:pt x="606" y="506"/>
                  </a:cubicBezTo>
                  <a:cubicBezTo>
                    <a:pt x="604" y="498"/>
                    <a:pt x="612" y="495"/>
                    <a:pt x="608" y="489"/>
                  </a:cubicBezTo>
                  <a:cubicBezTo>
                    <a:pt x="614" y="483"/>
                    <a:pt x="613" y="479"/>
                    <a:pt x="621" y="476"/>
                  </a:cubicBezTo>
                  <a:cubicBezTo>
                    <a:pt x="628" y="477"/>
                    <a:pt x="636" y="477"/>
                    <a:pt x="641" y="482"/>
                  </a:cubicBezTo>
                  <a:cubicBezTo>
                    <a:pt x="644" y="491"/>
                    <a:pt x="636" y="503"/>
                    <a:pt x="630" y="509"/>
                  </a:cubicBezTo>
                  <a:cubicBezTo>
                    <a:pt x="629" y="513"/>
                    <a:pt x="626" y="517"/>
                    <a:pt x="624" y="521"/>
                  </a:cubicBezTo>
                  <a:cubicBezTo>
                    <a:pt x="626" y="525"/>
                    <a:pt x="628" y="527"/>
                    <a:pt x="632" y="528"/>
                  </a:cubicBezTo>
                  <a:cubicBezTo>
                    <a:pt x="636" y="532"/>
                    <a:pt x="638" y="535"/>
                    <a:pt x="642" y="539"/>
                  </a:cubicBezTo>
                  <a:cubicBezTo>
                    <a:pt x="644" y="550"/>
                    <a:pt x="643" y="551"/>
                    <a:pt x="653" y="549"/>
                  </a:cubicBezTo>
                  <a:cubicBezTo>
                    <a:pt x="654" y="546"/>
                    <a:pt x="660" y="544"/>
                    <a:pt x="660" y="544"/>
                  </a:cubicBezTo>
                  <a:cubicBezTo>
                    <a:pt x="664" y="537"/>
                    <a:pt x="659" y="519"/>
                    <a:pt x="659" y="519"/>
                  </a:cubicBezTo>
                  <a:cubicBezTo>
                    <a:pt x="663" y="518"/>
                    <a:pt x="663" y="515"/>
                    <a:pt x="668" y="514"/>
                  </a:cubicBezTo>
                  <a:cubicBezTo>
                    <a:pt x="671" y="509"/>
                    <a:pt x="671" y="504"/>
                    <a:pt x="666" y="500"/>
                  </a:cubicBezTo>
                  <a:cubicBezTo>
                    <a:pt x="665" y="496"/>
                    <a:pt x="661" y="494"/>
                    <a:pt x="659" y="489"/>
                  </a:cubicBezTo>
                  <a:cubicBezTo>
                    <a:pt x="660" y="467"/>
                    <a:pt x="662" y="469"/>
                    <a:pt x="681" y="464"/>
                  </a:cubicBezTo>
                  <a:cubicBezTo>
                    <a:pt x="688" y="475"/>
                    <a:pt x="676" y="474"/>
                    <a:pt x="698" y="471"/>
                  </a:cubicBezTo>
                  <a:cubicBezTo>
                    <a:pt x="703" y="469"/>
                    <a:pt x="711" y="464"/>
                    <a:pt x="711" y="464"/>
                  </a:cubicBezTo>
                  <a:cubicBezTo>
                    <a:pt x="713" y="454"/>
                    <a:pt x="740" y="428"/>
                    <a:pt x="750" y="425"/>
                  </a:cubicBezTo>
                  <a:cubicBezTo>
                    <a:pt x="768" y="426"/>
                    <a:pt x="778" y="427"/>
                    <a:pt x="794" y="425"/>
                  </a:cubicBezTo>
                  <a:cubicBezTo>
                    <a:pt x="798" y="424"/>
                    <a:pt x="803" y="423"/>
                    <a:pt x="807" y="422"/>
                  </a:cubicBezTo>
                  <a:cubicBezTo>
                    <a:pt x="810" y="419"/>
                    <a:pt x="813" y="417"/>
                    <a:pt x="816" y="414"/>
                  </a:cubicBezTo>
                  <a:cubicBezTo>
                    <a:pt x="818" y="412"/>
                    <a:pt x="822" y="410"/>
                    <a:pt x="822" y="410"/>
                  </a:cubicBezTo>
                  <a:cubicBezTo>
                    <a:pt x="825" y="406"/>
                    <a:pt x="829" y="402"/>
                    <a:pt x="833" y="401"/>
                  </a:cubicBezTo>
                  <a:cubicBezTo>
                    <a:pt x="841" y="393"/>
                    <a:pt x="847" y="383"/>
                    <a:pt x="855" y="375"/>
                  </a:cubicBezTo>
                  <a:cubicBezTo>
                    <a:pt x="860" y="361"/>
                    <a:pt x="873" y="352"/>
                    <a:pt x="886" y="348"/>
                  </a:cubicBezTo>
                  <a:cubicBezTo>
                    <a:pt x="891" y="346"/>
                    <a:pt x="902" y="344"/>
                    <a:pt x="902" y="344"/>
                  </a:cubicBezTo>
                  <a:cubicBezTo>
                    <a:pt x="914" y="332"/>
                    <a:pt x="937" y="334"/>
                    <a:pt x="953" y="333"/>
                  </a:cubicBezTo>
                  <a:cubicBezTo>
                    <a:pt x="957" y="322"/>
                    <a:pt x="954" y="327"/>
                    <a:pt x="957" y="309"/>
                  </a:cubicBezTo>
                  <a:cubicBezTo>
                    <a:pt x="958" y="304"/>
                    <a:pt x="979" y="300"/>
                    <a:pt x="983" y="297"/>
                  </a:cubicBezTo>
                  <a:cubicBezTo>
                    <a:pt x="993" y="268"/>
                    <a:pt x="999" y="280"/>
                    <a:pt x="1028" y="273"/>
                  </a:cubicBezTo>
                  <a:cubicBezTo>
                    <a:pt x="1035" y="266"/>
                    <a:pt x="1045" y="260"/>
                    <a:pt x="1055" y="257"/>
                  </a:cubicBezTo>
                  <a:cubicBezTo>
                    <a:pt x="1057" y="255"/>
                    <a:pt x="1058" y="251"/>
                    <a:pt x="1061" y="251"/>
                  </a:cubicBezTo>
                  <a:cubicBezTo>
                    <a:pt x="1063" y="251"/>
                    <a:pt x="1065" y="270"/>
                    <a:pt x="1066" y="273"/>
                  </a:cubicBezTo>
                  <a:cubicBezTo>
                    <a:pt x="1071" y="272"/>
                    <a:pt x="1080" y="268"/>
                    <a:pt x="1080" y="268"/>
                  </a:cubicBezTo>
                  <a:cubicBezTo>
                    <a:pt x="1083" y="262"/>
                    <a:pt x="1084" y="255"/>
                    <a:pt x="1086" y="249"/>
                  </a:cubicBezTo>
                  <a:cubicBezTo>
                    <a:pt x="1085" y="239"/>
                    <a:pt x="1078" y="225"/>
                    <a:pt x="1067" y="221"/>
                  </a:cubicBezTo>
                  <a:cubicBezTo>
                    <a:pt x="1062" y="213"/>
                    <a:pt x="1055" y="213"/>
                    <a:pt x="1046" y="212"/>
                  </a:cubicBezTo>
                  <a:cubicBezTo>
                    <a:pt x="1041" y="205"/>
                    <a:pt x="1043" y="208"/>
                    <a:pt x="1041" y="202"/>
                  </a:cubicBezTo>
                  <a:cubicBezTo>
                    <a:pt x="1040" y="182"/>
                    <a:pt x="1041" y="178"/>
                    <a:pt x="1022" y="176"/>
                  </a:cubicBezTo>
                  <a:cubicBezTo>
                    <a:pt x="1018" y="171"/>
                    <a:pt x="1019" y="164"/>
                    <a:pt x="1016" y="159"/>
                  </a:cubicBezTo>
                  <a:cubicBezTo>
                    <a:pt x="1011" y="149"/>
                    <a:pt x="999" y="142"/>
                    <a:pt x="992" y="135"/>
                  </a:cubicBezTo>
                  <a:cubicBezTo>
                    <a:pt x="988" y="131"/>
                    <a:pt x="989" y="127"/>
                    <a:pt x="983" y="125"/>
                  </a:cubicBezTo>
                  <a:cubicBezTo>
                    <a:pt x="976" y="118"/>
                    <a:pt x="979" y="115"/>
                    <a:pt x="986" y="110"/>
                  </a:cubicBezTo>
                  <a:cubicBezTo>
                    <a:pt x="987" y="106"/>
                    <a:pt x="999" y="98"/>
                    <a:pt x="984" y="83"/>
                  </a:cubicBezTo>
                  <a:cubicBezTo>
                    <a:pt x="984" y="77"/>
                    <a:pt x="1009" y="76"/>
                    <a:pt x="1005" y="74"/>
                  </a:cubicBezTo>
                  <a:cubicBezTo>
                    <a:pt x="1003" y="71"/>
                    <a:pt x="981" y="63"/>
                    <a:pt x="974" y="62"/>
                  </a:cubicBezTo>
                  <a:cubicBezTo>
                    <a:pt x="967" y="61"/>
                    <a:pt x="965" y="68"/>
                    <a:pt x="960" y="70"/>
                  </a:cubicBezTo>
                  <a:cubicBezTo>
                    <a:pt x="954" y="72"/>
                    <a:pt x="949" y="75"/>
                    <a:pt x="942" y="76"/>
                  </a:cubicBezTo>
                  <a:cubicBezTo>
                    <a:pt x="927" y="75"/>
                    <a:pt x="924" y="69"/>
                    <a:pt x="918" y="56"/>
                  </a:cubicBezTo>
                  <a:cubicBezTo>
                    <a:pt x="918" y="49"/>
                    <a:pt x="918" y="43"/>
                    <a:pt x="917" y="36"/>
                  </a:cubicBezTo>
                  <a:cubicBezTo>
                    <a:pt x="916" y="31"/>
                    <a:pt x="902" y="32"/>
                    <a:pt x="902" y="32"/>
                  </a:cubicBezTo>
                  <a:cubicBezTo>
                    <a:pt x="896" y="26"/>
                    <a:pt x="889" y="24"/>
                    <a:pt x="881" y="22"/>
                  </a:cubicBezTo>
                  <a:cubicBezTo>
                    <a:pt x="877" y="17"/>
                    <a:pt x="876" y="17"/>
                    <a:pt x="870" y="15"/>
                  </a:cubicBezTo>
                  <a:cubicBezTo>
                    <a:pt x="865" y="10"/>
                    <a:pt x="860" y="12"/>
                    <a:pt x="854" y="10"/>
                  </a:cubicBezTo>
                  <a:cubicBezTo>
                    <a:pt x="838" y="0"/>
                    <a:pt x="830" y="13"/>
                    <a:pt x="816" y="16"/>
                  </a:cubicBezTo>
                  <a:cubicBezTo>
                    <a:pt x="813" y="20"/>
                    <a:pt x="809" y="22"/>
                    <a:pt x="804" y="24"/>
                  </a:cubicBezTo>
                  <a:cubicBezTo>
                    <a:pt x="798" y="33"/>
                    <a:pt x="792" y="37"/>
                    <a:pt x="784" y="42"/>
                  </a:cubicBezTo>
                  <a:cubicBezTo>
                    <a:pt x="781" y="44"/>
                    <a:pt x="774" y="47"/>
                    <a:pt x="774" y="47"/>
                  </a:cubicBezTo>
                  <a:cubicBezTo>
                    <a:pt x="767" y="54"/>
                    <a:pt x="765" y="61"/>
                    <a:pt x="760" y="69"/>
                  </a:cubicBezTo>
                  <a:cubicBezTo>
                    <a:pt x="757" y="74"/>
                    <a:pt x="759" y="71"/>
                    <a:pt x="752" y="76"/>
                  </a:cubicBezTo>
                  <a:cubicBezTo>
                    <a:pt x="751" y="77"/>
                    <a:pt x="749" y="78"/>
                    <a:pt x="749" y="78"/>
                  </a:cubicBezTo>
                  <a:cubicBezTo>
                    <a:pt x="744" y="94"/>
                    <a:pt x="740" y="93"/>
                    <a:pt x="731" y="108"/>
                  </a:cubicBezTo>
                  <a:cubicBezTo>
                    <a:pt x="721" y="116"/>
                    <a:pt x="701" y="108"/>
                    <a:pt x="688" y="112"/>
                  </a:cubicBezTo>
                  <a:cubicBezTo>
                    <a:pt x="675" y="116"/>
                    <a:pt x="661" y="128"/>
                    <a:pt x="653" y="132"/>
                  </a:cubicBezTo>
                  <a:cubicBezTo>
                    <a:pt x="649" y="134"/>
                    <a:pt x="641" y="137"/>
                    <a:pt x="641" y="137"/>
                  </a:cubicBezTo>
                  <a:cubicBezTo>
                    <a:pt x="634" y="144"/>
                    <a:pt x="632" y="152"/>
                    <a:pt x="623" y="155"/>
                  </a:cubicBezTo>
                  <a:cubicBezTo>
                    <a:pt x="613" y="154"/>
                    <a:pt x="603" y="153"/>
                    <a:pt x="593" y="152"/>
                  </a:cubicBezTo>
                  <a:cubicBezTo>
                    <a:pt x="585" y="153"/>
                    <a:pt x="587" y="156"/>
                    <a:pt x="581" y="160"/>
                  </a:cubicBezTo>
                  <a:cubicBezTo>
                    <a:pt x="568" y="158"/>
                    <a:pt x="556" y="158"/>
                    <a:pt x="543" y="155"/>
                  </a:cubicBezTo>
                  <a:cubicBezTo>
                    <a:pt x="537" y="156"/>
                    <a:pt x="538" y="158"/>
                    <a:pt x="533" y="160"/>
                  </a:cubicBezTo>
                  <a:cubicBezTo>
                    <a:pt x="527" y="167"/>
                    <a:pt x="526" y="165"/>
                    <a:pt x="515" y="164"/>
                  </a:cubicBezTo>
                  <a:cubicBezTo>
                    <a:pt x="508" y="159"/>
                    <a:pt x="507" y="150"/>
                    <a:pt x="498" y="148"/>
                  </a:cubicBezTo>
                  <a:cubicBezTo>
                    <a:pt x="490" y="137"/>
                    <a:pt x="483" y="146"/>
                    <a:pt x="474" y="149"/>
                  </a:cubicBezTo>
                  <a:cubicBezTo>
                    <a:pt x="473" y="153"/>
                    <a:pt x="472" y="155"/>
                    <a:pt x="468" y="156"/>
                  </a:cubicBezTo>
                  <a:cubicBezTo>
                    <a:pt x="463" y="164"/>
                    <a:pt x="452" y="151"/>
                    <a:pt x="446" y="147"/>
                  </a:cubicBezTo>
                  <a:cubicBezTo>
                    <a:pt x="444" y="144"/>
                    <a:pt x="438" y="140"/>
                    <a:pt x="438" y="140"/>
                  </a:cubicBezTo>
                  <a:cubicBezTo>
                    <a:pt x="433" y="133"/>
                    <a:pt x="426" y="140"/>
                    <a:pt x="420" y="142"/>
                  </a:cubicBezTo>
                  <a:cubicBezTo>
                    <a:pt x="409" y="157"/>
                    <a:pt x="413" y="155"/>
                    <a:pt x="389" y="156"/>
                  </a:cubicBezTo>
                  <a:cubicBezTo>
                    <a:pt x="385" y="160"/>
                    <a:pt x="378" y="163"/>
                    <a:pt x="372" y="165"/>
                  </a:cubicBezTo>
                  <a:cubicBezTo>
                    <a:pt x="365" y="169"/>
                    <a:pt x="356" y="172"/>
                    <a:pt x="348" y="174"/>
                  </a:cubicBezTo>
                  <a:cubicBezTo>
                    <a:pt x="346" y="176"/>
                    <a:pt x="339" y="179"/>
                    <a:pt x="339" y="179"/>
                  </a:cubicBezTo>
                  <a:cubicBezTo>
                    <a:pt x="336" y="182"/>
                    <a:pt x="327" y="186"/>
                    <a:pt x="327" y="186"/>
                  </a:cubicBezTo>
                  <a:cubicBezTo>
                    <a:pt x="323" y="190"/>
                    <a:pt x="314" y="199"/>
                    <a:pt x="311" y="201"/>
                  </a:cubicBezTo>
                  <a:cubicBezTo>
                    <a:pt x="299" y="209"/>
                    <a:pt x="275" y="222"/>
                    <a:pt x="275" y="222"/>
                  </a:cubicBezTo>
                  <a:cubicBezTo>
                    <a:pt x="272" y="231"/>
                    <a:pt x="275" y="245"/>
                    <a:pt x="264" y="249"/>
                  </a:cubicBezTo>
                  <a:cubicBezTo>
                    <a:pt x="260" y="256"/>
                    <a:pt x="259" y="262"/>
                    <a:pt x="252" y="267"/>
                  </a:cubicBezTo>
                  <a:cubicBezTo>
                    <a:pt x="252" y="268"/>
                    <a:pt x="249" y="279"/>
                    <a:pt x="245" y="278"/>
                  </a:cubicBezTo>
                  <a:cubicBezTo>
                    <a:pt x="244" y="278"/>
                    <a:pt x="245" y="276"/>
                    <a:pt x="245" y="275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1" name="Freeform 4595">
              <a:extLst>
                <a:ext uri="{FF2B5EF4-FFF2-40B4-BE49-F238E27FC236}">
                  <a16:creationId xmlns:a16="http://schemas.microsoft.com/office/drawing/2014/main" xmlns="" id="{A4A644F5-035D-4BD5-B682-111447E87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2014" y="4958017"/>
              <a:ext cx="51472" cy="30562"/>
            </a:xfrm>
            <a:custGeom>
              <a:avLst/>
              <a:gdLst/>
              <a:ahLst/>
              <a:cxnLst>
                <a:cxn ang="0">
                  <a:pos x="29" y="2"/>
                </a:cxn>
                <a:cxn ang="0">
                  <a:pos x="17" y="6"/>
                </a:cxn>
                <a:cxn ang="0">
                  <a:pos x="3" y="8"/>
                </a:cxn>
                <a:cxn ang="0">
                  <a:pos x="14" y="19"/>
                </a:cxn>
                <a:cxn ang="0">
                  <a:pos x="23" y="10"/>
                </a:cxn>
                <a:cxn ang="0">
                  <a:pos x="31" y="8"/>
                </a:cxn>
                <a:cxn ang="0">
                  <a:pos x="29" y="2"/>
                </a:cxn>
              </a:cxnLst>
              <a:rect l="0" t="0" r="r" b="b"/>
              <a:pathLst>
                <a:path w="32" h="19">
                  <a:moveTo>
                    <a:pt x="29" y="2"/>
                  </a:moveTo>
                  <a:cubicBezTo>
                    <a:pt x="20" y="0"/>
                    <a:pt x="23" y="4"/>
                    <a:pt x="17" y="6"/>
                  </a:cubicBezTo>
                  <a:cubicBezTo>
                    <a:pt x="12" y="5"/>
                    <a:pt x="8" y="6"/>
                    <a:pt x="3" y="8"/>
                  </a:cubicBezTo>
                  <a:cubicBezTo>
                    <a:pt x="0" y="19"/>
                    <a:pt x="3" y="18"/>
                    <a:pt x="14" y="19"/>
                  </a:cubicBezTo>
                  <a:cubicBezTo>
                    <a:pt x="26" y="17"/>
                    <a:pt x="15" y="15"/>
                    <a:pt x="23" y="10"/>
                  </a:cubicBezTo>
                  <a:cubicBezTo>
                    <a:pt x="25" y="9"/>
                    <a:pt x="29" y="10"/>
                    <a:pt x="31" y="8"/>
                  </a:cubicBezTo>
                  <a:cubicBezTo>
                    <a:pt x="32" y="6"/>
                    <a:pt x="30" y="4"/>
                    <a:pt x="29" y="2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2" name="Freeform 4596">
              <a:extLst>
                <a:ext uri="{FF2B5EF4-FFF2-40B4-BE49-F238E27FC236}">
                  <a16:creationId xmlns:a16="http://schemas.microsoft.com/office/drawing/2014/main" xmlns="" id="{920B42B7-6159-448B-964E-095BCDA2E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367" y="4985362"/>
              <a:ext cx="33779" cy="28953"/>
            </a:xfrm>
            <a:custGeom>
              <a:avLst/>
              <a:gdLst/>
              <a:ahLst/>
              <a:cxnLst>
                <a:cxn ang="0">
                  <a:pos x="17" y="2"/>
                </a:cxn>
                <a:cxn ang="0">
                  <a:pos x="8" y="7"/>
                </a:cxn>
                <a:cxn ang="0">
                  <a:pos x="0" y="17"/>
                </a:cxn>
                <a:cxn ang="0">
                  <a:pos x="10" y="13"/>
                </a:cxn>
                <a:cxn ang="0">
                  <a:pos x="19" y="5"/>
                </a:cxn>
                <a:cxn ang="0">
                  <a:pos x="17" y="2"/>
                </a:cxn>
              </a:cxnLst>
              <a:rect l="0" t="0" r="r" b="b"/>
              <a:pathLst>
                <a:path w="21" h="18">
                  <a:moveTo>
                    <a:pt x="17" y="2"/>
                  </a:moveTo>
                  <a:cubicBezTo>
                    <a:pt x="13" y="3"/>
                    <a:pt x="12" y="6"/>
                    <a:pt x="8" y="7"/>
                  </a:cubicBezTo>
                  <a:cubicBezTo>
                    <a:pt x="6" y="13"/>
                    <a:pt x="3" y="11"/>
                    <a:pt x="0" y="17"/>
                  </a:cubicBezTo>
                  <a:cubicBezTo>
                    <a:pt x="6" y="18"/>
                    <a:pt x="5" y="16"/>
                    <a:pt x="10" y="13"/>
                  </a:cubicBezTo>
                  <a:cubicBezTo>
                    <a:pt x="13" y="9"/>
                    <a:pt x="15" y="9"/>
                    <a:pt x="19" y="5"/>
                  </a:cubicBezTo>
                  <a:cubicBezTo>
                    <a:pt x="20" y="0"/>
                    <a:pt x="21" y="1"/>
                    <a:pt x="17" y="2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3" name="Freeform 4597">
              <a:extLst>
                <a:ext uri="{FF2B5EF4-FFF2-40B4-BE49-F238E27FC236}">
                  <a16:creationId xmlns:a16="http://schemas.microsoft.com/office/drawing/2014/main" xmlns="" id="{3E707ADA-14E0-4E64-AA70-A64F4F9DB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9920" y="5059353"/>
              <a:ext cx="33779" cy="38604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3" y="16"/>
                </a:cxn>
                <a:cxn ang="0">
                  <a:pos x="12" y="21"/>
                </a:cxn>
                <a:cxn ang="0">
                  <a:pos x="21" y="4"/>
                </a:cxn>
                <a:cxn ang="0">
                  <a:pos x="9" y="0"/>
                </a:cxn>
                <a:cxn ang="0">
                  <a:pos x="12" y="5"/>
                </a:cxn>
              </a:cxnLst>
              <a:rect l="0" t="0" r="r" b="b"/>
              <a:pathLst>
                <a:path w="21" h="24">
                  <a:moveTo>
                    <a:pt x="12" y="5"/>
                  </a:moveTo>
                  <a:cubicBezTo>
                    <a:pt x="11" y="9"/>
                    <a:pt x="7" y="13"/>
                    <a:pt x="3" y="16"/>
                  </a:cubicBezTo>
                  <a:cubicBezTo>
                    <a:pt x="0" y="24"/>
                    <a:pt x="4" y="22"/>
                    <a:pt x="12" y="21"/>
                  </a:cubicBezTo>
                  <a:cubicBezTo>
                    <a:pt x="16" y="14"/>
                    <a:pt x="19" y="14"/>
                    <a:pt x="21" y="4"/>
                  </a:cubicBezTo>
                  <a:cubicBezTo>
                    <a:pt x="21" y="1"/>
                    <a:pt x="10" y="0"/>
                    <a:pt x="9" y="0"/>
                  </a:cubicBezTo>
                  <a:cubicBezTo>
                    <a:pt x="8" y="0"/>
                    <a:pt x="13" y="2"/>
                    <a:pt x="12" y="5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4" name="Freeform 4598">
              <a:extLst>
                <a:ext uri="{FF2B5EF4-FFF2-40B4-BE49-F238E27FC236}">
                  <a16:creationId xmlns:a16="http://schemas.microsoft.com/office/drawing/2014/main" xmlns="" id="{9186AA49-3600-496F-BB96-1020FB657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5687" y="1417681"/>
              <a:ext cx="513115" cy="423039"/>
            </a:xfrm>
            <a:custGeom>
              <a:avLst/>
              <a:gdLst/>
              <a:ahLst/>
              <a:cxnLst>
                <a:cxn ang="0">
                  <a:pos x="61" y="199"/>
                </a:cxn>
                <a:cxn ang="0">
                  <a:pos x="74" y="228"/>
                </a:cxn>
                <a:cxn ang="0">
                  <a:pos x="95" y="245"/>
                </a:cxn>
                <a:cxn ang="0">
                  <a:pos x="139" y="263"/>
                </a:cxn>
                <a:cxn ang="0">
                  <a:pos x="158" y="252"/>
                </a:cxn>
                <a:cxn ang="0">
                  <a:pos x="197" y="256"/>
                </a:cxn>
                <a:cxn ang="0">
                  <a:pos x="207" y="249"/>
                </a:cxn>
                <a:cxn ang="0">
                  <a:pos x="247" y="245"/>
                </a:cxn>
                <a:cxn ang="0">
                  <a:pos x="275" y="238"/>
                </a:cxn>
                <a:cxn ang="0">
                  <a:pos x="307" y="216"/>
                </a:cxn>
                <a:cxn ang="0">
                  <a:pos x="311" y="208"/>
                </a:cxn>
                <a:cxn ang="0">
                  <a:pos x="314" y="179"/>
                </a:cxn>
                <a:cxn ang="0">
                  <a:pos x="299" y="145"/>
                </a:cxn>
                <a:cxn ang="0">
                  <a:pos x="293" y="109"/>
                </a:cxn>
                <a:cxn ang="0">
                  <a:pos x="281" y="97"/>
                </a:cxn>
                <a:cxn ang="0">
                  <a:pos x="259" y="89"/>
                </a:cxn>
                <a:cxn ang="0">
                  <a:pos x="242" y="97"/>
                </a:cxn>
                <a:cxn ang="0">
                  <a:pos x="220" y="89"/>
                </a:cxn>
                <a:cxn ang="0">
                  <a:pos x="207" y="79"/>
                </a:cxn>
                <a:cxn ang="0">
                  <a:pos x="191" y="70"/>
                </a:cxn>
                <a:cxn ang="0">
                  <a:pos x="166" y="82"/>
                </a:cxn>
                <a:cxn ang="0">
                  <a:pos x="153" y="71"/>
                </a:cxn>
                <a:cxn ang="0">
                  <a:pos x="137" y="63"/>
                </a:cxn>
                <a:cxn ang="0">
                  <a:pos x="127" y="82"/>
                </a:cxn>
                <a:cxn ang="0">
                  <a:pos x="106" y="95"/>
                </a:cxn>
                <a:cxn ang="0">
                  <a:pos x="103" y="88"/>
                </a:cxn>
                <a:cxn ang="0">
                  <a:pos x="106" y="65"/>
                </a:cxn>
                <a:cxn ang="0">
                  <a:pos x="113" y="46"/>
                </a:cxn>
                <a:cxn ang="0">
                  <a:pos x="83" y="0"/>
                </a:cxn>
                <a:cxn ang="0">
                  <a:pos x="85" y="25"/>
                </a:cxn>
                <a:cxn ang="0">
                  <a:pos x="70" y="21"/>
                </a:cxn>
                <a:cxn ang="0">
                  <a:pos x="53" y="18"/>
                </a:cxn>
                <a:cxn ang="0">
                  <a:pos x="56" y="34"/>
                </a:cxn>
                <a:cxn ang="0">
                  <a:pos x="46" y="35"/>
                </a:cxn>
                <a:cxn ang="0">
                  <a:pos x="37" y="25"/>
                </a:cxn>
                <a:cxn ang="0">
                  <a:pos x="26" y="40"/>
                </a:cxn>
                <a:cxn ang="0">
                  <a:pos x="16" y="42"/>
                </a:cxn>
                <a:cxn ang="0">
                  <a:pos x="29" y="61"/>
                </a:cxn>
                <a:cxn ang="0">
                  <a:pos x="82" y="79"/>
                </a:cxn>
                <a:cxn ang="0">
                  <a:pos x="75" y="99"/>
                </a:cxn>
                <a:cxn ang="0">
                  <a:pos x="47" y="99"/>
                </a:cxn>
                <a:cxn ang="0">
                  <a:pos x="9" y="94"/>
                </a:cxn>
                <a:cxn ang="0">
                  <a:pos x="43" y="115"/>
                </a:cxn>
                <a:cxn ang="0">
                  <a:pos x="41" y="159"/>
                </a:cxn>
                <a:cxn ang="0">
                  <a:pos x="62" y="160"/>
                </a:cxn>
                <a:cxn ang="0">
                  <a:pos x="29" y="173"/>
                </a:cxn>
                <a:cxn ang="0">
                  <a:pos x="8" y="173"/>
                </a:cxn>
                <a:cxn ang="0">
                  <a:pos x="26" y="185"/>
                </a:cxn>
                <a:cxn ang="0">
                  <a:pos x="28" y="187"/>
                </a:cxn>
              </a:cxnLst>
              <a:rect l="0" t="0" r="r" b="b"/>
              <a:pathLst>
                <a:path w="319" h="263">
                  <a:moveTo>
                    <a:pt x="51" y="195"/>
                  </a:moveTo>
                  <a:cubicBezTo>
                    <a:pt x="54" y="197"/>
                    <a:pt x="61" y="199"/>
                    <a:pt x="61" y="199"/>
                  </a:cubicBezTo>
                  <a:cubicBezTo>
                    <a:pt x="64" y="203"/>
                    <a:pt x="64" y="207"/>
                    <a:pt x="67" y="211"/>
                  </a:cubicBezTo>
                  <a:cubicBezTo>
                    <a:pt x="69" y="217"/>
                    <a:pt x="68" y="224"/>
                    <a:pt x="74" y="228"/>
                  </a:cubicBezTo>
                  <a:cubicBezTo>
                    <a:pt x="76" y="233"/>
                    <a:pt x="78" y="232"/>
                    <a:pt x="82" y="235"/>
                  </a:cubicBezTo>
                  <a:cubicBezTo>
                    <a:pt x="84" y="241"/>
                    <a:pt x="90" y="243"/>
                    <a:pt x="95" y="245"/>
                  </a:cubicBezTo>
                  <a:cubicBezTo>
                    <a:pt x="101" y="247"/>
                    <a:pt x="103" y="254"/>
                    <a:pt x="109" y="256"/>
                  </a:cubicBezTo>
                  <a:cubicBezTo>
                    <a:pt x="118" y="259"/>
                    <a:pt x="129" y="261"/>
                    <a:pt x="139" y="263"/>
                  </a:cubicBezTo>
                  <a:cubicBezTo>
                    <a:pt x="141" y="263"/>
                    <a:pt x="164" y="260"/>
                    <a:pt x="149" y="255"/>
                  </a:cubicBezTo>
                  <a:cubicBezTo>
                    <a:pt x="152" y="251"/>
                    <a:pt x="153" y="250"/>
                    <a:pt x="158" y="252"/>
                  </a:cubicBezTo>
                  <a:cubicBezTo>
                    <a:pt x="162" y="258"/>
                    <a:pt x="169" y="256"/>
                    <a:pt x="176" y="257"/>
                  </a:cubicBezTo>
                  <a:cubicBezTo>
                    <a:pt x="185" y="255"/>
                    <a:pt x="186" y="255"/>
                    <a:pt x="197" y="256"/>
                  </a:cubicBezTo>
                  <a:cubicBezTo>
                    <a:pt x="199" y="256"/>
                    <a:pt x="201" y="256"/>
                    <a:pt x="203" y="255"/>
                  </a:cubicBezTo>
                  <a:cubicBezTo>
                    <a:pt x="205" y="254"/>
                    <a:pt x="205" y="250"/>
                    <a:pt x="207" y="249"/>
                  </a:cubicBezTo>
                  <a:cubicBezTo>
                    <a:pt x="215" y="246"/>
                    <a:pt x="221" y="245"/>
                    <a:pt x="229" y="244"/>
                  </a:cubicBezTo>
                  <a:cubicBezTo>
                    <a:pt x="235" y="242"/>
                    <a:pt x="241" y="244"/>
                    <a:pt x="247" y="245"/>
                  </a:cubicBezTo>
                  <a:cubicBezTo>
                    <a:pt x="254" y="250"/>
                    <a:pt x="254" y="250"/>
                    <a:pt x="259" y="243"/>
                  </a:cubicBezTo>
                  <a:cubicBezTo>
                    <a:pt x="260" y="239"/>
                    <a:pt x="270" y="241"/>
                    <a:pt x="275" y="238"/>
                  </a:cubicBezTo>
                  <a:cubicBezTo>
                    <a:pt x="279" y="231"/>
                    <a:pt x="278" y="228"/>
                    <a:pt x="279" y="219"/>
                  </a:cubicBezTo>
                  <a:cubicBezTo>
                    <a:pt x="290" y="225"/>
                    <a:pt x="297" y="218"/>
                    <a:pt x="307" y="216"/>
                  </a:cubicBezTo>
                  <a:cubicBezTo>
                    <a:pt x="304" y="211"/>
                    <a:pt x="300" y="206"/>
                    <a:pt x="295" y="203"/>
                  </a:cubicBezTo>
                  <a:cubicBezTo>
                    <a:pt x="298" y="193"/>
                    <a:pt x="305" y="206"/>
                    <a:pt x="311" y="208"/>
                  </a:cubicBezTo>
                  <a:cubicBezTo>
                    <a:pt x="319" y="206"/>
                    <a:pt x="319" y="198"/>
                    <a:pt x="311" y="195"/>
                  </a:cubicBezTo>
                  <a:cubicBezTo>
                    <a:pt x="309" y="189"/>
                    <a:pt x="308" y="183"/>
                    <a:pt x="314" y="179"/>
                  </a:cubicBezTo>
                  <a:cubicBezTo>
                    <a:pt x="318" y="171"/>
                    <a:pt x="318" y="164"/>
                    <a:pt x="311" y="159"/>
                  </a:cubicBezTo>
                  <a:cubicBezTo>
                    <a:pt x="308" y="149"/>
                    <a:pt x="307" y="150"/>
                    <a:pt x="299" y="145"/>
                  </a:cubicBezTo>
                  <a:cubicBezTo>
                    <a:pt x="296" y="134"/>
                    <a:pt x="301" y="116"/>
                    <a:pt x="305" y="105"/>
                  </a:cubicBezTo>
                  <a:cubicBezTo>
                    <a:pt x="301" y="96"/>
                    <a:pt x="299" y="107"/>
                    <a:pt x="293" y="109"/>
                  </a:cubicBezTo>
                  <a:cubicBezTo>
                    <a:pt x="288" y="108"/>
                    <a:pt x="287" y="107"/>
                    <a:pt x="285" y="103"/>
                  </a:cubicBezTo>
                  <a:cubicBezTo>
                    <a:pt x="284" y="101"/>
                    <a:pt x="281" y="97"/>
                    <a:pt x="281" y="97"/>
                  </a:cubicBezTo>
                  <a:cubicBezTo>
                    <a:pt x="278" y="87"/>
                    <a:pt x="277" y="83"/>
                    <a:pt x="272" y="75"/>
                  </a:cubicBezTo>
                  <a:cubicBezTo>
                    <a:pt x="260" y="77"/>
                    <a:pt x="265" y="81"/>
                    <a:pt x="259" y="89"/>
                  </a:cubicBezTo>
                  <a:cubicBezTo>
                    <a:pt x="254" y="96"/>
                    <a:pt x="251" y="95"/>
                    <a:pt x="245" y="99"/>
                  </a:cubicBezTo>
                  <a:cubicBezTo>
                    <a:pt x="244" y="98"/>
                    <a:pt x="242" y="98"/>
                    <a:pt x="242" y="97"/>
                  </a:cubicBezTo>
                  <a:cubicBezTo>
                    <a:pt x="242" y="95"/>
                    <a:pt x="244" y="91"/>
                    <a:pt x="244" y="91"/>
                  </a:cubicBezTo>
                  <a:cubicBezTo>
                    <a:pt x="239" y="90"/>
                    <a:pt x="225" y="85"/>
                    <a:pt x="220" y="89"/>
                  </a:cubicBezTo>
                  <a:cubicBezTo>
                    <a:pt x="210" y="96"/>
                    <a:pt x="234" y="99"/>
                    <a:pt x="219" y="96"/>
                  </a:cubicBezTo>
                  <a:cubicBezTo>
                    <a:pt x="217" y="89"/>
                    <a:pt x="214" y="83"/>
                    <a:pt x="207" y="79"/>
                  </a:cubicBezTo>
                  <a:cubicBezTo>
                    <a:pt x="200" y="84"/>
                    <a:pt x="205" y="97"/>
                    <a:pt x="202" y="106"/>
                  </a:cubicBezTo>
                  <a:cubicBezTo>
                    <a:pt x="196" y="95"/>
                    <a:pt x="200" y="79"/>
                    <a:pt x="191" y="70"/>
                  </a:cubicBezTo>
                  <a:cubicBezTo>
                    <a:pt x="183" y="72"/>
                    <a:pt x="183" y="77"/>
                    <a:pt x="175" y="71"/>
                  </a:cubicBezTo>
                  <a:cubicBezTo>
                    <a:pt x="171" y="74"/>
                    <a:pt x="170" y="78"/>
                    <a:pt x="166" y="82"/>
                  </a:cubicBezTo>
                  <a:cubicBezTo>
                    <a:pt x="164" y="87"/>
                    <a:pt x="164" y="90"/>
                    <a:pt x="161" y="94"/>
                  </a:cubicBezTo>
                  <a:cubicBezTo>
                    <a:pt x="159" y="86"/>
                    <a:pt x="155" y="79"/>
                    <a:pt x="153" y="71"/>
                  </a:cubicBezTo>
                  <a:cubicBezTo>
                    <a:pt x="152" y="63"/>
                    <a:pt x="153" y="61"/>
                    <a:pt x="149" y="55"/>
                  </a:cubicBezTo>
                  <a:cubicBezTo>
                    <a:pt x="145" y="58"/>
                    <a:pt x="137" y="63"/>
                    <a:pt x="137" y="63"/>
                  </a:cubicBezTo>
                  <a:cubicBezTo>
                    <a:pt x="134" y="73"/>
                    <a:pt x="133" y="83"/>
                    <a:pt x="130" y="93"/>
                  </a:cubicBezTo>
                  <a:cubicBezTo>
                    <a:pt x="124" y="89"/>
                    <a:pt x="125" y="89"/>
                    <a:pt x="127" y="82"/>
                  </a:cubicBezTo>
                  <a:cubicBezTo>
                    <a:pt x="124" y="78"/>
                    <a:pt x="118" y="84"/>
                    <a:pt x="112" y="85"/>
                  </a:cubicBezTo>
                  <a:cubicBezTo>
                    <a:pt x="110" y="90"/>
                    <a:pt x="111" y="93"/>
                    <a:pt x="106" y="95"/>
                  </a:cubicBezTo>
                  <a:cubicBezTo>
                    <a:pt x="102" y="98"/>
                    <a:pt x="98" y="101"/>
                    <a:pt x="95" y="106"/>
                  </a:cubicBezTo>
                  <a:cubicBezTo>
                    <a:pt x="100" y="118"/>
                    <a:pt x="98" y="96"/>
                    <a:pt x="103" y="88"/>
                  </a:cubicBezTo>
                  <a:cubicBezTo>
                    <a:pt x="100" y="78"/>
                    <a:pt x="102" y="82"/>
                    <a:pt x="98" y="76"/>
                  </a:cubicBezTo>
                  <a:cubicBezTo>
                    <a:pt x="97" y="66"/>
                    <a:pt x="96" y="63"/>
                    <a:pt x="106" y="65"/>
                  </a:cubicBezTo>
                  <a:cubicBezTo>
                    <a:pt x="113" y="64"/>
                    <a:pt x="109" y="62"/>
                    <a:pt x="115" y="60"/>
                  </a:cubicBezTo>
                  <a:cubicBezTo>
                    <a:pt x="117" y="54"/>
                    <a:pt x="119" y="50"/>
                    <a:pt x="113" y="46"/>
                  </a:cubicBezTo>
                  <a:cubicBezTo>
                    <a:pt x="110" y="38"/>
                    <a:pt x="112" y="27"/>
                    <a:pt x="106" y="21"/>
                  </a:cubicBezTo>
                  <a:cubicBezTo>
                    <a:pt x="102" y="10"/>
                    <a:pt x="94" y="4"/>
                    <a:pt x="83" y="0"/>
                  </a:cubicBezTo>
                  <a:cubicBezTo>
                    <a:pt x="81" y="5"/>
                    <a:pt x="79" y="10"/>
                    <a:pt x="85" y="12"/>
                  </a:cubicBezTo>
                  <a:cubicBezTo>
                    <a:pt x="90" y="19"/>
                    <a:pt x="81" y="10"/>
                    <a:pt x="85" y="25"/>
                  </a:cubicBezTo>
                  <a:cubicBezTo>
                    <a:pt x="84" y="28"/>
                    <a:pt x="85" y="31"/>
                    <a:pt x="83" y="34"/>
                  </a:cubicBezTo>
                  <a:cubicBezTo>
                    <a:pt x="82" y="36"/>
                    <a:pt x="72" y="23"/>
                    <a:pt x="70" y="21"/>
                  </a:cubicBezTo>
                  <a:cubicBezTo>
                    <a:pt x="69" y="17"/>
                    <a:pt x="65" y="16"/>
                    <a:pt x="63" y="12"/>
                  </a:cubicBezTo>
                  <a:cubicBezTo>
                    <a:pt x="56" y="14"/>
                    <a:pt x="61" y="16"/>
                    <a:pt x="53" y="18"/>
                  </a:cubicBezTo>
                  <a:cubicBezTo>
                    <a:pt x="44" y="12"/>
                    <a:pt x="52" y="28"/>
                    <a:pt x="55" y="31"/>
                  </a:cubicBezTo>
                  <a:cubicBezTo>
                    <a:pt x="55" y="32"/>
                    <a:pt x="57" y="34"/>
                    <a:pt x="56" y="34"/>
                  </a:cubicBezTo>
                  <a:cubicBezTo>
                    <a:pt x="51" y="31"/>
                    <a:pt x="44" y="22"/>
                    <a:pt x="44" y="22"/>
                  </a:cubicBezTo>
                  <a:cubicBezTo>
                    <a:pt x="45" y="26"/>
                    <a:pt x="45" y="31"/>
                    <a:pt x="46" y="35"/>
                  </a:cubicBezTo>
                  <a:cubicBezTo>
                    <a:pt x="46" y="37"/>
                    <a:pt x="50" y="44"/>
                    <a:pt x="49" y="42"/>
                  </a:cubicBezTo>
                  <a:cubicBezTo>
                    <a:pt x="47" y="33"/>
                    <a:pt x="44" y="29"/>
                    <a:pt x="37" y="25"/>
                  </a:cubicBezTo>
                  <a:cubicBezTo>
                    <a:pt x="35" y="31"/>
                    <a:pt x="37" y="39"/>
                    <a:pt x="31" y="41"/>
                  </a:cubicBezTo>
                  <a:cubicBezTo>
                    <a:pt x="29" y="41"/>
                    <a:pt x="27" y="41"/>
                    <a:pt x="26" y="40"/>
                  </a:cubicBezTo>
                  <a:cubicBezTo>
                    <a:pt x="25" y="39"/>
                    <a:pt x="26" y="37"/>
                    <a:pt x="25" y="37"/>
                  </a:cubicBezTo>
                  <a:cubicBezTo>
                    <a:pt x="22" y="37"/>
                    <a:pt x="19" y="41"/>
                    <a:pt x="16" y="42"/>
                  </a:cubicBezTo>
                  <a:cubicBezTo>
                    <a:pt x="21" y="47"/>
                    <a:pt x="22" y="45"/>
                    <a:pt x="21" y="53"/>
                  </a:cubicBezTo>
                  <a:cubicBezTo>
                    <a:pt x="22" y="59"/>
                    <a:pt x="23" y="60"/>
                    <a:pt x="29" y="61"/>
                  </a:cubicBezTo>
                  <a:cubicBezTo>
                    <a:pt x="40" y="60"/>
                    <a:pt x="50" y="59"/>
                    <a:pt x="61" y="60"/>
                  </a:cubicBezTo>
                  <a:cubicBezTo>
                    <a:pt x="65" y="66"/>
                    <a:pt x="75" y="77"/>
                    <a:pt x="82" y="79"/>
                  </a:cubicBezTo>
                  <a:cubicBezTo>
                    <a:pt x="85" y="89"/>
                    <a:pt x="63" y="86"/>
                    <a:pt x="53" y="87"/>
                  </a:cubicBezTo>
                  <a:cubicBezTo>
                    <a:pt x="60" y="92"/>
                    <a:pt x="66" y="95"/>
                    <a:pt x="75" y="99"/>
                  </a:cubicBezTo>
                  <a:cubicBezTo>
                    <a:pt x="80" y="106"/>
                    <a:pt x="74" y="105"/>
                    <a:pt x="67" y="106"/>
                  </a:cubicBezTo>
                  <a:cubicBezTo>
                    <a:pt x="52" y="105"/>
                    <a:pt x="57" y="102"/>
                    <a:pt x="47" y="99"/>
                  </a:cubicBezTo>
                  <a:cubicBezTo>
                    <a:pt x="41" y="95"/>
                    <a:pt x="33" y="94"/>
                    <a:pt x="26" y="93"/>
                  </a:cubicBezTo>
                  <a:cubicBezTo>
                    <a:pt x="20" y="93"/>
                    <a:pt x="15" y="93"/>
                    <a:pt x="9" y="94"/>
                  </a:cubicBezTo>
                  <a:cubicBezTo>
                    <a:pt x="6" y="95"/>
                    <a:pt x="18" y="101"/>
                    <a:pt x="20" y="102"/>
                  </a:cubicBezTo>
                  <a:cubicBezTo>
                    <a:pt x="28" y="104"/>
                    <a:pt x="36" y="111"/>
                    <a:pt x="43" y="115"/>
                  </a:cubicBezTo>
                  <a:cubicBezTo>
                    <a:pt x="48" y="122"/>
                    <a:pt x="48" y="125"/>
                    <a:pt x="43" y="132"/>
                  </a:cubicBezTo>
                  <a:cubicBezTo>
                    <a:pt x="46" y="141"/>
                    <a:pt x="47" y="150"/>
                    <a:pt x="41" y="159"/>
                  </a:cubicBezTo>
                  <a:cubicBezTo>
                    <a:pt x="44" y="164"/>
                    <a:pt x="45" y="164"/>
                    <a:pt x="50" y="160"/>
                  </a:cubicBezTo>
                  <a:cubicBezTo>
                    <a:pt x="53" y="152"/>
                    <a:pt x="57" y="158"/>
                    <a:pt x="62" y="160"/>
                  </a:cubicBezTo>
                  <a:cubicBezTo>
                    <a:pt x="60" y="171"/>
                    <a:pt x="52" y="166"/>
                    <a:pt x="39" y="167"/>
                  </a:cubicBezTo>
                  <a:cubicBezTo>
                    <a:pt x="34" y="169"/>
                    <a:pt x="34" y="172"/>
                    <a:pt x="29" y="173"/>
                  </a:cubicBezTo>
                  <a:cubicBezTo>
                    <a:pt x="21" y="172"/>
                    <a:pt x="22" y="169"/>
                    <a:pt x="16" y="167"/>
                  </a:cubicBezTo>
                  <a:cubicBezTo>
                    <a:pt x="12" y="167"/>
                    <a:pt x="0" y="168"/>
                    <a:pt x="8" y="173"/>
                  </a:cubicBezTo>
                  <a:cubicBezTo>
                    <a:pt x="12" y="181"/>
                    <a:pt x="9" y="180"/>
                    <a:pt x="20" y="181"/>
                  </a:cubicBezTo>
                  <a:cubicBezTo>
                    <a:pt x="22" y="182"/>
                    <a:pt x="25" y="183"/>
                    <a:pt x="26" y="185"/>
                  </a:cubicBezTo>
                  <a:cubicBezTo>
                    <a:pt x="26" y="186"/>
                    <a:pt x="26" y="188"/>
                    <a:pt x="27" y="189"/>
                  </a:cubicBezTo>
                  <a:cubicBezTo>
                    <a:pt x="28" y="190"/>
                    <a:pt x="28" y="188"/>
                    <a:pt x="28" y="187"/>
                  </a:cubicBezTo>
                  <a:lnTo>
                    <a:pt x="51" y="19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75" name="Group 10">
            <a:extLst>
              <a:ext uri="{FF2B5EF4-FFF2-40B4-BE49-F238E27FC236}">
                <a16:creationId xmlns:a16="http://schemas.microsoft.com/office/drawing/2014/main" xmlns="" id="{B41841C8-A065-4E22-9668-FF8D91D67D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94489" y="1993528"/>
            <a:ext cx="606908" cy="680897"/>
            <a:chOff x="3316" y="1341"/>
            <a:chExt cx="2346" cy="2632"/>
          </a:xfrm>
          <a:solidFill>
            <a:schemeClr val="accent5"/>
          </a:solidFill>
        </p:grpSpPr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xmlns="" id="{E5643A87-127C-4459-9E58-B0BFC2E4B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9" y="1341"/>
              <a:ext cx="1300" cy="1531"/>
            </a:xfrm>
            <a:custGeom>
              <a:avLst/>
              <a:gdLst>
                <a:gd name="T0" fmla="*/ 1560 w 2600"/>
                <a:gd name="T1" fmla="*/ 16 h 3064"/>
                <a:gd name="T2" fmla="*/ 1837 w 2600"/>
                <a:gd name="T3" fmla="*/ 101 h 3064"/>
                <a:gd name="T4" fmla="*/ 2100 w 2600"/>
                <a:gd name="T5" fmla="*/ 254 h 3064"/>
                <a:gd name="T6" fmla="*/ 2245 w 2600"/>
                <a:gd name="T7" fmla="*/ 404 h 3064"/>
                <a:gd name="T8" fmla="*/ 2341 w 2600"/>
                <a:gd name="T9" fmla="*/ 583 h 3064"/>
                <a:gd name="T10" fmla="*/ 2399 w 2600"/>
                <a:gd name="T11" fmla="*/ 773 h 3064"/>
                <a:gd name="T12" fmla="*/ 2424 w 2600"/>
                <a:gd name="T13" fmla="*/ 953 h 3064"/>
                <a:gd name="T14" fmla="*/ 2431 w 2600"/>
                <a:gd name="T15" fmla="*/ 1106 h 3064"/>
                <a:gd name="T16" fmla="*/ 2427 w 2600"/>
                <a:gd name="T17" fmla="*/ 1210 h 3064"/>
                <a:gd name="T18" fmla="*/ 2440 w 2600"/>
                <a:gd name="T19" fmla="*/ 1359 h 3064"/>
                <a:gd name="T20" fmla="*/ 2469 w 2600"/>
                <a:gd name="T21" fmla="*/ 1475 h 3064"/>
                <a:gd name="T22" fmla="*/ 2541 w 2600"/>
                <a:gd name="T23" fmla="*/ 1555 h 3064"/>
                <a:gd name="T24" fmla="*/ 2595 w 2600"/>
                <a:gd name="T25" fmla="*/ 1705 h 3064"/>
                <a:gd name="T26" fmla="*/ 2590 w 2600"/>
                <a:gd name="T27" fmla="*/ 1890 h 3064"/>
                <a:gd name="T28" fmla="*/ 2530 w 2600"/>
                <a:gd name="T29" fmla="*/ 2088 h 3064"/>
                <a:gd name="T30" fmla="*/ 2443 w 2600"/>
                <a:gd name="T31" fmla="*/ 2224 h 3064"/>
                <a:gd name="T32" fmla="*/ 2344 w 2600"/>
                <a:gd name="T33" fmla="*/ 2305 h 3064"/>
                <a:gd name="T34" fmla="*/ 2252 w 2600"/>
                <a:gd name="T35" fmla="*/ 2345 h 3064"/>
                <a:gd name="T36" fmla="*/ 2178 w 2600"/>
                <a:gd name="T37" fmla="*/ 2398 h 3064"/>
                <a:gd name="T38" fmla="*/ 2092 w 2600"/>
                <a:gd name="T39" fmla="*/ 2554 h 3064"/>
                <a:gd name="T40" fmla="*/ 1982 w 2600"/>
                <a:gd name="T41" fmla="*/ 2725 h 3064"/>
                <a:gd name="T42" fmla="*/ 1859 w 2600"/>
                <a:gd name="T43" fmla="*/ 2869 h 3064"/>
                <a:gd name="T44" fmla="*/ 1709 w 2600"/>
                <a:gd name="T45" fmla="*/ 2971 h 3064"/>
                <a:gd name="T46" fmla="*/ 1476 w 2600"/>
                <a:gd name="T47" fmla="*/ 3048 h 3064"/>
                <a:gd name="T48" fmla="*/ 1211 w 2600"/>
                <a:gd name="T49" fmla="*/ 3060 h 3064"/>
                <a:gd name="T50" fmla="*/ 953 w 2600"/>
                <a:gd name="T51" fmla="*/ 2998 h 3064"/>
                <a:gd name="T52" fmla="*/ 784 w 2600"/>
                <a:gd name="T53" fmla="*/ 2906 h 3064"/>
                <a:gd name="T54" fmla="*/ 658 w 2600"/>
                <a:gd name="T55" fmla="*/ 2778 h 3064"/>
                <a:gd name="T56" fmla="*/ 541 w 2600"/>
                <a:gd name="T57" fmla="*/ 2612 h 3064"/>
                <a:gd name="T58" fmla="*/ 447 w 2600"/>
                <a:gd name="T59" fmla="*/ 2446 h 3064"/>
                <a:gd name="T60" fmla="*/ 375 w 2600"/>
                <a:gd name="T61" fmla="*/ 2353 h 3064"/>
                <a:gd name="T62" fmla="*/ 287 w 2600"/>
                <a:gd name="T63" fmla="*/ 2323 h 3064"/>
                <a:gd name="T64" fmla="*/ 188 w 2600"/>
                <a:gd name="T65" fmla="*/ 2257 h 3064"/>
                <a:gd name="T66" fmla="*/ 97 w 2600"/>
                <a:gd name="T67" fmla="*/ 2141 h 3064"/>
                <a:gd name="T68" fmla="*/ 26 w 2600"/>
                <a:gd name="T69" fmla="*/ 1961 h 3064"/>
                <a:gd name="T70" fmla="*/ 0 w 2600"/>
                <a:gd name="T71" fmla="*/ 1763 h 3064"/>
                <a:gd name="T72" fmla="*/ 34 w 2600"/>
                <a:gd name="T73" fmla="*/ 1600 h 3064"/>
                <a:gd name="T74" fmla="*/ 105 w 2600"/>
                <a:gd name="T75" fmla="*/ 1498 h 3064"/>
                <a:gd name="T76" fmla="*/ 157 w 2600"/>
                <a:gd name="T77" fmla="*/ 1423 h 3064"/>
                <a:gd name="T78" fmla="*/ 147 w 2600"/>
                <a:gd name="T79" fmla="*/ 1312 h 3064"/>
                <a:gd name="T80" fmla="*/ 102 w 2600"/>
                <a:gd name="T81" fmla="*/ 1220 h 3064"/>
                <a:gd name="T82" fmla="*/ 77 w 2600"/>
                <a:gd name="T83" fmla="*/ 1091 h 3064"/>
                <a:gd name="T84" fmla="*/ 86 w 2600"/>
                <a:gd name="T85" fmla="*/ 923 h 3064"/>
                <a:gd name="T86" fmla="*/ 145 w 2600"/>
                <a:gd name="T87" fmla="*/ 727 h 3064"/>
                <a:gd name="T88" fmla="*/ 238 w 2600"/>
                <a:gd name="T89" fmla="*/ 584 h 3064"/>
                <a:gd name="T90" fmla="*/ 348 w 2600"/>
                <a:gd name="T91" fmla="*/ 497 h 3064"/>
                <a:gd name="T92" fmla="*/ 458 w 2600"/>
                <a:gd name="T93" fmla="*/ 450 h 3064"/>
                <a:gd name="T94" fmla="*/ 554 w 2600"/>
                <a:gd name="T95" fmla="*/ 434 h 3064"/>
                <a:gd name="T96" fmla="*/ 632 w 2600"/>
                <a:gd name="T97" fmla="*/ 351 h 3064"/>
                <a:gd name="T98" fmla="*/ 765 w 2600"/>
                <a:gd name="T99" fmla="*/ 211 h 3064"/>
                <a:gd name="T100" fmla="*/ 965 w 2600"/>
                <a:gd name="T101" fmla="*/ 85 h 3064"/>
                <a:gd name="T102" fmla="*/ 1201 w 2600"/>
                <a:gd name="T103" fmla="*/ 15 h 3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00" h="3064">
                  <a:moveTo>
                    <a:pt x="1372" y="0"/>
                  </a:moveTo>
                  <a:lnTo>
                    <a:pt x="1466" y="3"/>
                  </a:lnTo>
                  <a:lnTo>
                    <a:pt x="1560" y="16"/>
                  </a:lnTo>
                  <a:lnTo>
                    <a:pt x="1653" y="37"/>
                  </a:lnTo>
                  <a:lnTo>
                    <a:pt x="1746" y="64"/>
                  </a:lnTo>
                  <a:lnTo>
                    <a:pt x="1837" y="101"/>
                  </a:lnTo>
                  <a:lnTo>
                    <a:pt x="1926" y="144"/>
                  </a:lnTo>
                  <a:lnTo>
                    <a:pt x="2014" y="195"/>
                  </a:lnTo>
                  <a:lnTo>
                    <a:pt x="2100" y="254"/>
                  </a:lnTo>
                  <a:lnTo>
                    <a:pt x="2154" y="300"/>
                  </a:lnTo>
                  <a:lnTo>
                    <a:pt x="2204" y="350"/>
                  </a:lnTo>
                  <a:lnTo>
                    <a:pt x="2245" y="404"/>
                  </a:lnTo>
                  <a:lnTo>
                    <a:pt x="2282" y="462"/>
                  </a:lnTo>
                  <a:lnTo>
                    <a:pt x="2314" y="521"/>
                  </a:lnTo>
                  <a:lnTo>
                    <a:pt x="2341" y="583"/>
                  </a:lnTo>
                  <a:lnTo>
                    <a:pt x="2364" y="645"/>
                  </a:lnTo>
                  <a:lnTo>
                    <a:pt x="2383" y="709"/>
                  </a:lnTo>
                  <a:lnTo>
                    <a:pt x="2399" y="773"/>
                  </a:lnTo>
                  <a:lnTo>
                    <a:pt x="2410" y="835"/>
                  </a:lnTo>
                  <a:lnTo>
                    <a:pt x="2418" y="896"/>
                  </a:lnTo>
                  <a:lnTo>
                    <a:pt x="2424" y="953"/>
                  </a:lnTo>
                  <a:lnTo>
                    <a:pt x="2429" y="1007"/>
                  </a:lnTo>
                  <a:lnTo>
                    <a:pt x="2431" y="1059"/>
                  </a:lnTo>
                  <a:lnTo>
                    <a:pt x="2431" y="1106"/>
                  </a:lnTo>
                  <a:lnTo>
                    <a:pt x="2431" y="1146"/>
                  </a:lnTo>
                  <a:lnTo>
                    <a:pt x="2429" y="1183"/>
                  </a:lnTo>
                  <a:lnTo>
                    <a:pt x="2427" y="1210"/>
                  </a:lnTo>
                  <a:lnTo>
                    <a:pt x="2426" y="1233"/>
                  </a:lnTo>
                  <a:lnTo>
                    <a:pt x="2434" y="1298"/>
                  </a:lnTo>
                  <a:lnTo>
                    <a:pt x="2440" y="1359"/>
                  </a:lnTo>
                  <a:lnTo>
                    <a:pt x="2443" y="1411"/>
                  </a:lnTo>
                  <a:lnTo>
                    <a:pt x="2443" y="1458"/>
                  </a:lnTo>
                  <a:lnTo>
                    <a:pt x="2469" y="1475"/>
                  </a:lnTo>
                  <a:lnTo>
                    <a:pt x="2493" y="1498"/>
                  </a:lnTo>
                  <a:lnTo>
                    <a:pt x="2519" y="1523"/>
                  </a:lnTo>
                  <a:lnTo>
                    <a:pt x="2541" y="1555"/>
                  </a:lnTo>
                  <a:lnTo>
                    <a:pt x="2566" y="1600"/>
                  </a:lnTo>
                  <a:lnTo>
                    <a:pt x="2584" y="1651"/>
                  </a:lnTo>
                  <a:lnTo>
                    <a:pt x="2595" y="1705"/>
                  </a:lnTo>
                  <a:lnTo>
                    <a:pt x="2600" y="1763"/>
                  </a:lnTo>
                  <a:lnTo>
                    <a:pt x="2598" y="1825"/>
                  </a:lnTo>
                  <a:lnTo>
                    <a:pt x="2590" y="1890"/>
                  </a:lnTo>
                  <a:lnTo>
                    <a:pt x="2574" y="1961"/>
                  </a:lnTo>
                  <a:lnTo>
                    <a:pt x="2554" y="2029"/>
                  </a:lnTo>
                  <a:lnTo>
                    <a:pt x="2530" y="2088"/>
                  </a:lnTo>
                  <a:lnTo>
                    <a:pt x="2503" y="2141"/>
                  </a:lnTo>
                  <a:lnTo>
                    <a:pt x="2474" y="2186"/>
                  </a:lnTo>
                  <a:lnTo>
                    <a:pt x="2443" y="2224"/>
                  </a:lnTo>
                  <a:lnTo>
                    <a:pt x="2410" y="2257"/>
                  </a:lnTo>
                  <a:lnTo>
                    <a:pt x="2378" y="2285"/>
                  </a:lnTo>
                  <a:lnTo>
                    <a:pt x="2344" y="2305"/>
                  </a:lnTo>
                  <a:lnTo>
                    <a:pt x="2313" y="2323"/>
                  </a:lnTo>
                  <a:lnTo>
                    <a:pt x="2282" y="2336"/>
                  </a:lnTo>
                  <a:lnTo>
                    <a:pt x="2252" y="2345"/>
                  </a:lnTo>
                  <a:lnTo>
                    <a:pt x="2225" y="2353"/>
                  </a:lnTo>
                  <a:lnTo>
                    <a:pt x="2199" y="2356"/>
                  </a:lnTo>
                  <a:lnTo>
                    <a:pt x="2178" y="2398"/>
                  </a:lnTo>
                  <a:lnTo>
                    <a:pt x="2153" y="2446"/>
                  </a:lnTo>
                  <a:lnTo>
                    <a:pt x="2124" y="2499"/>
                  </a:lnTo>
                  <a:lnTo>
                    <a:pt x="2092" y="2554"/>
                  </a:lnTo>
                  <a:lnTo>
                    <a:pt x="2057" y="2612"/>
                  </a:lnTo>
                  <a:lnTo>
                    <a:pt x="2020" y="2669"/>
                  </a:lnTo>
                  <a:lnTo>
                    <a:pt x="1982" y="2725"/>
                  </a:lnTo>
                  <a:lnTo>
                    <a:pt x="1942" y="2778"/>
                  </a:lnTo>
                  <a:lnTo>
                    <a:pt x="1900" y="2826"/>
                  </a:lnTo>
                  <a:lnTo>
                    <a:pt x="1859" y="2869"/>
                  </a:lnTo>
                  <a:lnTo>
                    <a:pt x="1814" y="2906"/>
                  </a:lnTo>
                  <a:lnTo>
                    <a:pt x="1765" y="2939"/>
                  </a:lnTo>
                  <a:lnTo>
                    <a:pt x="1709" y="2971"/>
                  </a:lnTo>
                  <a:lnTo>
                    <a:pt x="1647" y="2998"/>
                  </a:lnTo>
                  <a:lnTo>
                    <a:pt x="1562" y="3027"/>
                  </a:lnTo>
                  <a:lnTo>
                    <a:pt x="1476" y="3048"/>
                  </a:lnTo>
                  <a:lnTo>
                    <a:pt x="1389" y="3060"/>
                  </a:lnTo>
                  <a:lnTo>
                    <a:pt x="1298" y="3064"/>
                  </a:lnTo>
                  <a:lnTo>
                    <a:pt x="1211" y="3060"/>
                  </a:lnTo>
                  <a:lnTo>
                    <a:pt x="1123" y="3048"/>
                  </a:lnTo>
                  <a:lnTo>
                    <a:pt x="1038" y="3027"/>
                  </a:lnTo>
                  <a:lnTo>
                    <a:pt x="953" y="2998"/>
                  </a:lnTo>
                  <a:lnTo>
                    <a:pt x="891" y="2971"/>
                  </a:lnTo>
                  <a:lnTo>
                    <a:pt x="835" y="2939"/>
                  </a:lnTo>
                  <a:lnTo>
                    <a:pt x="784" y="2906"/>
                  </a:lnTo>
                  <a:lnTo>
                    <a:pt x="739" y="2869"/>
                  </a:lnTo>
                  <a:lnTo>
                    <a:pt x="700" y="2826"/>
                  </a:lnTo>
                  <a:lnTo>
                    <a:pt x="658" y="2778"/>
                  </a:lnTo>
                  <a:lnTo>
                    <a:pt x="618" y="2725"/>
                  </a:lnTo>
                  <a:lnTo>
                    <a:pt x="580" y="2669"/>
                  </a:lnTo>
                  <a:lnTo>
                    <a:pt x="541" y="2612"/>
                  </a:lnTo>
                  <a:lnTo>
                    <a:pt x="508" y="2554"/>
                  </a:lnTo>
                  <a:lnTo>
                    <a:pt x="476" y="2499"/>
                  </a:lnTo>
                  <a:lnTo>
                    <a:pt x="447" y="2446"/>
                  </a:lnTo>
                  <a:lnTo>
                    <a:pt x="422" y="2398"/>
                  </a:lnTo>
                  <a:lnTo>
                    <a:pt x="401" y="2356"/>
                  </a:lnTo>
                  <a:lnTo>
                    <a:pt x="375" y="2353"/>
                  </a:lnTo>
                  <a:lnTo>
                    <a:pt x="348" y="2345"/>
                  </a:lnTo>
                  <a:lnTo>
                    <a:pt x="318" y="2336"/>
                  </a:lnTo>
                  <a:lnTo>
                    <a:pt x="287" y="2323"/>
                  </a:lnTo>
                  <a:lnTo>
                    <a:pt x="254" y="2305"/>
                  </a:lnTo>
                  <a:lnTo>
                    <a:pt x="222" y="2285"/>
                  </a:lnTo>
                  <a:lnTo>
                    <a:pt x="188" y="2257"/>
                  </a:lnTo>
                  <a:lnTo>
                    <a:pt x="157" y="2224"/>
                  </a:lnTo>
                  <a:lnTo>
                    <a:pt x="126" y="2186"/>
                  </a:lnTo>
                  <a:lnTo>
                    <a:pt x="97" y="2141"/>
                  </a:lnTo>
                  <a:lnTo>
                    <a:pt x="70" y="2088"/>
                  </a:lnTo>
                  <a:lnTo>
                    <a:pt x="46" y="2029"/>
                  </a:lnTo>
                  <a:lnTo>
                    <a:pt x="26" y="1961"/>
                  </a:lnTo>
                  <a:lnTo>
                    <a:pt x="10" y="1890"/>
                  </a:lnTo>
                  <a:lnTo>
                    <a:pt x="2" y="1825"/>
                  </a:lnTo>
                  <a:lnTo>
                    <a:pt x="0" y="1763"/>
                  </a:lnTo>
                  <a:lnTo>
                    <a:pt x="5" y="1705"/>
                  </a:lnTo>
                  <a:lnTo>
                    <a:pt x="16" y="1651"/>
                  </a:lnTo>
                  <a:lnTo>
                    <a:pt x="34" y="1600"/>
                  </a:lnTo>
                  <a:lnTo>
                    <a:pt x="59" y="1555"/>
                  </a:lnTo>
                  <a:lnTo>
                    <a:pt x="81" y="1523"/>
                  </a:lnTo>
                  <a:lnTo>
                    <a:pt x="105" y="1498"/>
                  </a:lnTo>
                  <a:lnTo>
                    <a:pt x="131" y="1475"/>
                  </a:lnTo>
                  <a:lnTo>
                    <a:pt x="157" y="1458"/>
                  </a:lnTo>
                  <a:lnTo>
                    <a:pt x="157" y="1423"/>
                  </a:lnTo>
                  <a:lnTo>
                    <a:pt x="158" y="1381"/>
                  </a:lnTo>
                  <a:lnTo>
                    <a:pt x="161" y="1335"/>
                  </a:lnTo>
                  <a:lnTo>
                    <a:pt x="147" y="1312"/>
                  </a:lnTo>
                  <a:lnTo>
                    <a:pt x="131" y="1285"/>
                  </a:lnTo>
                  <a:lnTo>
                    <a:pt x="117" y="1255"/>
                  </a:lnTo>
                  <a:lnTo>
                    <a:pt x="102" y="1220"/>
                  </a:lnTo>
                  <a:lnTo>
                    <a:pt x="91" y="1182"/>
                  </a:lnTo>
                  <a:lnTo>
                    <a:pt x="81" y="1138"/>
                  </a:lnTo>
                  <a:lnTo>
                    <a:pt x="77" y="1091"/>
                  </a:lnTo>
                  <a:lnTo>
                    <a:pt x="75" y="1039"/>
                  </a:lnTo>
                  <a:lnTo>
                    <a:pt x="77" y="982"/>
                  </a:lnTo>
                  <a:lnTo>
                    <a:pt x="86" y="923"/>
                  </a:lnTo>
                  <a:lnTo>
                    <a:pt x="101" y="857"/>
                  </a:lnTo>
                  <a:lnTo>
                    <a:pt x="121" y="787"/>
                  </a:lnTo>
                  <a:lnTo>
                    <a:pt x="145" y="727"/>
                  </a:lnTo>
                  <a:lnTo>
                    <a:pt x="174" y="672"/>
                  </a:lnTo>
                  <a:lnTo>
                    <a:pt x="204" y="624"/>
                  </a:lnTo>
                  <a:lnTo>
                    <a:pt x="238" y="584"/>
                  </a:lnTo>
                  <a:lnTo>
                    <a:pt x="273" y="549"/>
                  </a:lnTo>
                  <a:lnTo>
                    <a:pt x="310" y="521"/>
                  </a:lnTo>
                  <a:lnTo>
                    <a:pt x="348" y="497"/>
                  </a:lnTo>
                  <a:lnTo>
                    <a:pt x="385" y="478"/>
                  </a:lnTo>
                  <a:lnTo>
                    <a:pt x="422" y="463"/>
                  </a:lnTo>
                  <a:lnTo>
                    <a:pt x="458" y="450"/>
                  </a:lnTo>
                  <a:lnTo>
                    <a:pt x="492" y="442"/>
                  </a:lnTo>
                  <a:lnTo>
                    <a:pt x="525" y="438"/>
                  </a:lnTo>
                  <a:lnTo>
                    <a:pt x="554" y="434"/>
                  </a:lnTo>
                  <a:lnTo>
                    <a:pt x="581" y="433"/>
                  </a:lnTo>
                  <a:lnTo>
                    <a:pt x="604" y="393"/>
                  </a:lnTo>
                  <a:lnTo>
                    <a:pt x="632" y="351"/>
                  </a:lnTo>
                  <a:lnTo>
                    <a:pt x="669" y="305"/>
                  </a:lnTo>
                  <a:lnTo>
                    <a:pt x="712" y="259"/>
                  </a:lnTo>
                  <a:lnTo>
                    <a:pt x="765" y="211"/>
                  </a:lnTo>
                  <a:lnTo>
                    <a:pt x="827" y="163"/>
                  </a:lnTo>
                  <a:lnTo>
                    <a:pt x="893" y="120"/>
                  </a:lnTo>
                  <a:lnTo>
                    <a:pt x="965" y="85"/>
                  </a:lnTo>
                  <a:lnTo>
                    <a:pt x="1040" y="54"/>
                  </a:lnTo>
                  <a:lnTo>
                    <a:pt x="1120" y="31"/>
                  </a:lnTo>
                  <a:lnTo>
                    <a:pt x="1201" y="15"/>
                  </a:lnTo>
                  <a:lnTo>
                    <a:pt x="1286" y="3"/>
                  </a:lnTo>
                  <a:lnTo>
                    <a:pt x="1372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xmlns="" id="{5F687A00-1164-42CA-9892-0E222BEBD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6" y="2880"/>
              <a:ext cx="2346" cy="1093"/>
            </a:xfrm>
            <a:custGeom>
              <a:avLst/>
              <a:gdLst>
                <a:gd name="T0" fmla="*/ 3090 w 4692"/>
                <a:gd name="T1" fmla="*/ 1190 h 2185"/>
                <a:gd name="T2" fmla="*/ 3036 w 4692"/>
                <a:gd name="T3" fmla="*/ 1222 h 2185"/>
                <a:gd name="T4" fmla="*/ 3006 w 4692"/>
                <a:gd name="T5" fmla="*/ 1275 h 2185"/>
                <a:gd name="T6" fmla="*/ 3001 w 4692"/>
                <a:gd name="T7" fmla="*/ 1682 h 2185"/>
                <a:gd name="T8" fmla="*/ 3018 w 4692"/>
                <a:gd name="T9" fmla="*/ 1743 h 2185"/>
                <a:gd name="T10" fmla="*/ 3061 w 4692"/>
                <a:gd name="T11" fmla="*/ 1786 h 2185"/>
                <a:gd name="T12" fmla="*/ 3122 w 4692"/>
                <a:gd name="T13" fmla="*/ 1803 h 2185"/>
                <a:gd name="T14" fmla="*/ 3962 w 4692"/>
                <a:gd name="T15" fmla="*/ 1799 h 2185"/>
                <a:gd name="T16" fmla="*/ 4016 w 4692"/>
                <a:gd name="T17" fmla="*/ 1768 h 2185"/>
                <a:gd name="T18" fmla="*/ 4047 w 4692"/>
                <a:gd name="T19" fmla="*/ 1714 h 2185"/>
                <a:gd name="T20" fmla="*/ 4052 w 4692"/>
                <a:gd name="T21" fmla="*/ 1307 h 2185"/>
                <a:gd name="T22" fmla="*/ 4034 w 4692"/>
                <a:gd name="T23" fmla="*/ 1246 h 2185"/>
                <a:gd name="T24" fmla="*/ 3991 w 4692"/>
                <a:gd name="T25" fmla="*/ 1203 h 2185"/>
                <a:gd name="T26" fmla="*/ 3930 w 4692"/>
                <a:gd name="T27" fmla="*/ 1187 h 2185"/>
                <a:gd name="T28" fmla="*/ 3076 w 4692"/>
                <a:gd name="T29" fmla="*/ 0 h 2185"/>
                <a:gd name="T30" fmla="*/ 4160 w 4692"/>
                <a:gd name="T31" fmla="*/ 429 h 2185"/>
                <a:gd name="T32" fmla="*/ 4312 w 4692"/>
                <a:gd name="T33" fmla="*/ 507 h 2185"/>
                <a:gd name="T34" fmla="*/ 4441 w 4692"/>
                <a:gd name="T35" fmla="*/ 613 h 2185"/>
                <a:gd name="T36" fmla="*/ 4548 w 4692"/>
                <a:gd name="T37" fmla="*/ 739 h 2185"/>
                <a:gd name="T38" fmla="*/ 4627 w 4692"/>
                <a:gd name="T39" fmla="*/ 884 h 2185"/>
                <a:gd name="T40" fmla="*/ 4676 w 4692"/>
                <a:gd name="T41" fmla="*/ 1044 h 2185"/>
                <a:gd name="T42" fmla="*/ 4692 w 4692"/>
                <a:gd name="T43" fmla="*/ 1214 h 2185"/>
                <a:gd name="T44" fmla="*/ 4689 w 4692"/>
                <a:gd name="T45" fmla="*/ 2097 h 2185"/>
                <a:gd name="T46" fmla="*/ 4657 w 4692"/>
                <a:gd name="T47" fmla="*/ 2150 h 2185"/>
                <a:gd name="T48" fmla="*/ 4604 w 4692"/>
                <a:gd name="T49" fmla="*/ 2180 h 2185"/>
                <a:gd name="T50" fmla="*/ 120 w 4692"/>
                <a:gd name="T51" fmla="*/ 2185 h 2185"/>
                <a:gd name="T52" fmla="*/ 59 w 4692"/>
                <a:gd name="T53" fmla="*/ 2169 h 2185"/>
                <a:gd name="T54" fmla="*/ 16 w 4692"/>
                <a:gd name="T55" fmla="*/ 2126 h 2185"/>
                <a:gd name="T56" fmla="*/ 0 w 4692"/>
                <a:gd name="T57" fmla="*/ 2065 h 2185"/>
                <a:gd name="T58" fmla="*/ 3 w 4692"/>
                <a:gd name="T59" fmla="*/ 1128 h 2185"/>
                <a:gd name="T60" fmla="*/ 37 w 4692"/>
                <a:gd name="T61" fmla="*/ 962 h 2185"/>
                <a:gd name="T62" fmla="*/ 101 w 4692"/>
                <a:gd name="T63" fmla="*/ 811 h 2185"/>
                <a:gd name="T64" fmla="*/ 193 w 4692"/>
                <a:gd name="T65" fmla="*/ 673 h 2185"/>
                <a:gd name="T66" fmla="*/ 311 w 4692"/>
                <a:gd name="T67" fmla="*/ 557 h 2185"/>
                <a:gd name="T68" fmla="*/ 454 w 4692"/>
                <a:gd name="T69" fmla="*/ 464 h 2185"/>
                <a:gd name="T70" fmla="*/ 1586 w 4692"/>
                <a:gd name="T71" fmla="*/ 8 h 2185"/>
                <a:gd name="T72" fmla="*/ 1648 w 4692"/>
                <a:gd name="T73" fmla="*/ 0 h 2185"/>
                <a:gd name="T74" fmla="*/ 1707 w 4692"/>
                <a:gd name="T75" fmla="*/ 27 h 2185"/>
                <a:gd name="T76" fmla="*/ 1744 w 4692"/>
                <a:gd name="T77" fmla="*/ 78 h 2185"/>
                <a:gd name="T78" fmla="*/ 2060 w 4692"/>
                <a:gd name="T79" fmla="*/ 659 h 2185"/>
                <a:gd name="T80" fmla="*/ 1969 w 4692"/>
                <a:gd name="T81" fmla="*/ 427 h 2185"/>
                <a:gd name="T82" fmla="*/ 1975 w 4692"/>
                <a:gd name="T83" fmla="*/ 368 h 2185"/>
                <a:gd name="T84" fmla="*/ 2007 w 4692"/>
                <a:gd name="T85" fmla="*/ 320 h 2185"/>
                <a:gd name="T86" fmla="*/ 2059 w 4692"/>
                <a:gd name="T87" fmla="*/ 293 h 2185"/>
                <a:gd name="T88" fmla="*/ 2603 w 4692"/>
                <a:gd name="T89" fmla="*/ 289 h 2185"/>
                <a:gd name="T90" fmla="*/ 2661 w 4692"/>
                <a:gd name="T91" fmla="*/ 303 h 2185"/>
                <a:gd name="T92" fmla="*/ 2704 w 4692"/>
                <a:gd name="T93" fmla="*/ 343 h 2185"/>
                <a:gd name="T94" fmla="*/ 2723 w 4692"/>
                <a:gd name="T95" fmla="*/ 397 h 2185"/>
                <a:gd name="T96" fmla="*/ 2715 w 4692"/>
                <a:gd name="T97" fmla="*/ 455 h 2185"/>
                <a:gd name="T98" fmla="*/ 2685 w 4692"/>
                <a:gd name="T99" fmla="*/ 811 h 2185"/>
                <a:gd name="T100" fmla="*/ 2964 w 4692"/>
                <a:gd name="T101" fmla="*/ 49 h 2185"/>
                <a:gd name="T102" fmla="*/ 3012 w 4692"/>
                <a:gd name="T103" fmla="*/ 9 h 2185"/>
                <a:gd name="T104" fmla="*/ 3076 w 4692"/>
                <a:gd name="T105" fmla="*/ 0 h 2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692" h="2185">
                  <a:moveTo>
                    <a:pt x="3122" y="1187"/>
                  </a:moveTo>
                  <a:lnTo>
                    <a:pt x="3090" y="1190"/>
                  </a:lnTo>
                  <a:lnTo>
                    <a:pt x="3061" y="1203"/>
                  </a:lnTo>
                  <a:lnTo>
                    <a:pt x="3036" y="1222"/>
                  </a:lnTo>
                  <a:lnTo>
                    <a:pt x="3018" y="1246"/>
                  </a:lnTo>
                  <a:lnTo>
                    <a:pt x="3006" y="1275"/>
                  </a:lnTo>
                  <a:lnTo>
                    <a:pt x="3001" y="1307"/>
                  </a:lnTo>
                  <a:lnTo>
                    <a:pt x="3001" y="1682"/>
                  </a:lnTo>
                  <a:lnTo>
                    <a:pt x="3006" y="1714"/>
                  </a:lnTo>
                  <a:lnTo>
                    <a:pt x="3018" y="1743"/>
                  </a:lnTo>
                  <a:lnTo>
                    <a:pt x="3036" y="1768"/>
                  </a:lnTo>
                  <a:lnTo>
                    <a:pt x="3061" y="1786"/>
                  </a:lnTo>
                  <a:lnTo>
                    <a:pt x="3090" y="1799"/>
                  </a:lnTo>
                  <a:lnTo>
                    <a:pt x="3122" y="1803"/>
                  </a:lnTo>
                  <a:lnTo>
                    <a:pt x="3930" y="1803"/>
                  </a:lnTo>
                  <a:lnTo>
                    <a:pt x="3962" y="1799"/>
                  </a:lnTo>
                  <a:lnTo>
                    <a:pt x="3991" y="1786"/>
                  </a:lnTo>
                  <a:lnTo>
                    <a:pt x="4016" y="1768"/>
                  </a:lnTo>
                  <a:lnTo>
                    <a:pt x="4034" y="1743"/>
                  </a:lnTo>
                  <a:lnTo>
                    <a:pt x="4047" y="1714"/>
                  </a:lnTo>
                  <a:lnTo>
                    <a:pt x="4052" y="1682"/>
                  </a:lnTo>
                  <a:lnTo>
                    <a:pt x="4052" y="1307"/>
                  </a:lnTo>
                  <a:lnTo>
                    <a:pt x="4047" y="1275"/>
                  </a:lnTo>
                  <a:lnTo>
                    <a:pt x="4034" y="1246"/>
                  </a:lnTo>
                  <a:lnTo>
                    <a:pt x="4016" y="1222"/>
                  </a:lnTo>
                  <a:lnTo>
                    <a:pt x="3991" y="1203"/>
                  </a:lnTo>
                  <a:lnTo>
                    <a:pt x="3962" y="1190"/>
                  </a:lnTo>
                  <a:lnTo>
                    <a:pt x="3930" y="1187"/>
                  </a:lnTo>
                  <a:lnTo>
                    <a:pt x="3122" y="1187"/>
                  </a:lnTo>
                  <a:close/>
                  <a:moveTo>
                    <a:pt x="3076" y="0"/>
                  </a:moveTo>
                  <a:lnTo>
                    <a:pt x="3106" y="8"/>
                  </a:lnTo>
                  <a:lnTo>
                    <a:pt x="4160" y="429"/>
                  </a:lnTo>
                  <a:lnTo>
                    <a:pt x="4238" y="464"/>
                  </a:lnTo>
                  <a:lnTo>
                    <a:pt x="4312" y="507"/>
                  </a:lnTo>
                  <a:lnTo>
                    <a:pt x="4379" y="557"/>
                  </a:lnTo>
                  <a:lnTo>
                    <a:pt x="4441" y="613"/>
                  </a:lnTo>
                  <a:lnTo>
                    <a:pt x="4497" y="673"/>
                  </a:lnTo>
                  <a:lnTo>
                    <a:pt x="4548" y="739"/>
                  </a:lnTo>
                  <a:lnTo>
                    <a:pt x="4590" y="811"/>
                  </a:lnTo>
                  <a:lnTo>
                    <a:pt x="4627" y="884"/>
                  </a:lnTo>
                  <a:lnTo>
                    <a:pt x="4655" y="962"/>
                  </a:lnTo>
                  <a:lnTo>
                    <a:pt x="4676" y="1044"/>
                  </a:lnTo>
                  <a:lnTo>
                    <a:pt x="4689" y="1128"/>
                  </a:lnTo>
                  <a:lnTo>
                    <a:pt x="4692" y="1214"/>
                  </a:lnTo>
                  <a:lnTo>
                    <a:pt x="4692" y="2065"/>
                  </a:lnTo>
                  <a:lnTo>
                    <a:pt x="4689" y="2097"/>
                  </a:lnTo>
                  <a:lnTo>
                    <a:pt x="4676" y="2126"/>
                  </a:lnTo>
                  <a:lnTo>
                    <a:pt x="4657" y="2150"/>
                  </a:lnTo>
                  <a:lnTo>
                    <a:pt x="4633" y="2169"/>
                  </a:lnTo>
                  <a:lnTo>
                    <a:pt x="4604" y="2180"/>
                  </a:lnTo>
                  <a:lnTo>
                    <a:pt x="4572" y="2185"/>
                  </a:lnTo>
                  <a:lnTo>
                    <a:pt x="120" y="2185"/>
                  </a:lnTo>
                  <a:lnTo>
                    <a:pt x="88" y="2180"/>
                  </a:lnTo>
                  <a:lnTo>
                    <a:pt x="59" y="2169"/>
                  </a:lnTo>
                  <a:lnTo>
                    <a:pt x="35" y="2150"/>
                  </a:lnTo>
                  <a:lnTo>
                    <a:pt x="16" y="2126"/>
                  </a:lnTo>
                  <a:lnTo>
                    <a:pt x="3" y="2097"/>
                  </a:lnTo>
                  <a:lnTo>
                    <a:pt x="0" y="2065"/>
                  </a:lnTo>
                  <a:lnTo>
                    <a:pt x="0" y="1214"/>
                  </a:lnTo>
                  <a:lnTo>
                    <a:pt x="3" y="1128"/>
                  </a:lnTo>
                  <a:lnTo>
                    <a:pt x="16" y="1044"/>
                  </a:lnTo>
                  <a:lnTo>
                    <a:pt x="37" y="962"/>
                  </a:lnTo>
                  <a:lnTo>
                    <a:pt x="65" y="884"/>
                  </a:lnTo>
                  <a:lnTo>
                    <a:pt x="101" y="811"/>
                  </a:lnTo>
                  <a:lnTo>
                    <a:pt x="144" y="739"/>
                  </a:lnTo>
                  <a:lnTo>
                    <a:pt x="193" y="673"/>
                  </a:lnTo>
                  <a:lnTo>
                    <a:pt x="251" y="613"/>
                  </a:lnTo>
                  <a:lnTo>
                    <a:pt x="311" y="557"/>
                  </a:lnTo>
                  <a:lnTo>
                    <a:pt x="380" y="507"/>
                  </a:lnTo>
                  <a:lnTo>
                    <a:pt x="454" y="464"/>
                  </a:lnTo>
                  <a:lnTo>
                    <a:pt x="532" y="429"/>
                  </a:lnTo>
                  <a:lnTo>
                    <a:pt x="1586" y="8"/>
                  </a:lnTo>
                  <a:lnTo>
                    <a:pt x="1616" y="0"/>
                  </a:lnTo>
                  <a:lnTo>
                    <a:pt x="1648" y="0"/>
                  </a:lnTo>
                  <a:lnTo>
                    <a:pt x="1680" y="9"/>
                  </a:lnTo>
                  <a:lnTo>
                    <a:pt x="1707" y="27"/>
                  </a:lnTo>
                  <a:lnTo>
                    <a:pt x="1728" y="49"/>
                  </a:lnTo>
                  <a:lnTo>
                    <a:pt x="1744" y="78"/>
                  </a:lnTo>
                  <a:lnTo>
                    <a:pt x="2007" y="811"/>
                  </a:lnTo>
                  <a:lnTo>
                    <a:pt x="2060" y="659"/>
                  </a:lnTo>
                  <a:lnTo>
                    <a:pt x="1977" y="455"/>
                  </a:lnTo>
                  <a:lnTo>
                    <a:pt x="1969" y="427"/>
                  </a:lnTo>
                  <a:lnTo>
                    <a:pt x="1969" y="397"/>
                  </a:lnTo>
                  <a:lnTo>
                    <a:pt x="1975" y="368"/>
                  </a:lnTo>
                  <a:lnTo>
                    <a:pt x="1988" y="343"/>
                  </a:lnTo>
                  <a:lnTo>
                    <a:pt x="2007" y="320"/>
                  </a:lnTo>
                  <a:lnTo>
                    <a:pt x="2031" y="303"/>
                  </a:lnTo>
                  <a:lnTo>
                    <a:pt x="2059" y="293"/>
                  </a:lnTo>
                  <a:lnTo>
                    <a:pt x="2089" y="289"/>
                  </a:lnTo>
                  <a:lnTo>
                    <a:pt x="2603" y="289"/>
                  </a:lnTo>
                  <a:lnTo>
                    <a:pt x="2632" y="293"/>
                  </a:lnTo>
                  <a:lnTo>
                    <a:pt x="2661" y="303"/>
                  </a:lnTo>
                  <a:lnTo>
                    <a:pt x="2685" y="320"/>
                  </a:lnTo>
                  <a:lnTo>
                    <a:pt x="2704" y="343"/>
                  </a:lnTo>
                  <a:lnTo>
                    <a:pt x="2717" y="368"/>
                  </a:lnTo>
                  <a:lnTo>
                    <a:pt x="2723" y="397"/>
                  </a:lnTo>
                  <a:lnTo>
                    <a:pt x="2723" y="427"/>
                  </a:lnTo>
                  <a:lnTo>
                    <a:pt x="2715" y="455"/>
                  </a:lnTo>
                  <a:lnTo>
                    <a:pt x="2632" y="659"/>
                  </a:lnTo>
                  <a:lnTo>
                    <a:pt x="2685" y="811"/>
                  </a:lnTo>
                  <a:lnTo>
                    <a:pt x="2948" y="78"/>
                  </a:lnTo>
                  <a:lnTo>
                    <a:pt x="2964" y="49"/>
                  </a:lnTo>
                  <a:lnTo>
                    <a:pt x="2985" y="27"/>
                  </a:lnTo>
                  <a:lnTo>
                    <a:pt x="3012" y="9"/>
                  </a:lnTo>
                  <a:lnTo>
                    <a:pt x="3044" y="0"/>
                  </a:lnTo>
                  <a:lnTo>
                    <a:pt x="3076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sp>
        <p:nvSpPr>
          <p:cNvPr id="78" name="rbStamp_Instructions">
            <a:extLst>
              <a:ext uri="{FF2B5EF4-FFF2-40B4-BE49-F238E27FC236}">
                <a16:creationId xmlns:a16="http://schemas.microsoft.com/office/drawing/2014/main" xmlns="" id="{7C58DA0F-887E-4F3E-A8A1-9143A0CBE940}"/>
              </a:ext>
            </a:extLst>
          </p:cNvPr>
          <p:cNvSpPr txBox="1"/>
          <p:nvPr/>
        </p:nvSpPr>
        <p:spPr>
          <a:xfrm>
            <a:off x="4794011" y="3696052"/>
            <a:ext cx="2411464" cy="52427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no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700" dirty="0">
                <a:solidFill>
                  <a:schemeClr val="accent6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Visitas de evaluación de expertos</a:t>
            </a:r>
            <a:endParaRPr lang="en-GB" sz="1700" dirty="0">
              <a:solidFill>
                <a:schemeClr val="accent6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79" name="rbStamp_Instructions">
            <a:extLst>
              <a:ext uri="{FF2B5EF4-FFF2-40B4-BE49-F238E27FC236}">
                <a16:creationId xmlns:a16="http://schemas.microsoft.com/office/drawing/2014/main" xmlns="" id="{C4A05E0F-1CDC-44F5-801C-B08539FBDB3A}"/>
              </a:ext>
            </a:extLst>
          </p:cNvPr>
          <p:cNvSpPr txBox="1"/>
          <p:nvPr/>
        </p:nvSpPr>
        <p:spPr>
          <a:xfrm>
            <a:off x="4793969" y="4189986"/>
            <a:ext cx="2483744" cy="11395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noAutofit/>
          </a:bodyPr>
          <a:lstStyle/>
          <a:p>
            <a:pPr marL="0" lvl="1" algn="just">
              <a:lnSpc>
                <a:spcPct val="90000"/>
              </a:lnSpc>
              <a:spcBef>
                <a:spcPts val="0"/>
              </a:spcBef>
              <a:buSzPct val="100000"/>
            </a:pPr>
            <a:r>
              <a:rPr lang="es-ES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l equipo de expertos visitará tu ciudad para </a:t>
            </a:r>
            <a:r>
              <a:rPr lang="es-ES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identificar sus puntos fuertes y débiles </a:t>
            </a:r>
            <a:r>
              <a:rPr lang="es-ES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n materia de digitalización. </a:t>
            </a:r>
            <a:endParaRPr lang="en-GB" b="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xmlns="" id="{F3ABF7F0-D0BD-41B4-9E6B-3951F0AB7F7E}"/>
              </a:ext>
            </a:extLst>
          </p:cNvPr>
          <p:cNvGrpSpPr/>
          <p:nvPr/>
        </p:nvGrpSpPr>
        <p:grpSpPr>
          <a:xfrm>
            <a:off x="5097511" y="3064545"/>
            <a:ext cx="480612" cy="481612"/>
            <a:chOff x="3421431" y="3525366"/>
            <a:chExt cx="359252" cy="360000"/>
          </a:xfrm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xmlns="" id="{3026DD1D-D735-4AC3-9B83-B7AB5186492B}"/>
                </a:ext>
              </a:extLst>
            </p:cNvPr>
            <p:cNvSpPr/>
            <p:nvPr/>
          </p:nvSpPr>
          <p:spPr>
            <a:xfrm>
              <a:off x="3421431" y="3525366"/>
              <a:ext cx="359252" cy="360000"/>
            </a:xfrm>
            <a:prstGeom prst="ellipse">
              <a:avLst/>
            </a:prstGeom>
            <a:ln w="762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xmlns="" id="{5A707671-EBBA-48F8-8A7F-106A2D2518F6}"/>
                </a:ext>
              </a:extLst>
            </p:cNvPr>
            <p:cNvSpPr/>
            <p:nvPr/>
          </p:nvSpPr>
          <p:spPr>
            <a:xfrm>
              <a:off x="3511057" y="3615366"/>
              <a:ext cx="180000" cy="180000"/>
            </a:xfrm>
            <a:prstGeom prst="ellipse">
              <a:avLst/>
            </a:prstGeom>
            <a:ln w="381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xmlns="" id="{9167BD8B-8484-4F5B-AD8C-7E46CA43F27B}"/>
                </a:ext>
              </a:extLst>
            </p:cNvPr>
            <p:cNvSpPr/>
            <p:nvPr/>
          </p:nvSpPr>
          <p:spPr>
            <a:xfrm>
              <a:off x="3565057" y="3669366"/>
              <a:ext cx="72000" cy="7200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xmlns="" id="{D118202B-5C17-47C4-AE72-9E440DB4145C}"/>
              </a:ext>
            </a:extLst>
          </p:cNvPr>
          <p:cNvGrpSpPr>
            <a:grpSpLocks noChangeAspect="1"/>
          </p:cNvGrpSpPr>
          <p:nvPr/>
        </p:nvGrpSpPr>
        <p:grpSpPr>
          <a:xfrm>
            <a:off x="8291217" y="278313"/>
            <a:ext cx="496645" cy="343000"/>
            <a:chOff x="1720851" y="1301751"/>
            <a:chExt cx="3576647" cy="2470150"/>
          </a:xfrm>
          <a:solidFill>
            <a:schemeClr val="accent3"/>
          </a:solidFill>
        </p:grpSpPr>
        <p:sp>
          <p:nvSpPr>
            <p:cNvPr id="85" name="Freeform 7">
              <a:extLst>
                <a:ext uri="{FF2B5EF4-FFF2-40B4-BE49-F238E27FC236}">
                  <a16:creationId xmlns:a16="http://schemas.microsoft.com/office/drawing/2014/main" xmlns="" id="{258F587F-24AB-4F42-A693-DD6AFF7BB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088" y="1301751"/>
              <a:ext cx="2389188" cy="2395538"/>
            </a:xfrm>
            <a:custGeom>
              <a:avLst/>
              <a:gdLst>
                <a:gd name="T0" fmla="*/ 1992 w 2074"/>
                <a:gd name="T1" fmla="*/ 1162 h 2080"/>
                <a:gd name="T2" fmla="*/ 1040 w 2074"/>
                <a:gd name="T3" fmla="*/ 2000 h 2080"/>
                <a:gd name="T4" fmla="*/ 80 w 2074"/>
                <a:gd name="T5" fmla="*/ 1040 h 2080"/>
                <a:gd name="T6" fmla="*/ 1040 w 2074"/>
                <a:gd name="T7" fmla="*/ 80 h 2080"/>
                <a:gd name="T8" fmla="*/ 1993 w 2074"/>
                <a:gd name="T9" fmla="*/ 925 h 2080"/>
                <a:gd name="T10" fmla="*/ 2074 w 2074"/>
                <a:gd name="T11" fmla="*/ 925 h 2080"/>
                <a:gd name="T12" fmla="*/ 1040 w 2074"/>
                <a:gd name="T13" fmla="*/ 0 h 2080"/>
                <a:gd name="T14" fmla="*/ 0 w 2074"/>
                <a:gd name="T15" fmla="*/ 1040 h 2080"/>
                <a:gd name="T16" fmla="*/ 1040 w 2074"/>
                <a:gd name="T17" fmla="*/ 2080 h 2080"/>
                <a:gd name="T18" fmla="*/ 2073 w 2074"/>
                <a:gd name="T19" fmla="*/ 1162 h 2080"/>
                <a:gd name="T20" fmla="*/ 1992 w 2074"/>
                <a:gd name="T21" fmla="*/ 1162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4" h="2080">
                  <a:moveTo>
                    <a:pt x="1992" y="1162"/>
                  </a:moveTo>
                  <a:cubicBezTo>
                    <a:pt x="1933" y="1635"/>
                    <a:pt x="1529" y="2000"/>
                    <a:pt x="1040" y="2000"/>
                  </a:cubicBezTo>
                  <a:cubicBezTo>
                    <a:pt x="510" y="2000"/>
                    <a:pt x="80" y="1571"/>
                    <a:pt x="80" y="1040"/>
                  </a:cubicBezTo>
                  <a:cubicBezTo>
                    <a:pt x="80" y="510"/>
                    <a:pt x="510" y="80"/>
                    <a:pt x="1040" y="80"/>
                  </a:cubicBezTo>
                  <a:cubicBezTo>
                    <a:pt x="1531" y="80"/>
                    <a:pt x="1936" y="449"/>
                    <a:pt x="1993" y="925"/>
                  </a:cubicBezTo>
                  <a:cubicBezTo>
                    <a:pt x="2074" y="925"/>
                    <a:pt x="2074" y="925"/>
                    <a:pt x="2074" y="925"/>
                  </a:cubicBezTo>
                  <a:cubicBezTo>
                    <a:pt x="2016" y="405"/>
                    <a:pt x="1575" y="0"/>
                    <a:pt x="1040" y="0"/>
                  </a:cubicBezTo>
                  <a:cubicBezTo>
                    <a:pt x="466" y="0"/>
                    <a:pt x="0" y="466"/>
                    <a:pt x="0" y="1040"/>
                  </a:cubicBezTo>
                  <a:cubicBezTo>
                    <a:pt x="0" y="1615"/>
                    <a:pt x="466" y="2080"/>
                    <a:pt x="1040" y="2080"/>
                  </a:cubicBezTo>
                  <a:cubicBezTo>
                    <a:pt x="1573" y="2080"/>
                    <a:pt x="2013" y="1679"/>
                    <a:pt x="2073" y="1162"/>
                  </a:cubicBezTo>
                  <a:lnTo>
                    <a:pt x="1992" y="116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86" name="Freeform 8">
              <a:extLst>
                <a:ext uri="{FF2B5EF4-FFF2-40B4-BE49-F238E27FC236}">
                  <a16:creationId xmlns:a16="http://schemas.microsoft.com/office/drawing/2014/main" xmlns="" id="{F6449523-D09D-4637-93DD-9A9DDE70B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2225676"/>
              <a:ext cx="514350" cy="547688"/>
            </a:xfrm>
            <a:custGeom>
              <a:avLst/>
              <a:gdLst>
                <a:gd name="T0" fmla="*/ 238 w 446"/>
                <a:gd name="T1" fmla="*/ 80 h 475"/>
                <a:gd name="T2" fmla="*/ 346 w 446"/>
                <a:gd name="T3" fmla="*/ 122 h 475"/>
                <a:gd name="T4" fmla="*/ 446 w 446"/>
                <a:gd name="T5" fmla="*/ 122 h 475"/>
                <a:gd name="T6" fmla="*/ 238 w 446"/>
                <a:gd name="T7" fmla="*/ 0 h 475"/>
                <a:gd name="T8" fmla="*/ 0 w 446"/>
                <a:gd name="T9" fmla="*/ 237 h 475"/>
                <a:gd name="T10" fmla="*/ 238 w 446"/>
                <a:gd name="T11" fmla="*/ 475 h 475"/>
                <a:gd name="T12" fmla="*/ 443 w 446"/>
                <a:gd name="T13" fmla="*/ 359 h 475"/>
                <a:gd name="T14" fmla="*/ 339 w 446"/>
                <a:gd name="T15" fmla="*/ 359 h 475"/>
                <a:gd name="T16" fmla="*/ 238 w 446"/>
                <a:gd name="T17" fmla="*/ 395 h 475"/>
                <a:gd name="T18" fmla="*/ 80 w 446"/>
                <a:gd name="T19" fmla="*/ 237 h 475"/>
                <a:gd name="T20" fmla="*/ 238 w 446"/>
                <a:gd name="T21" fmla="*/ 8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6" h="475">
                  <a:moveTo>
                    <a:pt x="238" y="80"/>
                  </a:moveTo>
                  <a:cubicBezTo>
                    <a:pt x="280" y="80"/>
                    <a:pt x="318" y="96"/>
                    <a:pt x="346" y="122"/>
                  </a:cubicBezTo>
                  <a:cubicBezTo>
                    <a:pt x="446" y="122"/>
                    <a:pt x="446" y="122"/>
                    <a:pt x="446" y="122"/>
                  </a:cubicBezTo>
                  <a:cubicBezTo>
                    <a:pt x="406" y="49"/>
                    <a:pt x="328" y="0"/>
                    <a:pt x="238" y="0"/>
                  </a:cubicBezTo>
                  <a:cubicBezTo>
                    <a:pt x="107" y="0"/>
                    <a:pt x="0" y="106"/>
                    <a:pt x="0" y="237"/>
                  </a:cubicBezTo>
                  <a:cubicBezTo>
                    <a:pt x="0" y="369"/>
                    <a:pt x="107" y="475"/>
                    <a:pt x="238" y="475"/>
                  </a:cubicBezTo>
                  <a:cubicBezTo>
                    <a:pt x="325" y="475"/>
                    <a:pt x="401" y="428"/>
                    <a:pt x="443" y="359"/>
                  </a:cubicBezTo>
                  <a:cubicBezTo>
                    <a:pt x="339" y="359"/>
                    <a:pt x="339" y="359"/>
                    <a:pt x="339" y="359"/>
                  </a:cubicBezTo>
                  <a:cubicBezTo>
                    <a:pt x="312" y="381"/>
                    <a:pt x="277" y="395"/>
                    <a:pt x="238" y="395"/>
                  </a:cubicBezTo>
                  <a:cubicBezTo>
                    <a:pt x="151" y="395"/>
                    <a:pt x="80" y="325"/>
                    <a:pt x="80" y="237"/>
                  </a:cubicBezTo>
                  <a:cubicBezTo>
                    <a:pt x="80" y="150"/>
                    <a:pt x="151" y="80"/>
                    <a:pt x="238" y="8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87" name="Freeform 9">
              <a:extLst>
                <a:ext uri="{FF2B5EF4-FFF2-40B4-BE49-F238E27FC236}">
                  <a16:creationId xmlns:a16="http://schemas.microsoft.com/office/drawing/2014/main" xmlns="" id="{B6015BD3-CE92-43B6-B1F2-9763F2964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8226" y="1765301"/>
              <a:ext cx="1458913" cy="1468438"/>
            </a:xfrm>
            <a:custGeom>
              <a:avLst/>
              <a:gdLst>
                <a:gd name="T0" fmla="*/ 1184 w 1266"/>
                <a:gd name="T1" fmla="*/ 522 h 1275"/>
                <a:gd name="T2" fmla="*/ 1266 w 1266"/>
                <a:gd name="T3" fmla="*/ 522 h 1275"/>
                <a:gd name="T4" fmla="*/ 638 w 1266"/>
                <a:gd name="T5" fmla="*/ 0 h 1275"/>
                <a:gd name="T6" fmla="*/ 0 w 1266"/>
                <a:gd name="T7" fmla="*/ 637 h 1275"/>
                <a:gd name="T8" fmla="*/ 638 w 1266"/>
                <a:gd name="T9" fmla="*/ 1275 h 1275"/>
                <a:gd name="T10" fmla="*/ 1264 w 1266"/>
                <a:gd name="T11" fmla="*/ 759 h 1275"/>
                <a:gd name="T12" fmla="*/ 1183 w 1266"/>
                <a:gd name="T13" fmla="*/ 759 h 1275"/>
                <a:gd name="T14" fmla="*/ 638 w 1266"/>
                <a:gd name="T15" fmla="*/ 1195 h 1275"/>
                <a:gd name="T16" fmla="*/ 80 w 1266"/>
                <a:gd name="T17" fmla="*/ 637 h 1275"/>
                <a:gd name="T18" fmla="*/ 638 w 1266"/>
                <a:gd name="T19" fmla="*/ 80 h 1275"/>
                <a:gd name="T20" fmla="*/ 1184 w 1266"/>
                <a:gd name="T21" fmla="*/ 522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1275">
                  <a:moveTo>
                    <a:pt x="1184" y="522"/>
                  </a:moveTo>
                  <a:cubicBezTo>
                    <a:pt x="1266" y="522"/>
                    <a:pt x="1266" y="522"/>
                    <a:pt x="1266" y="522"/>
                  </a:cubicBezTo>
                  <a:cubicBezTo>
                    <a:pt x="1211" y="225"/>
                    <a:pt x="951" y="0"/>
                    <a:pt x="638" y="0"/>
                  </a:cubicBezTo>
                  <a:cubicBezTo>
                    <a:pt x="286" y="0"/>
                    <a:pt x="0" y="285"/>
                    <a:pt x="0" y="637"/>
                  </a:cubicBezTo>
                  <a:cubicBezTo>
                    <a:pt x="0" y="990"/>
                    <a:pt x="286" y="1275"/>
                    <a:pt x="638" y="1275"/>
                  </a:cubicBezTo>
                  <a:cubicBezTo>
                    <a:pt x="949" y="1275"/>
                    <a:pt x="1208" y="1053"/>
                    <a:pt x="1264" y="759"/>
                  </a:cubicBezTo>
                  <a:cubicBezTo>
                    <a:pt x="1183" y="759"/>
                    <a:pt x="1183" y="759"/>
                    <a:pt x="1183" y="759"/>
                  </a:cubicBezTo>
                  <a:cubicBezTo>
                    <a:pt x="1127" y="1008"/>
                    <a:pt x="905" y="1195"/>
                    <a:pt x="638" y="1195"/>
                  </a:cubicBezTo>
                  <a:cubicBezTo>
                    <a:pt x="330" y="1195"/>
                    <a:pt x="80" y="945"/>
                    <a:pt x="80" y="637"/>
                  </a:cubicBezTo>
                  <a:cubicBezTo>
                    <a:pt x="80" y="329"/>
                    <a:pt x="330" y="80"/>
                    <a:pt x="638" y="80"/>
                  </a:cubicBezTo>
                  <a:cubicBezTo>
                    <a:pt x="907" y="80"/>
                    <a:pt x="1131" y="269"/>
                    <a:pt x="1184" y="52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88" name="Freeform 10">
              <a:extLst>
                <a:ext uri="{FF2B5EF4-FFF2-40B4-BE49-F238E27FC236}">
                  <a16:creationId xmlns:a16="http://schemas.microsoft.com/office/drawing/2014/main" xmlns="" id="{2970205F-6AC1-4AAA-BCE5-F1219A454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360" y="2109785"/>
              <a:ext cx="2243138" cy="785810"/>
            </a:xfrm>
            <a:custGeom>
              <a:avLst/>
              <a:gdLst>
                <a:gd name="T0" fmla="*/ 1209 w 1413"/>
                <a:gd name="T1" fmla="*/ 245 h 495"/>
                <a:gd name="T2" fmla="*/ 1413 w 1413"/>
                <a:gd name="T3" fmla="*/ 41 h 495"/>
                <a:gd name="T4" fmla="*/ 1372 w 1413"/>
                <a:gd name="T5" fmla="*/ 0 h 495"/>
                <a:gd name="T6" fmla="*/ 1155 w 1413"/>
                <a:gd name="T7" fmla="*/ 218 h 495"/>
                <a:gd name="T8" fmla="*/ 967 w 1413"/>
                <a:gd name="T9" fmla="*/ 218 h 495"/>
                <a:gd name="T10" fmla="*/ 1143 w 1413"/>
                <a:gd name="T11" fmla="*/ 41 h 495"/>
                <a:gd name="T12" fmla="*/ 1103 w 1413"/>
                <a:gd name="T13" fmla="*/ 0 h 495"/>
                <a:gd name="T14" fmla="*/ 885 w 1413"/>
                <a:gd name="T15" fmla="*/ 218 h 495"/>
                <a:gd name="T16" fmla="*/ 0 w 1413"/>
                <a:gd name="T17" fmla="*/ 218 h 495"/>
                <a:gd name="T18" fmla="*/ 0 w 1413"/>
                <a:gd name="T19" fmla="*/ 276 h 495"/>
                <a:gd name="T20" fmla="*/ 883 w 1413"/>
                <a:gd name="T21" fmla="*/ 276 h 495"/>
                <a:gd name="T22" fmla="*/ 1103 w 1413"/>
                <a:gd name="T23" fmla="*/ 495 h 495"/>
                <a:gd name="T24" fmla="*/ 1143 w 1413"/>
                <a:gd name="T25" fmla="*/ 454 h 495"/>
                <a:gd name="T26" fmla="*/ 965 w 1413"/>
                <a:gd name="T27" fmla="*/ 276 h 495"/>
                <a:gd name="T28" fmla="*/ 1153 w 1413"/>
                <a:gd name="T29" fmla="*/ 276 h 495"/>
                <a:gd name="T30" fmla="*/ 1372 w 1413"/>
                <a:gd name="T31" fmla="*/ 495 h 495"/>
                <a:gd name="T32" fmla="*/ 1413 w 1413"/>
                <a:gd name="T33" fmla="*/ 454 h 495"/>
                <a:gd name="T34" fmla="*/ 1209 w 1413"/>
                <a:gd name="T35" fmla="*/ 250 h 495"/>
                <a:gd name="T36" fmla="*/ 1209 w 1413"/>
                <a:gd name="T37" fmla="*/ 24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13" h="495">
                  <a:moveTo>
                    <a:pt x="1209" y="245"/>
                  </a:moveTo>
                  <a:lnTo>
                    <a:pt x="1413" y="41"/>
                  </a:lnTo>
                  <a:lnTo>
                    <a:pt x="1372" y="0"/>
                  </a:lnTo>
                  <a:lnTo>
                    <a:pt x="1155" y="218"/>
                  </a:lnTo>
                  <a:lnTo>
                    <a:pt x="967" y="218"/>
                  </a:lnTo>
                  <a:lnTo>
                    <a:pt x="1143" y="41"/>
                  </a:lnTo>
                  <a:lnTo>
                    <a:pt x="1103" y="0"/>
                  </a:lnTo>
                  <a:lnTo>
                    <a:pt x="885" y="218"/>
                  </a:lnTo>
                  <a:lnTo>
                    <a:pt x="0" y="218"/>
                  </a:lnTo>
                  <a:lnTo>
                    <a:pt x="0" y="276"/>
                  </a:lnTo>
                  <a:lnTo>
                    <a:pt x="883" y="276"/>
                  </a:lnTo>
                  <a:lnTo>
                    <a:pt x="1103" y="495"/>
                  </a:lnTo>
                  <a:lnTo>
                    <a:pt x="1143" y="454"/>
                  </a:lnTo>
                  <a:lnTo>
                    <a:pt x="965" y="276"/>
                  </a:lnTo>
                  <a:lnTo>
                    <a:pt x="1153" y="276"/>
                  </a:lnTo>
                  <a:lnTo>
                    <a:pt x="1372" y="495"/>
                  </a:lnTo>
                  <a:lnTo>
                    <a:pt x="1413" y="454"/>
                  </a:lnTo>
                  <a:lnTo>
                    <a:pt x="1209" y="250"/>
                  </a:lnTo>
                  <a:lnTo>
                    <a:pt x="1209" y="24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xmlns="" id="{B6537228-BA37-437F-9F44-0C17E6927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3351213"/>
              <a:ext cx="415925" cy="417513"/>
            </a:xfrm>
            <a:custGeom>
              <a:avLst/>
              <a:gdLst>
                <a:gd name="T0" fmla="*/ 0 w 262"/>
                <a:gd name="T1" fmla="*/ 41 h 263"/>
                <a:gd name="T2" fmla="*/ 222 w 262"/>
                <a:gd name="T3" fmla="*/ 263 h 263"/>
                <a:gd name="T4" fmla="*/ 262 w 262"/>
                <a:gd name="T5" fmla="*/ 221 h 263"/>
                <a:gd name="T6" fmla="*/ 41 w 262"/>
                <a:gd name="T7" fmla="*/ 0 h 263"/>
                <a:gd name="T8" fmla="*/ 0 w 262"/>
                <a:gd name="T9" fmla="*/ 4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3">
                  <a:moveTo>
                    <a:pt x="0" y="41"/>
                  </a:moveTo>
                  <a:lnTo>
                    <a:pt x="222" y="263"/>
                  </a:lnTo>
                  <a:lnTo>
                    <a:pt x="262" y="221"/>
                  </a:lnTo>
                  <a:lnTo>
                    <a:pt x="41" y="0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:a16="http://schemas.microsoft.com/office/drawing/2014/main" xmlns="" id="{3142F46C-0B7D-42C0-B624-F8FF32640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851" y="3352801"/>
              <a:ext cx="417513" cy="419100"/>
            </a:xfrm>
            <a:custGeom>
              <a:avLst/>
              <a:gdLst>
                <a:gd name="T0" fmla="*/ 0 w 263"/>
                <a:gd name="T1" fmla="*/ 222 h 264"/>
                <a:gd name="T2" fmla="*/ 41 w 263"/>
                <a:gd name="T3" fmla="*/ 264 h 264"/>
                <a:gd name="T4" fmla="*/ 263 w 263"/>
                <a:gd name="T5" fmla="*/ 42 h 264"/>
                <a:gd name="T6" fmla="*/ 222 w 263"/>
                <a:gd name="T7" fmla="*/ 0 h 264"/>
                <a:gd name="T8" fmla="*/ 0 w 263"/>
                <a:gd name="T9" fmla="*/ 22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264">
                  <a:moveTo>
                    <a:pt x="0" y="222"/>
                  </a:moveTo>
                  <a:lnTo>
                    <a:pt x="41" y="264"/>
                  </a:lnTo>
                  <a:lnTo>
                    <a:pt x="263" y="42"/>
                  </a:lnTo>
                  <a:lnTo>
                    <a:pt x="222" y="0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</p:grpSp>
      <p:sp>
        <p:nvSpPr>
          <p:cNvPr id="91" name="rbStamp_Instructions">
            <a:extLst>
              <a:ext uri="{FF2B5EF4-FFF2-40B4-BE49-F238E27FC236}">
                <a16:creationId xmlns:a16="http://schemas.microsoft.com/office/drawing/2014/main" xmlns="" id="{A2AB214B-8187-499C-86AC-1522A6741BC2}"/>
              </a:ext>
            </a:extLst>
          </p:cNvPr>
          <p:cNvSpPr txBox="1"/>
          <p:nvPr/>
        </p:nvSpPr>
        <p:spPr>
          <a:xfrm>
            <a:off x="8908660" y="305209"/>
            <a:ext cx="2268251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GB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Objetivos</a:t>
            </a:r>
            <a:endParaRPr lang="en-GB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92" name="rbStamp_Instructions">
            <a:extLst>
              <a:ext uri="{FF2B5EF4-FFF2-40B4-BE49-F238E27FC236}">
                <a16:creationId xmlns:a16="http://schemas.microsoft.com/office/drawing/2014/main" xmlns="" id="{457B775A-A9B0-49DC-B7C6-62EC314B4303}"/>
              </a:ext>
            </a:extLst>
          </p:cNvPr>
          <p:cNvSpPr txBox="1">
            <a:spLocks/>
          </p:cNvSpPr>
          <p:nvPr/>
        </p:nvSpPr>
        <p:spPr>
          <a:xfrm>
            <a:off x="8169160" y="666670"/>
            <a:ext cx="3781114" cy="329346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35812" rIns="0" bIns="0" rtlCol="0" anchor="t">
            <a:spAutoFit/>
          </a:bodyPr>
          <a:lstStyle/>
          <a:p>
            <a:pPr marL="202554" lvl="1" indent="-202554"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xplorar el </a:t>
            </a:r>
            <a:r>
              <a:rPr lang="es-ES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cosistema local de innovación digital</a:t>
            </a: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y trazar un mapa de las principales partes interesadas.</a:t>
            </a:r>
          </a:p>
          <a:p>
            <a:pPr marL="202554" lvl="1" indent="-202554"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Conocer los </a:t>
            </a:r>
            <a:r>
              <a:rPr lang="es-ES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factores subyacentes </a:t>
            </a: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que explican el Servicio de Asistencia Técnica (SAT) y los Indicadores Clave de Desempeño (KPI) de la ciudad.</a:t>
            </a:r>
          </a:p>
          <a:p>
            <a:pPr marL="202554" lvl="1" indent="-202554"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Aumentar la </a:t>
            </a:r>
            <a:r>
              <a:rPr lang="es-ES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conciencia</a:t>
            </a: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sobre la participación de la ciudad en el proyecto </a:t>
            </a:r>
          </a:p>
          <a:p>
            <a:pPr marL="202554" lvl="1" indent="-202554"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3 días </a:t>
            </a: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de interacciones intensivas </a:t>
            </a:r>
          </a:p>
          <a:p>
            <a:pPr marL="285750" lvl="1" indent="-285750">
              <a:spcBef>
                <a:spcPts val="400"/>
              </a:spcBef>
              <a:buSzPct val="100000"/>
              <a:buFontTx/>
              <a:buChar char="-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esiones de trabajo colectivas, sesiones de trabajo individuales (2-3h) con los grupos de interés más relevantes y sesiones de trabajo introductorias y finales.</a:t>
            </a:r>
          </a:p>
          <a:p>
            <a:pPr marL="0" lvl="1">
              <a:spcBef>
                <a:spcPts val="400"/>
              </a:spcBef>
              <a:buSzPct val="100000"/>
            </a:pPr>
            <a:endParaRPr lang="en-US" b="0" dirty="0">
              <a:solidFill>
                <a:schemeClr val="dk1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93" name="rbStamp_Instructions">
            <a:extLst>
              <a:ext uri="{FF2B5EF4-FFF2-40B4-BE49-F238E27FC236}">
                <a16:creationId xmlns:a16="http://schemas.microsoft.com/office/drawing/2014/main" xmlns="" id="{91EB41D5-EAE5-4BA1-AC59-5509615614AA}"/>
              </a:ext>
            </a:extLst>
          </p:cNvPr>
          <p:cNvSpPr txBox="1"/>
          <p:nvPr/>
        </p:nvSpPr>
        <p:spPr>
          <a:xfrm>
            <a:off x="8970462" y="3919545"/>
            <a:ext cx="2268251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GB" sz="1900" b="0" dirty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takeholders</a:t>
            </a:r>
          </a:p>
        </p:txBody>
      </p:sp>
      <p:sp>
        <p:nvSpPr>
          <p:cNvPr id="94" name="rbStamp_Instructions">
            <a:extLst>
              <a:ext uri="{FF2B5EF4-FFF2-40B4-BE49-F238E27FC236}">
                <a16:creationId xmlns:a16="http://schemas.microsoft.com/office/drawing/2014/main" xmlns="" id="{9B575DE2-BEC2-4FC6-BB1E-3313BD5B763E}"/>
              </a:ext>
            </a:extLst>
          </p:cNvPr>
          <p:cNvSpPr txBox="1">
            <a:spLocks/>
          </p:cNvSpPr>
          <p:nvPr/>
        </p:nvSpPr>
        <p:spPr>
          <a:xfrm>
            <a:off x="8218834" y="4220981"/>
            <a:ext cx="3891582" cy="244707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35812" rIns="0" bIns="0" rtlCol="0" anchor="t">
            <a:spAutoFit/>
          </a:bodyPr>
          <a:lstStyle/>
          <a:p>
            <a:pPr>
              <a:spcBef>
                <a:spcPts val="400"/>
              </a:spcBef>
              <a:buSzPct val="100000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esiones de trabajo y entrevistas con </a:t>
            </a:r>
            <a:r>
              <a:rPr lang="es-ES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os agentes de la ciudad</a:t>
            </a:r>
          </a:p>
          <a:p>
            <a:pPr>
              <a:spcBef>
                <a:spcPts val="400"/>
              </a:spcBef>
              <a:buSzPct val="100000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&gt;    Representantes del gobierno regional / municipal</a:t>
            </a:r>
          </a:p>
          <a:p>
            <a:pPr>
              <a:spcBef>
                <a:spcPts val="400"/>
              </a:spcBef>
              <a:buSzPct val="100000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&gt;    Universidades y agencias de innovación</a:t>
            </a:r>
          </a:p>
          <a:p>
            <a:pPr>
              <a:spcBef>
                <a:spcPts val="400"/>
              </a:spcBef>
              <a:buSzPct val="100000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&gt;    Empresas privadas</a:t>
            </a:r>
          </a:p>
          <a:p>
            <a:pPr marL="742950" lvl="1" indent="-285750">
              <a:spcBef>
                <a:spcPts val="400"/>
              </a:spcBef>
              <a:buSzPct val="100000"/>
              <a:buFontTx/>
              <a:buChar char="-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os 3 mejores empresarios locales </a:t>
            </a:r>
          </a:p>
          <a:p>
            <a:pPr marL="742950" lvl="1" indent="-285750">
              <a:spcBef>
                <a:spcPts val="400"/>
              </a:spcBef>
              <a:buSzPct val="100000"/>
              <a:buFontTx/>
              <a:buChar char="-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3 empresas digitales maduras </a:t>
            </a:r>
          </a:p>
          <a:p>
            <a:pPr marL="742950" lvl="1" indent="-285750">
              <a:spcBef>
                <a:spcPts val="400"/>
              </a:spcBef>
              <a:buSzPct val="100000"/>
              <a:buFontTx/>
              <a:buChar char="-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2 </a:t>
            </a:r>
            <a:r>
              <a:rPr lang="es-ES" b="0" dirty="0" err="1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tart</a:t>
            </a: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-ups digitales</a:t>
            </a:r>
          </a:p>
          <a:p>
            <a:pPr>
              <a:spcBef>
                <a:spcPts val="400"/>
              </a:spcBef>
              <a:buSzPct val="100000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&gt;    Fondos de capital riesgo</a:t>
            </a:r>
          </a:p>
          <a:p>
            <a:pPr>
              <a:spcBef>
                <a:spcPts val="400"/>
              </a:spcBef>
              <a:buSzPct val="100000"/>
            </a:pPr>
            <a:r>
              <a:rPr lang="es-ES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&gt;    Centros de operaciones y redes industriales</a:t>
            </a:r>
            <a:endParaRPr lang="en-US" b="0" dirty="0">
              <a:solidFill>
                <a:schemeClr val="dk1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95" name="Group 315">
            <a:extLst>
              <a:ext uri="{FF2B5EF4-FFF2-40B4-BE49-F238E27FC236}">
                <a16:creationId xmlns:a16="http://schemas.microsoft.com/office/drawing/2014/main" xmlns="" id="{4FCE5D7C-EC3B-4292-B9B0-3160739411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48433" y="3772114"/>
            <a:ext cx="526374" cy="404516"/>
            <a:chOff x="3546" y="2535"/>
            <a:chExt cx="418" cy="322"/>
          </a:xfrm>
          <a:solidFill>
            <a:schemeClr val="accent3"/>
          </a:solidFill>
        </p:grpSpPr>
        <p:sp>
          <p:nvSpPr>
            <p:cNvPr id="96" name="Freeform 317">
              <a:extLst>
                <a:ext uri="{FF2B5EF4-FFF2-40B4-BE49-F238E27FC236}">
                  <a16:creationId xmlns:a16="http://schemas.microsoft.com/office/drawing/2014/main" xmlns="" id="{388E27AC-4167-4402-9EA7-3EF2A8E6E4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5" y="2628"/>
              <a:ext cx="61" cy="30"/>
            </a:xfrm>
            <a:custGeom>
              <a:avLst/>
              <a:gdLst>
                <a:gd name="T0" fmla="*/ 98 w 491"/>
                <a:gd name="T1" fmla="*/ 61 h 237"/>
                <a:gd name="T2" fmla="*/ 114 w 491"/>
                <a:gd name="T3" fmla="*/ 104 h 237"/>
                <a:gd name="T4" fmla="*/ 125 w 491"/>
                <a:gd name="T5" fmla="*/ 148 h 237"/>
                <a:gd name="T6" fmla="*/ 170 w 491"/>
                <a:gd name="T7" fmla="*/ 137 h 237"/>
                <a:gd name="T8" fmla="*/ 216 w 491"/>
                <a:gd name="T9" fmla="*/ 130 h 237"/>
                <a:gd name="T10" fmla="*/ 262 w 491"/>
                <a:gd name="T11" fmla="*/ 128 h 237"/>
                <a:gd name="T12" fmla="*/ 315 w 491"/>
                <a:gd name="T13" fmla="*/ 131 h 237"/>
                <a:gd name="T14" fmla="*/ 368 w 491"/>
                <a:gd name="T15" fmla="*/ 140 h 237"/>
                <a:gd name="T16" fmla="*/ 378 w 491"/>
                <a:gd name="T17" fmla="*/ 100 h 237"/>
                <a:gd name="T18" fmla="*/ 393 w 491"/>
                <a:gd name="T19" fmla="*/ 61 h 237"/>
                <a:gd name="T20" fmla="*/ 98 w 491"/>
                <a:gd name="T21" fmla="*/ 61 h 237"/>
                <a:gd name="T22" fmla="*/ 94 w 491"/>
                <a:gd name="T23" fmla="*/ 0 h 237"/>
                <a:gd name="T24" fmla="*/ 397 w 491"/>
                <a:gd name="T25" fmla="*/ 0 h 237"/>
                <a:gd name="T26" fmla="*/ 445 w 491"/>
                <a:gd name="T27" fmla="*/ 2 h 237"/>
                <a:gd name="T28" fmla="*/ 491 w 491"/>
                <a:gd name="T29" fmla="*/ 9 h 237"/>
                <a:gd name="T30" fmla="*/ 467 w 491"/>
                <a:gd name="T31" fmla="*/ 47 h 237"/>
                <a:gd name="T32" fmla="*/ 447 w 491"/>
                <a:gd name="T33" fmla="*/ 87 h 237"/>
                <a:gd name="T34" fmla="*/ 433 w 491"/>
                <a:gd name="T35" fmla="*/ 130 h 237"/>
                <a:gd name="T36" fmla="*/ 423 w 491"/>
                <a:gd name="T37" fmla="*/ 175 h 237"/>
                <a:gd name="T38" fmla="*/ 418 w 491"/>
                <a:gd name="T39" fmla="*/ 221 h 237"/>
                <a:gd name="T40" fmla="*/ 381 w 491"/>
                <a:gd name="T41" fmla="*/ 206 h 237"/>
                <a:gd name="T42" fmla="*/ 342 w 491"/>
                <a:gd name="T43" fmla="*/ 197 h 237"/>
                <a:gd name="T44" fmla="*/ 303 w 491"/>
                <a:gd name="T45" fmla="*/ 190 h 237"/>
                <a:gd name="T46" fmla="*/ 262 w 491"/>
                <a:gd name="T47" fmla="*/ 188 h 237"/>
                <a:gd name="T48" fmla="*/ 211 w 491"/>
                <a:gd name="T49" fmla="*/ 191 h 237"/>
                <a:gd name="T50" fmla="*/ 163 w 491"/>
                <a:gd name="T51" fmla="*/ 201 h 237"/>
                <a:gd name="T52" fmla="*/ 117 w 491"/>
                <a:gd name="T53" fmla="*/ 216 h 237"/>
                <a:gd name="T54" fmla="*/ 73 w 491"/>
                <a:gd name="T55" fmla="*/ 237 h 237"/>
                <a:gd name="T56" fmla="*/ 70 w 491"/>
                <a:gd name="T57" fmla="*/ 187 h 237"/>
                <a:gd name="T58" fmla="*/ 61 w 491"/>
                <a:gd name="T59" fmla="*/ 139 h 237"/>
                <a:gd name="T60" fmla="*/ 46 w 491"/>
                <a:gd name="T61" fmla="*/ 93 h 237"/>
                <a:gd name="T62" fmla="*/ 26 w 491"/>
                <a:gd name="T63" fmla="*/ 50 h 237"/>
                <a:gd name="T64" fmla="*/ 0 w 491"/>
                <a:gd name="T65" fmla="*/ 9 h 237"/>
                <a:gd name="T66" fmla="*/ 46 w 491"/>
                <a:gd name="T67" fmla="*/ 2 h 237"/>
                <a:gd name="T68" fmla="*/ 94 w 491"/>
                <a:gd name="T69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1" h="237">
                  <a:moveTo>
                    <a:pt x="98" y="61"/>
                  </a:moveTo>
                  <a:lnTo>
                    <a:pt x="114" y="104"/>
                  </a:lnTo>
                  <a:lnTo>
                    <a:pt x="125" y="148"/>
                  </a:lnTo>
                  <a:lnTo>
                    <a:pt x="170" y="137"/>
                  </a:lnTo>
                  <a:lnTo>
                    <a:pt x="216" y="130"/>
                  </a:lnTo>
                  <a:lnTo>
                    <a:pt x="262" y="128"/>
                  </a:lnTo>
                  <a:lnTo>
                    <a:pt x="315" y="131"/>
                  </a:lnTo>
                  <a:lnTo>
                    <a:pt x="368" y="140"/>
                  </a:lnTo>
                  <a:lnTo>
                    <a:pt x="378" y="100"/>
                  </a:lnTo>
                  <a:lnTo>
                    <a:pt x="393" y="61"/>
                  </a:lnTo>
                  <a:lnTo>
                    <a:pt x="98" y="61"/>
                  </a:lnTo>
                  <a:close/>
                  <a:moveTo>
                    <a:pt x="94" y="0"/>
                  </a:moveTo>
                  <a:lnTo>
                    <a:pt x="397" y="0"/>
                  </a:lnTo>
                  <a:lnTo>
                    <a:pt x="445" y="2"/>
                  </a:lnTo>
                  <a:lnTo>
                    <a:pt x="491" y="9"/>
                  </a:lnTo>
                  <a:lnTo>
                    <a:pt x="467" y="47"/>
                  </a:lnTo>
                  <a:lnTo>
                    <a:pt x="447" y="87"/>
                  </a:lnTo>
                  <a:lnTo>
                    <a:pt x="433" y="130"/>
                  </a:lnTo>
                  <a:lnTo>
                    <a:pt x="423" y="175"/>
                  </a:lnTo>
                  <a:lnTo>
                    <a:pt x="418" y="221"/>
                  </a:lnTo>
                  <a:lnTo>
                    <a:pt x="381" y="206"/>
                  </a:lnTo>
                  <a:lnTo>
                    <a:pt x="342" y="197"/>
                  </a:lnTo>
                  <a:lnTo>
                    <a:pt x="303" y="190"/>
                  </a:lnTo>
                  <a:lnTo>
                    <a:pt x="262" y="188"/>
                  </a:lnTo>
                  <a:lnTo>
                    <a:pt x="211" y="191"/>
                  </a:lnTo>
                  <a:lnTo>
                    <a:pt x="163" y="201"/>
                  </a:lnTo>
                  <a:lnTo>
                    <a:pt x="117" y="216"/>
                  </a:lnTo>
                  <a:lnTo>
                    <a:pt x="73" y="237"/>
                  </a:lnTo>
                  <a:lnTo>
                    <a:pt x="70" y="187"/>
                  </a:lnTo>
                  <a:lnTo>
                    <a:pt x="61" y="139"/>
                  </a:lnTo>
                  <a:lnTo>
                    <a:pt x="46" y="93"/>
                  </a:lnTo>
                  <a:lnTo>
                    <a:pt x="26" y="50"/>
                  </a:lnTo>
                  <a:lnTo>
                    <a:pt x="0" y="9"/>
                  </a:lnTo>
                  <a:lnTo>
                    <a:pt x="46" y="2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7" name="Freeform 318">
              <a:extLst>
                <a:ext uri="{FF2B5EF4-FFF2-40B4-BE49-F238E27FC236}">
                  <a16:creationId xmlns:a16="http://schemas.microsoft.com/office/drawing/2014/main" xmlns="" id="{6FE38CE4-DF9B-4522-B08B-EECA331FA9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1" y="2535"/>
              <a:ext cx="89" cy="90"/>
            </a:xfrm>
            <a:custGeom>
              <a:avLst/>
              <a:gdLst>
                <a:gd name="T0" fmla="*/ 318 w 717"/>
                <a:gd name="T1" fmla="*/ 64 h 721"/>
                <a:gd name="T2" fmla="*/ 242 w 717"/>
                <a:gd name="T3" fmla="*/ 85 h 721"/>
                <a:gd name="T4" fmla="*/ 176 w 717"/>
                <a:gd name="T5" fmla="*/ 124 h 721"/>
                <a:gd name="T6" fmla="*/ 122 w 717"/>
                <a:gd name="T7" fmla="*/ 178 h 721"/>
                <a:gd name="T8" fmla="*/ 84 w 717"/>
                <a:gd name="T9" fmla="*/ 244 h 721"/>
                <a:gd name="T10" fmla="*/ 63 w 717"/>
                <a:gd name="T11" fmla="*/ 319 h 721"/>
                <a:gd name="T12" fmla="*/ 63 w 717"/>
                <a:gd name="T13" fmla="*/ 401 h 721"/>
                <a:gd name="T14" fmla="*/ 84 w 717"/>
                <a:gd name="T15" fmla="*/ 477 h 721"/>
                <a:gd name="T16" fmla="*/ 122 w 717"/>
                <a:gd name="T17" fmla="*/ 543 h 721"/>
                <a:gd name="T18" fmla="*/ 176 w 717"/>
                <a:gd name="T19" fmla="*/ 597 h 721"/>
                <a:gd name="T20" fmla="*/ 242 w 717"/>
                <a:gd name="T21" fmla="*/ 636 h 721"/>
                <a:gd name="T22" fmla="*/ 318 w 717"/>
                <a:gd name="T23" fmla="*/ 656 h 721"/>
                <a:gd name="T24" fmla="*/ 399 w 717"/>
                <a:gd name="T25" fmla="*/ 656 h 721"/>
                <a:gd name="T26" fmla="*/ 474 w 717"/>
                <a:gd name="T27" fmla="*/ 636 h 721"/>
                <a:gd name="T28" fmla="*/ 540 w 717"/>
                <a:gd name="T29" fmla="*/ 597 h 721"/>
                <a:gd name="T30" fmla="*/ 594 w 717"/>
                <a:gd name="T31" fmla="*/ 543 h 721"/>
                <a:gd name="T32" fmla="*/ 632 w 717"/>
                <a:gd name="T33" fmla="*/ 477 h 721"/>
                <a:gd name="T34" fmla="*/ 654 w 717"/>
                <a:gd name="T35" fmla="*/ 401 h 721"/>
                <a:gd name="T36" fmla="*/ 654 w 717"/>
                <a:gd name="T37" fmla="*/ 319 h 721"/>
                <a:gd name="T38" fmla="*/ 632 w 717"/>
                <a:gd name="T39" fmla="*/ 244 h 721"/>
                <a:gd name="T40" fmla="*/ 594 w 717"/>
                <a:gd name="T41" fmla="*/ 178 h 721"/>
                <a:gd name="T42" fmla="*/ 540 w 717"/>
                <a:gd name="T43" fmla="*/ 124 h 721"/>
                <a:gd name="T44" fmla="*/ 474 w 717"/>
                <a:gd name="T45" fmla="*/ 85 h 721"/>
                <a:gd name="T46" fmla="*/ 399 w 717"/>
                <a:gd name="T47" fmla="*/ 64 h 721"/>
                <a:gd name="T48" fmla="*/ 358 w 717"/>
                <a:gd name="T49" fmla="*/ 0 h 721"/>
                <a:gd name="T50" fmla="*/ 446 w 717"/>
                <a:gd name="T51" fmla="*/ 11 h 721"/>
                <a:gd name="T52" fmla="*/ 527 w 717"/>
                <a:gd name="T53" fmla="*/ 43 h 721"/>
                <a:gd name="T54" fmla="*/ 596 w 717"/>
                <a:gd name="T55" fmla="*/ 91 h 721"/>
                <a:gd name="T56" fmla="*/ 653 w 717"/>
                <a:gd name="T57" fmla="*/ 155 h 721"/>
                <a:gd name="T58" fmla="*/ 692 w 717"/>
                <a:gd name="T59" fmla="*/ 231 h 721"/>
                <a:gd name="T60" fmla="*/ 713 w 717"/>
                <a:gd name="T61" fmla="*/ 315 h 721"/>
                <a:gd name="T62" fmla="*/ 713 w 717"/>
                <a:gd name="T63" fmla="*/ 405 h 721"/>
                <a:gd name="T64" fmla="*/ 692 w 717"/>
                <a:gd name="T65" fmla="*/ 491 h 721"/>
                <a:gd name="T66" fmla="*/ 653 w 717"/>
                <a:gd name="T67" fmla="*/ 566 h 721"/>
                <a:gd name="T68" fmla="*/ 596 w 717"/>
                <a:gd name="T69" fmla="*/ 630 h 721"/>
                <a:gd name="T70" fmla="*/ 527 w 717"/>
                <a:gd name="T71" fmla="*/ 678 h 721"/>
                <a:gd name="T72" fmla="*/ 446 w 717"/>
                <a:gd name="T73" fmla="*/ 709 h 721"/>
                <a:gd name="T74" fmla="*/ 358 w 717"/>
                <a:gd name="T75" fmla="*/ 721 h 721"/>
                <a:gd name="T76" fmla="*/ 270 w 717"/>
                <a:gd name="T77" fmla="*/ 709 h 721"/>
                <a:gd name="T78" fmla="*/ 189 w 717"/>
                <a:gd name="T79" fmla="*/ 678 h 721"/>
                <a:gd name="T80" fmla="*/ 120 w 717"/>
                <a:gd name="T81" fmla="*/ 630 h 721"/>
                <a:gd name="T82" fmla="*/ 64 w 717"/>
                <a:gd name="T83" fmla="*/ 566 h 721"/>
                <a:gd name="T84" fmla="*/ 24 w 717"/>
                <a:gd name="T85" fmla="*/ 491 h 721"/>
                <a:gd name="T86" fmla="*/ 2 w 717"/>
                <a:gd name="T87" fmla="*/ 405 h 721"/>
                <a:gd name="T88" fmla="*/ 2 w 717"/>
                <a:gd name="T89" fmla="*/ 315 h 721"/>
                <a:gd name="T90" fmla="*/ 24 w 717"/>
                <a:gd name="T91" fmla="*/ 231 h 721"/>
                <a:gd name="T92" fmla="*/ 64 w 717"/>
                <a:gd name="T93" fmla="*/ 155 h 721"/>
                <a:gd name="T94" fmla="*/ 120 w 717"/>
                <a:gd name="T95" fmla="*/ 91 h 721"/>
                <a:gd name="T96" fmla="*/ 189 w 717"/>
                <a:gd name="T97" fmla="*/ 43 h 721"/>
                <a:gd name="T98" fmla="*/ 270 w 717"/>
                <a:gd name="T99" fmla="*/ 11 h 721"/>
                <a:gd name="T100" fmla="*/ 358 w 717"/>
                <a:gd name="T101" fmla="*/ 0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7" h="721">
                  <a:moveTo>
                    <a:pt x="358" y="61"/>
                  </a:moveTo>
                  <a:lnTo>
                    <a:pt x="318" y="64"/>
                  </a:lnTo>
                  <a:lnTo>
                    <a:pt x="279" y="73"/>
                  </a:lnTo>
                  <a:lnTo>
                    <a:pt x="242" y="85"/>
                  </a:lnTo>
                  <a:lnTo>
                    <a:pt x="209" y="102"/>
                  </a:lnTo>
                  <a:lnTo>
                    <a:pt x="176" y="124"/>
                  </a:lnTo>
                  <a:lnTo>
                    <a:pt x="148" y="149"/>
                  </a:lnTo>
                  <a:lnTo>
                    <a:pt x="122" y="178"/>
                  </a:lnTo>
                  <a:lnTo>
                    <a:pt x="101" y="209"/>
                  </a:lnTo>
                  <a:lnTo>
                    <a:pt x="84" y="244"/>
                  </a:lnTo>
                  <a:lnTo>
                    <a:pt x="72" y="281"/>
                  </a:lnTo>
                  <a:lnTo>
                    <a:pt x="63" y="319"/>
                  </a:lnTo>
                  <a:lnTo>
                    <a:pt x="60" y="360"/>
                  </a:lnTo>
                  <a:lnTo>
                    <a:pt x="63" y="401"/>
                  </a:lnTo>
                  <a:lnTo>
                    <a:pt x="72" y="440"/>
                  </a:lnTo>
                  <a:lnTo>
                    <a:pt x="84" y="477"/>
                  </a:lnTo>
                  <a:lnTo>
                    <a:pt x="101" y="511"/>
                  </a:lnTo>
                  <a:lnTo>
                    <a:pt x="122" y="543"/>
                  </a:lnTo>
                  <a:lnTo>
                    <a:pt x="148" y="572"/>
                  </a:lnTo>
                  <a:lnTo>
                    <a:pt x="176" y="597"/>
                  </a:lnTo>
                  <a:lnTo>
                    <a:pt x="209" y="619"/>
                  </a:lnTo>
                  <a:lnTo>
                    <a:pt x="242" y="636"/>
                  </a:lnTo>
                  <a:lnTo>
                    <a:pt x="279" y="649"/>
                  </a:lnTo>
                  <a:lnTo>
                    <a:pt x="318" y="656"/>
                  </a:lnTo>
                  <a:lnTo>
                    <a:pt x="358" y="659"/>
                  </a:lnTo>
                  <a:lnTo>
                    <a:pt x="399" y="656"/>
                  </a:lnTo>
                  <a:lnTo>
                    <a:pt x="437" y="649"/>
                  </a:lnTo>
                  <a:lnTo>
                    <a:pt x="474" y="636"/>
                  </a:lnTo>
                  <a:lnTo>
                    <a:pt x="508" y="619"/>
                  </a:lnTo>
                  <a:lnTo>
                    <a:pt x="540" y="597"/>
                  </a:lnTo>
                  <a:lnTo>
                    <a:pt x="568" y="572"/>
                  </a:lnTo>
                  <a:lnTo>
                    <a:pt x="594" y="543"/>
                  </a:lnTo>
                  <a:lnTo>
                    <a:pt x="615" y="511"/>
                  </a:lnTo>
                  <a:lnTo>
                    <a:pt x="632" y="477"/>
                  </a:lnTo>
                  <a:lnTo>
                    <a:pt x="645" y="440"/>
                  </a:lnTo>
                  <a:lnTo>
                    <a:pt x="654" y="401"/>
                  </a:lnTo>
                  <a:lnTo>
                    <a:pt x="656" y="360"/>
                  </a:lnTo>
                  <a:lnTo>
                    <a:pt x="654" y="319"/>
                  </a:lnTo>
                  <a:lnTo>
                    <a:pt x="645" y="281"/>
                  </a:lnTo>
                  <a:lnTo>
                    <a:pt x="632" y="244"/>
                  </a:lnTo>
                  <a:lnTo>
                    <a:pt x="615" y="209"/>
                  </a:lnTo>
                  <a:lnTo>
                    <a:pt x="594" y="178"/>
                  </a:lnTo>
                  <a:lnTo>
                    <a:pt x="568" y="149"/>
                  </a:lnTo>
                  <a:lnTo>
                    <a:pt x="540" y="124"/>
                  </a:lnTo>
                  <a:lnTo>
                    <a:pt x="508" y="102"/>
                  </a:lnTo>
                  <a:lnTo>
                    <a:pt x="474" y="85"/>
                  </a:lnTo>
                  <a:lnTo>
                    <a:pt x="437" y="73"/>
                  </a:lnTo>
                  <a:lnTo>
                    <a:pt x="399" y="64"/>
                  </a:lnTo>
                  <a:lnTo>
                    <a:pt x="358" y="61"/>
                  </a:lnTo>
                  <a:close/>
                  <a:moveTo>
                    <a:pt x="358" y="0"/>
                  </a:moveTo>
                  <a:lnTo>
                    <a:pt x="403" y="3"/>
                  </a:lnTo>
                  <a:lnTo>
                    <a:pt x="446" y="11"/>
                  </a:lnTo>
                  <a:lnTo>
                    <a:pt x="488" y="25"/>
                  </a:lnTo>
                  <a:lnTo>
                    <a:pt x="527" y="43"/>
                  </a:lnTo>
                  <a:lnTo>
                    <a:pt x="563" y="65"/>
                  </a:lnTo>
                  <a:lnTo>
                    <a:pt x="596" y="91"/>
                  </a:lnTo>
                  <a:lnTo>
                    <a:pt x="626" y="121"/>
                  </a:lnTo>
                  <a:lnTo>
                    <a:pt x="653" y="155"/>
                  </a:lnTo>
                  <a:lnTo>
                    <a:pt x="675" y="191"/>
                  </a:lnTo>
                  <a:lnTo>
                    <a:pt x="692" y="231"/>
                  </a:lnTo>
                  <a:lnTo>
                    <a:pt x="705" y="272"/>
                  </a:lnTo>
                  <a:lnTo>
                    <a:pt x="713" y="315"/>
                  </a:lnTo>
                  <a:lnTo>
                    <a:pt x="717" y="360"/>
                  </a:lnTo>
                  <a:lnTo>
                    <a:pt x="713" y="405"/>
                  </a:lnTo>
                  <a:lnTo>
                    <a:pt x="705" y="449"/>
                  </a:lnTo>
                  <a:lnTo>
                    <a:pt x="692" y="491"/>
                  </a:lnTo>
                  <a:lnTo>
                    <a:pt x="675" y="530"/>
                  </a:lnTo>
                  <a:lnTo>
                    <a:pt x="653" y="566"/>
                  </a:lnTo>
                  <a:lnTo>
                    <a:pt x="626" y="599"/>
                  </a:lnTo>
                  <a:lnTo>
                    <a:pt x="596" y="630"/>
                  </a:lnTo>
                  <a:lnTo>
                    <a:pt x="563" y="656"/>
                  </a:lnTo>
                  <a:lnTo>
                    <a:pt x="527" y="678"/>
                  </a:lnTo>
                  <a:lnTo>
                    <a:pt x="488" y="696"/>
                  </a:lnTo>
                  <a:lnTo>
                    <a:pt x="446" y="709"/>
                  </a:lnTo>
                  <a:lnTo>
                    <a:pt x="403" y="718"/>
                  </a:lnTo>
                  <a:lnTo>
                    <a:pt x="358" y="721"/>
                  </a:lnTo>
                  <a:lnTo>
                    <a:pt x="313" y="718"/>
                  </a:lnTo>
                  <a:lnTo>
                    <a:pt x="270" y="709"/>
                  </a:lnTo>
                  <a:lnTo>
                    <a:pt x="229" y="696"/>
                  </a:lnTo>
                  <a:lnTo>
                    <a:pt x="189" y="678"/>
                  </a:lnTo>
                  <a:lnTo>
                    <a:pt x="154" y="656"/>
                  </a:lnTo>
                  <a:lnTo>
                    <a:pt x="120" y="630"/>
                  </a:lnTo>
                  <a:lnTo>
                    <a:pt x="91" y="599"/>
                  </a:lnTo>
                  <a:lnTo>
                    <a:pt x="64" y="566"/>
                  </a:lnTo>
                  <a:lnTo>
                    <a:pt x="42" y="530"/>
                  </a:lnTo>
                  <a:lnTo>
                    <a:pt x="24" y="491"/>
                  </a:lnTo>
                  <a:lnTo>
                    <a:pt x="11" y="449"/>
                  </a:lnTo>
                  <a:lnTo>
                    <a:pt x="2" y="405"/>
                  </a:lnTo>
                  <a:lnTo>
                    <a:pt x="0" y="360"/>
                  </a:lnTo>
                  <a:lnTo>
                    <a:pt x="2" y="315"/>
                  </a:lnTo>
                  <a:lnTo>
                    <a:pt x="11" y="272"/>
                  </a:lnTo>
                  <a:lnTo>
                    <a:pt x="24" y="231"/>
                  </a:lnTo>
                  <a:lnTo>
                    <a:pt x="42" y="191"/>
                  </a:lnTo>
                  <a:lnTo>
                    <a:pt x="64" y="155"/>
                  </a:lnTo>
                  <a:lnTo>
                    <a:pt x="91" y="121"/>
                  </a:lnTo>
                  <a:lnTo>
                    <a:pt x="120" y="91"/>
                  </a:lnTo>
                  <a:lnTo>
                    <a:pt x="154" y="65"/>
                  </a:lnTo>
                  <a:lnTo>
                    <a:pt x="189" y="43"/>
                  </a:lnTo>
                  <a:lnTo>
                    <a:pt x="229" y="25"/>
                  </a:lnTo>
                  <a:lnTo>
                    <a:pt x="270" y="11"/>
                  </a:lnTo>
                  <a:lnTo>
                    <a:pt x="313" y="3"/>
                  </a:lnTo>
                  <a:lnTo>
                    <a:pt x="358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8" name="Freeform 319">
              <a:extLst>
                <a:ext uri="{FF2B5EF4-FFF2-40B4-BE49-F238E27FC236}">
                  <a16:creationId xmlns:a16="http://schemas.microsoft.com/office/drawing/2014/main" xmlns="" id="{80048F3D-14D7-4343-B630-8C404211A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4" y="2619"/>
              <a:ext cx="83" cy="83"/>
            </a:xfrm>
            <a:custGeom>
              <a:avLst/>
              <a:gdLst>
                <a:gd name="T0" fmla="*/ 290 w 660"/>
                <a:gd name="T1" fmla="*/ 63 h 663"/>
                <a:gd name="T2" fmla="*/ 216 w 660"/>
                <a:gd name="T3" fmla="*/ 86 h 663"/>
                <a:gd name="T4" fmla="*/ 152 w 660"/>
                <a:gd name="T5" fmla="*/ 128 h 663"/>
                <a:gd name="T6" fmla="*/ 103 w 660"/>
                <a:gd name="T7" fmla="*/ 186 h 663"/>
                <a:gd name="T8" fmla="*/ 71 w 660"/>
                <a:gd name="T9" fmla="*/ 257 h 663"/>
                <a:gd name="T10" fmla="*/ 102 w 660"/>
                <a:gd name="T11" fmla="*/ 328 h 663"/>
                <a:gd name="T12" fmla="*/ 168 w 660"/>
                <a:gd name="T13" fmla="*/ 404 h 663"/>
                <a:gd name="T14" fmla="*/ 217 w 660"/>
                <a:gd name="T15" fmla="*/ 492 h 663"/>
                <a:gd name="T16" fmla="*/ 245 w 660"/>
                <a:gd name="T17" fmla="*/ 587 h 663"/>
                <a:gd name="T18" fmla="*/ 301 w 660"/>
                <a:gd name="T19" fmla="*/ 600 h 663"/>
                <a:gd name="T20" fmla="*/ 369 w 660"/>
                <a:gd name="T21" fmla="*/ 599 h 663"/>
                <a:gd name="T22" fmla="*/ 443 w 660"/>
                <a:gd name="T23" fmla="*/ 576 h 663"/>
                <a:gd name="T24" fmla="*/ 506 w 660"/>
                <a:gd name="T25" fmla="*/ 535 h 663"/>
                <a:gd name="T26" fmla="*/ 556 w 660"/>
                <a:gd name="T27" fmla="*/ 478 h 663"/>
                <a:gd name="T28" fmla="*/ 588 w 660"/>
                <a:gd name="T29" fmla="*/ 409 h 663"/>
                <a:gd name="T30" fmla="*/ 600 w 660"/>
                <a:gd name="T31" fmla="*/ 331 h 663"/>
                <a:gd name="T32" fmla="*/ 588 w 660"/>
                <a:gd name="T33" fmla="*/ 253 h 663"/>
                <a:gd name="T34" fmla="*/ 556 w 660"/>
                <a:gd name="T35" fmla="*/ 183 h 663"/>
                <a:gd name="T36" fmla="*/ 506 w 660"/>
                <a:gd name="T37" fmla="*/ 126 h 663"/>
                <a:gd name="T38" fmla="*/ 443 w 660"/>
                <a:gd name="T39" fmla="*/ 85 h 663"/>
                <a:gd name="T40" fmla="*/ 369 w 660"/>
                <a:gd name="T41" fmla="*/ 63 h 663"/>
                <a:gd name="T42" fmla="*/ 330 w 660"/>
                <a:gd name="T43" fmla="*/ 0 h 663"/>
                <a:gd name="T44" fmla="*/ 418 w 660"/>
                <a:gd name="T45" fmla="*/ 11 h 663"/>
                <a:gd name="T46" fmla="*/ 496 w 660"/>
                <a:gd name="T47" fmla="*/ 45 h 663"/>
                <a:gd name="T48" fmla="*/ 563 w 660"/>
                <a:gd name="T49" fmla="*/ 97 h 663"/>
                <a:gd name="T50" fmla="*/ 615 w 660"/>
                <a:gd name="T51" fmla="*/ 164 h 663"/>
                <a:gd name="T52" fmla="*/ 649 w 660"/>
                <a:gd name="T53" fmla="*/ 243 h 663"/>
                <a:gd name="T54" fmla="*/ 660 w 660"/>
                <a:gd name="T55" fmla="*/ 331 h 663"/>
                <a:gd name="T56" fmla="*/ 649 w 660"/>
                <a:gd name="T57" fmla="*/ 419 h 663"/>
                <a:gd name="T58" fmla="*/ 615 w 660"/>
                <a:gd name="T59" fmla="*/ 499 h 663"/>
                <a:gd name="T60" fmla="*/ 563 w 660"/>
                <a:gd name="T61" fmla="*/ 565 h 663"/>
                <a:gd name="T62" fmla="*/ 496 w 660"/>
                <a:gd name="T63" fmla="*/ 617 h 663"/>
                <a:gd name="T64" fmla="*/ 418 w 660"/>
                <a:gd name="T65" fmla="*/ 651 h 663"/>
                <a:gd name="T66" fmla="*/ 330 w 660"/>
                <a:gd name="T67" fmla="*/ 663 h 663"/>
                <a:gd name="T68" fmla="*/ 258 w 660"/>
                <a:gd name="T69" fmla="*/ 655 h 663"/>
                <a:gd name="T70" fmla="*/ 191 w 660"/>
                <a:gd name="T71" fmla="*/ 631 h 663"/>
                <a:gd name="T72" fmla="*/ 170 w 660"/>
                <a:gd name="T73" fmla="*/ 538 h 663"/>
                <a:gd name="T74" fmla="*/ 130 w 660"/>
                <a:gd name="T75" fmla="*/ 455 h 663"/>
                <a:gd name="T76" fmla="*/ 72 w 660"/>
                <a:gd name="T77" fmla="*/ 383 h 663"/>
                <a:gd name="T78" fmla="*/ 0 w 660"/>
                <a:gd name="T79" fmla="*/ 326 h 663"/>
                <a:gd name="T80" fmla="*/ 13 w 660"/>
                <a:gd name="T81" fmla="*/ 239 h 663"/>
                <a:gd name="T82" fmla="*/ 46 w 660"/>
                <a:gd name="T83" fmla="*/ 161 h 663"/>
                <a:gd name="T84" fmla="*/ 98 w 660"/>
                <a:gd name="T85" fmla="*/ 95 h 663"/>
                <a:gd name="T86" fmla="*/ 165 w 660"/>
                <a:gd name="T87" fmla="*/ 43 h 663"/>
                <a:gd name="T88" fmla="*/ 243 w 660"/>
                <a:gd name="T89" fmla="*/ 11 h 663"/>
                <a:gd name="T90" fmla="*/ 330 w 660"/>
                <a:gd name="T91" fmla="*/ 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60" h="663">
                  <a:moveTo>
                    <a:pt x="330" y="60"/>
                  </a:moveTo>
                  <a:lnTo>
                    <a:pt x="290" y="63"/>
                  </a:lnTo>
                  <a:lnTo>
                    <a:pt x="251" y="72"/>
                  </a:lnTo>
                  <a:lnTo>
                    <a:pt x="216" y="86"/>
                  </a:lnTo>
                  <a:lnTo>
                    <a:pt x="182" y="105"/>
                  </a:lnTo>
                  <a:lnTo>
                    <a:pt x="152" y="128"/>
                  </a:lnTo>
                  <a:lnTo>
                    <a:pt x="126" y="156"/>
                  </a:lnTo>
                  <a:lnTo>
                    <a:pt x="103" y="186"/>
                  </a:lnTo>
                  <a:lnTo>
                    <a:pt x="85" y="220"/>
                  </a:lnTo>
                  <a:lnTo>
                    <a:pt x="71" y="257"/>
                  </a:lnTo>
                  <a:lnTo>
                    <a:pt x="63" y="296"/>
                  </a:lnTo>
                  <a:lnTo>
                    <a:pt x="102" y="328"/>
                  </a:lnTo>
                  <a:lnTo>
                    <a:pt x="138" y="364"/>
                  </a:lnTo>
                  <a:lnTo>
                    <a:pt x="168" y="404"/>
                  </a:lnTo>
                  <a:lnTo>
                    <a:pt x="195" y="446"/>
                  </a:lnTo>
                  <a:lnTo>
                    <a:pt x="217" y="492"/>
                  </a:lnTo>
                  <a:lnTo>
                    <a:pt x="233" y="538"/>
                  </a:lnTo>
                  <a:lnTo>
                    <a:pt x="245" y="587"/>
                  </a:lnTo>
                  <a:lnTo>
                    <a:pt x="273" y="596"/>
                  </a:lnTo>
                  <a:lnTo>
                    <a:pt x="301" y="600"/>
                  </a:lnTo>
                  <a:lnTo>
                    <a:pt x="330" y="602"/>
                  </a:lnTo>
                  <a:lnTo>
                    <a:pt x="369" y="599"/>
                  </a:lnTo>
                  <a:lnTo>
                    <a:pt x="408" y="591"/>
                  </a:lnTo>
                  <a:lnTo>
                    <a:pt x="443" y="576"/>
                  </a:lnTo>
                  <a:lnTo>
                    <a:pt x="477" y="558"/>
                  </a:lnTo>
                  <a:lnTo>
                    <a:pt x="506" y="535"/>
                  </a:lnTo>
                  <a:lnTo>
                    <a:pt x="533" y="509"/>
                  </a:lnTo>
                  <a:lnTo>
                    <a:pt x="556" y="478"/>
                  </a:lnTo>
                  <a:lnTo>
                    <a:pt x="574" y="445"/>
                  </a:lnTo>
                  <a:lnTo>
                    <a:pt x="588" y="409"/>
                  </a:lnTo>
                  <a:lnTo>
                    <a:pt x="597" y="371"/>
                  </a:lnTo>
                  <a:lnTo>
                    <a:pt x="600" y="331"/>
                  </a:lnTo>
                  <a:lnTo>
                    <a:pt x="597" y="291"/>
                  </a:lnTo>
                  <a:lnTo>
                    <a:pt x="588" y="253"/>
                  </a:lnTo>
                  <a:lnTo>
                    <a:pt x="574" y="217"/>
                  </a:lnTo>
                  <a:lnTo>
                    <a:pt x="556" y="183"/>
                  </a:lnTo>
                  <a:lnTo>
                    <a:pt x="533" y="154"/>
                  </a:lnTo>
                  <a:lnTo>
                    <a:pt x="506" y="126"/>
                  </a:lnTo>
                  <a:lnTo>
                    <a:pt x="477" y="104"/>
                  </a:lnTo>
                  <a:lnTo>
                    <a:pt x="443" y="85"/>
                  </a:lnTo>
                  <a:lnTo>
                    <a:pt x="408" y="72"/>
                  </a:lnTo>
                  <a:lnTo>
                    <a:pt x="369" y="63"/>
                  </a:lnTo>
                  <a:lnTo>
                    <a:pt x="330" y="60"/>
                  </a:lnTo>
                  <a:close/>
                  <a:moveTo>
                    <a:pt x="330" y="0"/>
                  </a:moveTo>
                  <a:lnTo>
                    <a:pt x="374" y="3"/>
                  </a:lnTo>
                  <a:lnTo>
                    <a:pt x="418" y="11"/>
                  </a:lnTo>
                  <a:lnTo>
                    <a:pt x="459" y="25"/>
                  </a:lnTo>
                  <a:lnTo>
                    <a:pt x="496" y="45"/>
                  </a:lnTo>
                  <a:lnTo>
                    <a:pt x="532" y="68"/>
                  </a:lnTo>
                  <a:lnTo>
                    <a:pt x="563" y="97"/>
                  </a:lnTo>
                  <a:lnTo>
                    <a:pt x="591" y="128"/>
                  </a:lnTo>
                  <a:lnTo>
                    <a:pt x="615" y="164"/>
                  </a:lnTo>
                  <a:lnTo>
                    <a:pt x="634" y="202"/>
                  </a:lnTo>
                  <a:lnTo>
                    <a:pt x="649" y="243"/>
                  </a:lnTo>
                  <a:lnTo>
                    <a:pt x="657" y="286"/>
                  </a:lnTo>
                  <a:lnTo>
                    <a:pt x="660" y="331"/>
                  </a:lnTo>
                  <a:lnTo>
                    <a:pt x="657" y="376"/>
                  </a:lnTo>
                  <a:lnTo>
                    <a:pt x="649" y="419"/>
                  </a:lnTo>
                  <a:lnTo>
                    <a:pt x="634" y="460"/>
                  </a:lnTo>
                  <a:lnTo>
                    <a:pt x="615" y="499"/>
                  </a:lnTo>
                  <a:lnTo>
                    <a:pt x="591" y="533"/>
                  </a:lnTo>
                  <a:lnTo>
                    <a:pt x="563" y="565"/>
                  </a:lnTo>
                  <a:lnTo>
                    <a:pt x="532" y="594"/>
                  </a:lnTo>
                  <a:lnTo>
                    <a:pt x="496" y="617"/>
                  </a:lnTo>
                  <a:lnTo>
                    <a:pt x="459" y="636"/>
                  </a:lnTo>
                  <a:lnTo>
                    <a:pt x="418" y="651"/>
                  </a:lnTo>
                  <a:lnTo>
                    <a:pt x="374" y="660"/>
                  </a:lnTo>
                  <a:lnTo>
                    <a:pt x="330" y="663"/>
                  </a:lnTo>
                  <a:lnTo>
                    <a:pt x="293" y="661"/>
                  </a:lnTo>
                  <a:lnTo>
                    <a:pt x="258" y="655"/>
                  </a:lnTo>
                  <a:lnTo>
                    <a:pt x="223" y="645"/>
                  </a:lnTo>
                  <a:lnTo>
                    <a:pt x="191" y="631"/>
                  </a:lnTo>
                  <a:lnTo>
                    <a:pt x="182" y="583"/>
                  </a:lnTo>
                  <a:lnTo>
                    <a:pt x="170" y="538"/>
                  </a:lnTo>
                  <a:lnTo>
                    <a:pt x="152" y="496"/>
                  </a:lnTo>
                  <a:lnTo>
                    <a:pt x="130" y="455"/>
                  </a:lnTo>
                  <a:lnTo>
                    <a:pt x="102" y="417"/>
                  </a:lnTo>
                  <a:lnTo>
                    <a:pt x="72" y="383"/>
                  </a:lnTo>
                  <a:lnTo>
                    <a:pt x="37" y="353"/>
                  </a:lnTo>
                  <a:lnTo>
                    <a:pt x="0" y="326"/>
                  </a:lnTo>
                  <a:lnTo>
                    <a:pt x="4" y="281"/>
                  </a:lnTo>
                  <a:lnTo>
                    <a:pt x="13" y="239"/>
                  </a:lnTo>
                  <a:lnTo>
                    <a:pt x="27" y="199"/>
                  </a:lnTo>
                  <a:lnTo>
                    <a:pt x="46" y="161"/>
                  </a:lnTo>
                  <a:lnTo>
                    <a:pt x="71" y="126"/>
                  </a:lnTo>
                  <a:lnTo>
                    <a:pt x="98" y="95"/>
                  </a:lnTo>
                  <a:lnTo>
                    <a:pt x="130" y="67"/>
                  </a:lnTo>
                  <a:lnTo>
                    <a:pt x="165" y="43"/>
                  </a:lnTo>
                  <a:lnTo>
                    <a:pt x="203" y="25"/>
                  </a:lnTo>
                  <a:lnTo>
                    <a:pt x="243" y="11"/>
                  </a:lnTo>
                  <a:lnTo>
                    <a:pt x="285" y="3"/>
                  </a:lnTo>
                  <a:lnTo>
                    <a:pt x="330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9" name="Freeform 320">
              <a:extLst>
                <a:ext uri="{FF2B5EF4-FFF2-40B4-BE49-F238E27FC236}">
                  <a16:creationId xmlns:a16="http://schemas.microsoft.com/office/drawing/2014/main" xmlns="" id="{3CE25E14-30F9-459F-B792-37AA9D481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4" y="2619"/>
              <a:ext cx="82" cy="83"/>
            </a:xfrm>
            <a:custGeom>
              <a:avLst/>
              <a:gdLst>
                <a:gd name="T0" fmla="*/ 291 w 660"/>
                <a:gd name="T1" fmla="*/ 63 h 663"/>
                <a:gd name="T2" fmla="*/ 217 w 660"/>
                <a:gd name="T3" fmla="*/ 85 h 663"/>
                <a:gd name="T4" fmla="*/ 153 w 660"/>
                <a:gd name="T5" fmla="*/ 126 h 663"/>
                <a:gd name="T6" fmla="*/ 105 w 660"/>
                <a:gd name="T7" fmla="*/ 183 h 663"/>
                <a:gd name="T8" fmla="*/ 72 w 660"/>
                <a:gd name="T9" fmla="*/ 253 h 663"/>
                <a:gd name="T10" fmla="*/ 61 w 660"/>
                <a:gd name="T11" fmla="*/ 331 h 663"/>
                <a:gd name="T12" fmla="*/ 72 w 660"/>
                <a:gd name="T13" fmla="*/ 409 h 663"/>
                <a:gd name="T14" fmla="*/ 105 w 660"/>
                <a:gd name="T15" fmla="*/ 478 h 663"/>
                <a:gd name="T16" fmla="*/ 153 w 660"/>
                <a:gd name="T17" fmla="*/ 535 h 663"/>
                <a:gd name="T18" fmla="*/ 217 w 660"/>
                <a:gd name="T19" fmla="*/ 576 h 663"/>
                <a:gd name="T20" fmla="*/ 291 w 660"/>
                <a:gd name="T21" fmla="*/ 599 h 663"/>
                <a:gd name="T22" fmla="*/ 362 w 660"/>
                <a:gd name="T23" fmla="*/ 600 h 663"/>
                <a:gd name="T24" fmla="*/ 423 w 660"/>
                <a:gd name="T25" fmla="*/ 585 h 663"/>
                <a:gd name="T26" fmla="*/ 465 w 660"/>
                <a:gd name="T27" fmla="*/ 524 h 663"/>
                <a:gd name="T28" fmla="*/ 506 w 660"/>
                <a:gd name="T29" fmla="*/ 434 h 663"/>
                <a:gd name="T30" fmla="*/ 564 w 660"/>
                <a:gd name="T31" fmla="*/ 356 h 663"/>
                <a:gd name="T32" fmla="*/ 595 w 660"/>
                <a:gd name="T33" fmla="*/ 281 h 663"/>
                <a:gd name="T34" fmla="*/ 572 w 660"/>
                <a:gd name="T35" fmla="*/ 210 h 663"/>
                <a:gd name="T36" fmla="*/ 530 w 660"/>
                <a:gd name="T37" fmla="*/ 150 h 663"/>
                <a:gd name="T38" fmla="*/ 474 w 660"/>
                <a:gd name="T39" fmla="*/ 102 h 663"/>
                <a:gd name="T40" fmla="*/ 406 w 660"/>
                <a:gd name="T41" fmla="*/ 71 h 663"/>
                <a:gd name="T42" fmla="*/ 331 w 660"/>
                <a:gd name="T43" fmla="*/ 60 h 663"/>
                <a:gd name="T44" fmla="*/ 376 w 660"/>
                <a:gd name="T45" fmla="*/ 3 h 663"/>
                <a:gd name="T46" fmla="*/ 459 w 660"/>
                <a:gd name="T47" fmla="*/ 25 h 663"/>
                <a:gd name="T48" fmla="*/ 532 w 660"/>
                <a:gd name="T49" fmla="*/ 68 h 663"/>
                <a:gd name="T50" fmla="*/ 592 w 660"/>
                <a:gd name="T51" fmla="*/ 128 h 663"/>
                <a:gd name="T52" fmla="*/ 635 w 660"/>
                <a:gd name="T53" fmla="*/ 202 h 663"/>
                <a:gd name="T54" fmla="*/ 657 w 660"/>
                <a:gd name="T55" fmla="*/ 286 h 663"/>
                <a:gd name="T56" fmla="*/ 659 w 660"/>
                <a:gd name="T57" fmla="*/ 350 h 663"/>
                <a:gd name="T58" fmla="*/ 596 w 660"/>
                <a:gd name="T59" fmla="*/ 411 h 663"/>
                <a:gd name="T60" fmla="*/ 548 w 660"/>
                <a:gd name="T61" fmla="*/ 483 h 663"/>
                <a:gd name="T62" fmla="*/ 515 w 660"/>
                <a:gd name="T63" fmla="*/ 567 h 663"/>
                <a:gd name="T64" fmla="*/ 474 w 660"/>
                <a:gd name="T65" fmla="*/ 629 h 663"/>
                <a:gd name="T66" fmla="*/ 405 w 660"/>
                <a:gd name="T67" fmla="*/ 654 h 663"/>
                <a:gd name="T68" fmla="*/ 331 w 660"/>
                <a:gd name="T69" fmla="*/ 663 h 663"/>
                <a:gd name="T70" fmla="*/ 243 w 660"/>
                <a:gd name="T71" fmla="*/ 651 h 663"/>
                <a:gd name="T72" fmla="*/ 164 w 660"/>
                <a:gd name="T73" fmla="*/ 617 h 663"/>
                <a:gd name="T74" fmla="*/ 98 w 660"/>
                <a:gd name="T75" fmla="*/ 565 h 663"/>
                <a:gd name="T76" fmla="*/ 46 w 660"/>
                <a:gd name="T77" fmla="*/ 499 h 663"/>
                <a:gd name="T78" fmla="*/ 12 w 660"/>
                <a:gd name="T79" fmla="*/ 419 h 663"/>
                <a:gd name="T80" fmla="*/ 0 w 660"/>
                <a:gd name="T81" fmla="*/ 331 h 663"/>
                <a:gd name="T82" fmla="*/ 12 w 660"/>
                <a:gd name="T83" fmla="*/ 243 h 663"/>
                <a:gd name="T84" fmla="*/ 46 w 660"/>
                <a:gd name="T85" fmla="*/ 164 h 663"/>
                <a:gd name="T86" fmla="*/ 98 w 660"/>
                <a:gd name="T87" fmla="*/ 97 h 663"/>
                <a:gd name="T88" fmla="*/ 164 w 660"/>
                <a:gd name="T89" fmla="*/ 45 h 663"/>
                <a:gd name="T90" fmla="*/ 243 w 660"/>
                <a:gd name="T91" fmla="*/ 11 h 663"/>
                <a:gd name="T92" fmla="*/ 331 w 660"/>
                <a:gd name="T93" fmla="*/ 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60" h="663">
                  <a:moveTo>
                    <a:pt x="331" y="60"/>
                  </a:moveTo>
                  <a:lnTo>
                    <a:pt x="291" y="63"/>
                  </a:lnTo>
                  <a:lnTo>
                    <a:pt x="253" y="72"/>
                  </a:lnTo>
                  <a:lnTo>
                    <a:pt x="217" y="85"/>
                  </a:lnTo>
                  <a:lnTo>
                    <a:pt x="184" y="104"/>
                  </a:lnTo>
                  <a:lnTo>
                    <a:pt x="153" y="126"/>
                  </a:lnTo>
                  <a:lnTo>
                    <a:pt x="127" y="154"/>
                  </a:lnTo>
                  <a:lnTo>
                    <a:pt x="105" y="183"/>
                  </a:lnTo>
                  <a:lnTo>
                    <a:pt x="86" y="217"/>
                  </a:lnTo>
                  <a:lnTo>
                    <a:pt x="72" y="253"/>
                  </a:lnTo>
                  <a:lnTo>
                    <a:pt x="64" y="291"/>
                  </a:lnTo>
                  <a:lnTo>
                    <a:pt x="61" y="331"/>
                  </a:lnTo>
                  <a:lnTo>
                    <a:pt x="64" y="371"/>
                  </a:lnTo>
                  <a:lnTo>
                    <a:pt x="72" y="409"/>
                  </a:lnTo>
                  <a:lnTo>
                    <a:pt x="86" y="445"/>
                  </a:lnTo>
                  <a:lnTo>
                    <a:pt x="105" y="478"/>
                  </a:lnTo>
                  <a:lnTo>
                    <a:pt x="127" y="509"/>
                  </a:lnTo>
                  <a:lnTo>
                    <a:pt x="153" y="535"/>
                  </a:lnTo>
                  <a:lnTo>
                    <a:pt x="184" y="558"/>
                  </a:lnTo>
                  <a:lnTo>
                    <a:pt x="217" y="576"/>
                  </a:lnTo>
                  <a:lnTo>
                    <a:pt x="253" y="591"/>
                  </a:lnTo>
                  <a:lnTo>
                    <a:pt x="291" y="599"/>
                  </a:lnTo>
                  <a:lnTo>
                    <a:pt x="331" y="602"/>
                  </a:lnTo>
                  <a:lnTo>
                    <a:pt x="362" y="600"/>
                  </a:lnTo>
                  <a:lnTo>
                    <a:pt x="393" y="595"/>
                  </a:lnTo>
                  <a:lnTo>
                    <a:pt x="423" y="585"/>
                  </a:lnTo>
                  <a:lnTo>
                    <a:pt x="452" y="572"/>
                  </a:lnTo>
                  <a:lnTo>
                    <a:pt x="465" y="524"/>
                  </a:lnTo>
                  <a:lnTo>
                    <a:pt x="483" y="478"/>
                  </a:lnTo>
                  <a:lnTo>
                    <a:pt x="506" y="434"/>
                  </a:lnTo>
                  <a:lnTo>
                    <a:pt x="533" y="394"/>
                  </a:lnTo>
                  <a:lnTo>
                    <a:pt x="564" y="356"/>
                  </a:lnTo>
                  <a:lnTo>
                    <a:pt x="600" y="320"/>
                  </a:lnTo>
                  <a:lnTo>
                    <a:pt x="595" y="281"/>
                  </a:lnTo>
                  <a:lnTo>
                    <a:pt x="586" y="245"/>
                  </a:lnTo>
                  <a:lnTo>
                    <a:pt x="572" y="210"/>
                  </a:lnTo>
                  <a:lnTo>
                    <a:pt x="553" y="178"/>
                  </a:lnTo>
                  <a:lnTo>
                    <a:pt x="530" y="150"/>
                  </a:lnTo>
                  <a:lnTo>
                    <a:pt x="504" y="124"/>
                  </a:lnTo>
                  <a:lnTo>
                    <a:pt x="474" y="102"/>
                  </a:lnTo>
                  <a:lnTo>
                    <a:pt x="442" y="84"/>
                  </a:lnTo>
                  <a:lnTo>
                    <a:pt x="406" y="71"/>
                  </a:lnTo>
                  <a:lnTo>
                    <a:pt x="370" y="63"/>
                  </a:lnTo>
                  <a:lnTo>
                    <a:pt x="331" y="60"/>
                  </a:lnTo>
                  <a:close/>
                  <a:moveTo>
                    <a:pt x="331" y="0"/>
                  </a:moveTo>
                  <a:lnTo>
                    <a:pt x="376" y="3"/>
                  </a:lnTo>
                  <a:lnTo>
                    <a:pt x="419" y="11"/>
                  </a:lnTo>
                  <a:lnTo>
                    <a:pt x="459" y="25"/>
                  </a:lnTo>
                  <a:lnTo>
                    <a:pt x="497" y="45"/>
                  </a:lnTo>
                  <a:lnTo>
                    <a:pt x="532" y="68"/>
                  </a:lnTo>
                  <a:lnTo>
                    <a:pt x="564" y="97"/>
                  </a:lnTo>
                  <a:lnTo>
                    <a:pt x="592" y="128"/>
                  </a:lnTo>
                  <a:lnTo>
                    <a:pt x="616" y="164"/>
                  </a:lnTo>
                  <a:lnTo>
                    <a:pt x="635" y="202"/>
                  </a:lnTo>
                  <a:lnTo>
                    <a:pt x="649" y="243"/>
                  </a:lnTo>
                  <a:lnTo>
                    <a:pt x="657" y="286"/>
                  </a:lnTo>
                  <a:lnTo>
                    <a:pt x="660" y="331"/>
                  </a:lnTo>
                  <a:lnTo>
                    <a:pt x="659" y="350"/>
                  </a:lnTo>
                  <a:lnTo>
                    <a:pt x="627" y="378"/>
                  </a:lnTo>
                  <a:lnTo>
                    <a:pt x="596" y="411"/>
                  </a:lnTo>
                  <a:lnTo>
                    <a:pt x="571" y="446"/>
                  </a:lnTo>
                  <a:lnTo>
                    <a:pt x="548" y="483"/>
                  </a:lnTo>
                  <a:lnTo>
                    <a:pt x="529" y="524"/>
                  </a:lnTo>
                  <a:lnTo>
                    <a:pt x="515" y="567"/>
                  </a:lnTo>
                  <a:lnTo>
                    <a:pt x="506" y="611"/>
                  </a:lnTo>
                  <a:lnTo>
                    <a:pt x="474" y="629"/>
                  </a:lnTo>
                  <a:lnTo>
                    <a:pt x="441" y="644"/>
                  </a:lnTo>
                  <a:lnTo>
                    <a:pt x="405" y="654"/>
                  </a:lnTo>
                  <a:lnTo>
                    <a:pt x="369" y="660"/>
                  </a:lnTo>
                  <a:lnTo>
                    <a:pt x="331" y="663"/>
                  </a:lnTo>
                  <a:lnTo>
                    <a:pt x="286" y="660"/>
                  </a:lnTo>
                  <a:lnTo>
                    <a:pt x="243" y="651"/>
                  </a:lnTo>
                  <a:lnTo>
                    <a:pt x="202" y="636"/>
                  </a:lnTo>
                  <a:lnTo>
                    <a:pt x="164" y="617"/>
                  </a:lnTo>
                  <a:lnTo>
                    <a:pt x="129" y="594"/>
                  </a:lnTo>
                  <a:lnTo>
                    <a:pt x="98" y="565"/>
                  </a:lnTo>
                  <a:lnTo>
                    <a:pt x="69" y="533"/>
                  </a:lnTo>
                  <a:lnTo>
                    <a:pt x="46" y="499"/>
                  </a:lnTo>
                  <a:lnTo>
                    <a:pt x="27" y="460"/>
                  </a:lnTo>
                  <a:lnTo>
                    <a:pt x="12" y="419"/>
                  </a:lnTo>
                  <a:lnTo>
                    <a:pt x="3" y="376"/>
                  </a:lnTo>
                  <a:lnTo>
                    <a:pt x="0" y="331"/>
                  </a:lnTo>
                  <a:lnTo>
                    <a:pt x="3" y="286"/>
                  </a:lnTo>
                  <a:lnTo>
                    <a:pt x="12" y="243"/>
                  </a:lnTo>
                  <a:lnTo>
                    <a:pt x="27" y="202"/>
                  </a:lnTo>
                  <a:lnTo>
                    <a:pt x="46" y="164"/>
                  </a:lnTo>
                  <a:lnTo>
                    <a:pt x="69" y="128"/>
                  </a:lnTo>
                  <a:lnTo>
                    <a:pt x="98" y="97"/>
                  </a:lnTo>
                  <a:lnTo>
                    <a:pt x="129" y="68"/>
                  </a:lnTo>
                  <a:lnTo>
                    <a:pt x="164" y="45"/>
                  </a:lnTo>
                  <a:lnTo>
                    <a:pt x="202" y="25"/>
                  </a:lnTo>
                  <a:lnTo>
                    <a:pt x="243" y="11"/>
                  </a:lnTo>
                  <a:lnTo>
                    <a:pt x="286" y="3"/>
                  </a:lnTo>
                  <a:lnTo>
                    <a:pt x="331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0" name="Freeform 321">
              <a:extLst>
                <a:ext uri="{FF2B5EF4-FFF2-40B4-BE49-F238E27FC236}">
                  <a16:creationId xmlns:a16="http://schemas.microsoft.com/office/drawing/2014/main" xmlns="" id="{AB2E00DF-ECB6-4FED-B944-497FD28489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" y="2577"/>
              <a:ext cx="83" cy="83"/>
            </a:xfrm>
            <a:custGeom>
              <a:avLst/>
              <a:gdLst>
                <a:gd name="T0" fmla="*/ 290 w 660"/>
                <a:gd name="T1" fmla="*/ 63 h 663"/>
                <a:gd name="T2" fmla="*/ 215 w 660"/>
                <a:gd name="T3" fmla="*/ 87 h 663"/>
                <a:gd name="T4" fmla="*/ 152 w 660"/>
                <a:gd name="T5" fmla="*/ 128 h 663"/>
                <a:gd name="T6" fmla="*/ 103 w 660"/>
                <a:gd name="T7" fmla="*/ 187 h 663"/>
                <a:gd name="T8" fmla="*/ 71 w 660"/>
                <a:gd name="T9" fmla="*/ 257 h 663"/>
                <a:gd name="T10" fmla="*/ 103 w 660"/>
                <a:gd name="T11" fmla="*/ 328 h 663"/>
                <a:gd name="T12" fmla="*/ 169 w 660"/>
                <a:gd name="T13" fmla="*/ 404 h 663"/>
                <a:gd name="T14" fmla="*/ 216 w 660"/>
                <a:gd name="T15" fmla="*/ 492 h 663"/>
                <a:gd name="T16" fmla="*/ 246 w 660"/>
                <a:gd name="T17" fmla="*/ 588 h 663"/>
                <a:gd name="T18" fmla="*/ 302 w 660"/>
                <a:gd name="T19" fmla="*/ 600 h 663"/>
                <a:gd name="T20" fmla="*/ 370 w 660"/>
                <a:gd name="T21" fmla="*/ 599 h 663"/>
                <a:gd name="T22" fmla="*/ 444 w 660"/>
                <a:gd name="T23" fmla="*/ 577 h 663"/>
                <a:gd name="T24" fmla="*/ 507 w 660"/>
                <a:gd name="T25" fmla="*/ 536 h 663"/>
                <a:gd name="T26" fmla="*/ 556 w 660"/>
                <a:gd name="T27" fmla="*/ 479 h 663"/>
                <a:gd name="T28" fmla="*/ 588 w 660"/>
                <a:gd name="T29" fmla="*/ 409 h 663"/>
                <a:gd name="T30" fmla="*/ 599 w 660"/>
                <a:gd name="T31" fmla="*/ 332 h 663"/>
                <a:gd name="T32" fmla="*/ 588 w 660"/>
                <a:gd name="T33" fmla="*/ 253 h 663"/>
                <a:gd name="T34" fmla="*/ 556 w 660"/>
                <a:gd name="T35" fmla="*/ 184 h 663"/>
                <a:gd name="T36" fmla="*/ 507 w 660"/>
                <a:gd name="T37" fmla="*/ 127 h 663"/>
                <a:gd name="T38" fmla="*/ 444 w 660"/>
                <a:gd name="T39" fmla="*/ 86 h 663"/>
                <a:gd name="T40" fmla="*/ 370 w 660"/>
                <a:gd name="T41" fmla="*/ 63 h 663"/>
                <a:gd name="T42" fmla="*/ 330 w 660"/>
                <a:gd name="T43" fmla="*/ 61 h 663"/>
                <a:gd name="T44" fmla="*/ 330 w 660"/>
                <a:gd name="T45" fmla="*/ 0 h 663"/>
                <a:gd name="T46" fmla="*/ 417 w 660"/>
                <a:gd name="T47" fmla="*/ 11 h 663"/>
                <a:gd name="T48" fmla="*/ 497 w 660"/>
                <a:gd name="T49" fmla="*/ 45 h 663"/>
                <a:gd name="T50" fmla="*/ 564 w 660"/>
                <a:gd name="T51" fmla="*/ 97 h 663"/>
                <a:gd name="T52" fmla="*/ 616 w 660"/>
                <a:gd name="T53" fmla="*/ 164 h 663"/>
                <a:gd name="T54" fmla="*/ 648 w 660"/>
                <a:gd name="T55" fmla="*/ 243 h 663"/>
                <a:gd name="T56" fmla="*/ 660 w 660"/>
                <a:gd name="T57" fmla="*/ 332 h 663"/>
                <a:gd name="T58" fmla="*/ 648 w 660"/>
                <a:gd name="T59" fmla="*/ 419 h 663"/>
                <a:gd name="T60" fmla="*/ 616 w 660"/>
                <a:gd name="T61" fmla="*/ 499 h 663"/>
                <a:gd name="T62" fmla="*/ 564 w 660"/>
                <a:gd name="T63" fmla="*/ 565 h 663"/>
                <a:gd name="T64" fmla="*/ 497 w 660"/>
                <a:gd name="T65" fmla="*/ 617 h 663"/>
                <a:gd name="T66" fmla="*/ 417 w 660"/>
                <a:gd name="T67" fmla="*/ 651 h 663"/>
                <a:gd name="T68" fmla="*/ 330 w 660"/>
                <a:gd name="T69" fmla="*/ 663 h 663"/>
                <a:gd name="T70" fmla="*/ 258 w 660"/>
                <a:gd name="T71" fmla="*/ 655 h 663"/>
                <a:gd name="T72" fmla="*/ 191 w 660"/>
                <a:gd name="T73" fmla="*/ 632 h 663"/>
                <a:gd name="T74" fmla="*/ 170 w 660"/>
                <a:gd name="T75" fmla="*/ 539 h 663"/>
                <a:gd name="T76" fmla="*/ 129 w 660"/>
                <a:gd name="T77" fmla="*/ 455 h 663"/>
                <a:gd name="T78" fmla="*/ 72 w 660"/>
                <a:gd name="T79" fmla="*/ 384 h 663"/>
                <a:gd name="T80" fmla="*/ 0 w 660"/>
                <a:gd name="T81" fmla="*/ 326 h 663"/>
                <a:gd name="T82" fmla="*/ 13 w 660"/>
                <a:gd name="T83" fmla="*/ 240 h 663"/>
                <a:gd name="T84" fmla="*/ 47 w 660"/>
                <a:gd name="T85" fmla="*/ 161 h 663"/>
                <a:gd name="T86" fmla="*/ 99 w 660"/>
                <a:gd name="T87" fmla="*/ 95 h 663"/>
                <a:gd name="T88" fmla="*/ 165 w 660"/>
                <a:gd name="T89" fmla="*/ 44 h 663"/>
                <a:gd name="T90" fmla="*/ 243 w 660"/>
                <a:gd name="T91" fmla="*/ 11 h 663"/>
                <a:gd name="T92" fmla="*/ 330 w 660"/>
                <a:gd name="T93" fmla="*/ 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60" h="663">
                  <a:moveTo>
                    <a:pt x="330" y="61"/>
                  </a:moveTo>
                  <a:lnTo>
                    <a:pt x="290" y="63"/>
                  </a:lnTo>
                  <a:lnTo>
                    <a:pt x="252" y="72"/>
                  </a:lnTo>
                  <a:lnTo>
                    <a:pt x="215" y="87"/>
                  </a:lnTo>
                  <a:lnTo>
                    <a:pt x="183" y="105"/>
                  </a:lnTo>
                  <a:lnTo>
                    <a:pt x="152" y="128"/>
                  </a:lnTo>
                  <a:lnTo>
                    <a:pt x="126" y="156"/>
                  </a:lnTo>
                  <a:lnTo>
                    <a:pt x="103" y="187"/>
                  </a:lnTo>
                  <a:lnTo>
                    <a:pt x="84" y="220"/>
                  </a:lnTo>
                  <a:lnTo>
                    <a:pt x="71" y="257"/>
                  </a:lnTo>
                  <a:lnTo>
                    <a:pt x="63" y="296"/>
                  </a:lnTo>
                  <a:lnTo>
                    <a:pt x="103" y="328"/>
                  </a:lnTo>
                  <a:lnTo>
                    <a:pt x="138" y="364"/>
                  </a:lnTo>
                  <a:lnTo>
                    <a:pt x="169" y="404"/>
                  </a:lnTo>
                  <a:lnTo>
                    <a:pt x="195" y="446"/>
                  </a:lnTo>
                  <a:lnTo>
                    <a:pt x="216" y="492"/>
                  </a:lnTo>
                  <a:lnTo>
                    <a:pt x="234" y="539"/>
                  </a:lnTo>
                  <a:lnTo>
                    <a:pt x="246" y="588"/>
                  </a:lnTo>
                  <a:lnTo>
                    <a:pt x="273" y="596"/>
                  </a:lnTo>
                  <a:lnTo>
                    <a:pt x="302" y="600"/>
                  </a:lnTo>
                  <a:lnTo>
                    <a:pt x="330" y="602"/>
                  </a:lnTo>
                  <a:lnTo>
                    <a:pt x="370" y="599"/>
                  </a:lnTo>
                  <a:lnTo>
                    <a:pt x="408" y="591"/>
                  </a:lnTo>
                  <a:lnTo>
                    <a:pt x="444" y="577"/>
                  </a:lnTo>
                  <a:lnTo>
                    <a:pt x="476" y="558"/>
                  </a:lnTo>
                  <a:lnTo>
                    <a:pt x="507" y="536"/>
                  </a:lnTo>
                  <a:lnTo>
                    <a:pt x="533" y="509"/>
                  </a:lnTo>
                  <a:lnTo>
                    <a:pt x="556" y="479"/>
                  </a:lnTo>
                  <a:lnTo>
                    <a:pt x="575" y="445"/>
                  </a:lnTo>
                  <a:lnTo>
                    <a:pt x="588" y="409"/>
                  </a:lnTo>
                  <a:lnTo>
                    <a:pt x="596" y="371"/>
                  </a:lnTo>
                  <a:lnTo>
                    <a:pt x="599" y="332"/>
                  </a:lnTo>
                  <a:lnTo>
                    <a:pt x="596" y="292"/>
                  </a:lnTo>
                  <a:lnTo>
                    <a:pt x="588" y="253"/>
                  </a:lnTo>
                  <a:lnTo>
                    <a:pt x="575" y="217"/>
                  </a:lnTo>
                  <a:lnTo>
                    <a:pt x="556" y="184"/>
                  </a:lnTo>
                  <a:lnTo>
                    <a:pt x="533" y="154"/>
                  </a:lnTo>
                  <a:lnTo>
                    <a:pt x="507" y="127"/>
                  </a:lnTo>
                  <a:lnTo>
                    <a:pt x="476" y="104"/>
                  </a:lnTo>
                  <a:lnTo>
                    <a:pt x="444" y="86"/>
                  </a:lnTo>
                  <a:lnTo>
                    <a:pt x="408" y="72"/>
                  </a:lnTo>
                  <a:lnTo>
                    <a:pt x="370" y="63"/>
                  </a:lnTo>
                  <a:lnTo>
                    <a:pt x="330" y="61"/>
                  </a:lnTo>
                  <a:lnTo>
                    <a:pt x="330" y="61"/>
                  </a:lnTo>
                  <a:close/>
                  <a:moveTo>
                    <a:pt x="330" y="0"/>
                  </a:moveTo>
                  <a:lnTo>
                    <a:pt x="330" y="0"/>
                  </a:lnTo>
                  <a:lnTo>
                    <a:pt x="375" y="3"/>
                  </a:lnTo>
                  <a:lnTo>
                    <a:pt x="417" y="11"/>
                  </a:lnTo>
                  <a:lnTo>
                    <a:pt x="459" y="25"/>
                  </a:lnTo>
                  <a:lnTo>
                    <a:pt x="497" y="45"/>
                  </a:lnTo>
                  <a:lnTo>
                    <a:pt x="532" y="69"/>
                  </a:lnTo>
                  <a:lnTo>
                    <a:pt x="564" y="97"/>
                  </a:lnTo>
                  <a:lnTo>
                    <a:pt x="591" y="128"/>
                  </a:lnTo>
                  <a:lnTo>
                    <a:pt x="616" y="164"/>
                  </a:lnTo>
                  <a:lnTo>
                    <a:pt x="634" y="202"/>
                  </a:lnTo>
                  <a:lnTo>
                    <a:pt x="648" y="243"/>
                  </a:lnTo>
                  <a:lnTo>
                    <a:pt x="657" y="287"/>
                  </a:lnTo>
                  <a:lnTo>
                    <a:pt x="660" y="332"/>
                  </a:lnTo>
                  <a:lnTo>
                    <a:pt x="657" y="376"/>
                  </a:lnTo>
                  <a:lnTo>
                    <a:pt x="648" y="419"/>
                  </a:lnTo>
                  <a:lnTo>
                    <a:pt x="634" y="460"/>
                  </a:lnTo>
                  <a:lnTo>
                    <a:pt x="616" y="499"/>
                  </a:lnTo>
                  <a:lnTo>
                    <a:pt x="591" y="534"/>
                  </a:lnTo>
                  <a:lnTo>
                    <a:pt x="564" y="565"/>
                  </a:lnTo>
                  <a:lnTo>
                    <a:pt x="532" y="594"/>
                  </a:lnTo>
                  <a:lnTo>
                    <a:pt x="497" y="617"/>
                  </a:lnTo>
                  <a:lnTo>
                    <a:pt x="459" y="637"/>
                  </a:lnTo>
                  <a:lnTo>
                    <a:pt x="417" y="651"/>
                  </a:lnTo>
                  <a:lnTo>
                    <a:pt x="375" y="660"/>
                  </a:lnTo>
                  <a:lnTo>
                    <a:pt x="330" y="663"/>
                  </a:lnTo>
                  <a:lnTo>
                    <a:pt x="294" y="661"/>
                  </a:lnTo>
                  <a:lnTo>
                    <a:pt x="258" y="655"/>
                  </a:lnTo>
                  <a:lnTo>
                    <a:pt x="223" y="645"/>
                  </a:lnTo>
                  <a:lnTo>
                    <a:pt x="191" y="632"/>
                  </a:lnTo>
                  <a:lnTo>
                    <a:pt x="183" y="584"/>
                  </a:lnTo>
                  <a:lnTo>
                    <a:pt x="170" y="539"/>
                  </a:lnTo>
                  <a:lnTo>
                    <a:pt x="152" y="496"/>
                  </a:lnTo>
                  <a:lnTo>
                    <a:pt x="129" y="455"/>
                  </a:lnTo>
                  <a:lnTo>
                    <a:pt x="103" y="417"/>
                  </a:lnTo>
                  <a:lnTo>
                    <a:pt x="72" y="384"/>
                  </a:lnTo>
                  <a:lnTo>
                    <a:pt x="38" y="353"/>
                  </a:lnTo>
                  <a:lnTo>
                    <a:pt x="0" y="326"/>
                  </a:lnTo>
                  <a:lnTo>
                    <a:pt x="4" y="282"/>
                  </a:lnTo>
                  <a:lnTo>
                    <a:pt x="13" y="240"/>
                  </a:lnTo>
                  <a:lnTo>
                    <a:pt x="27" y="199"/>
                  </a:lnTo>
                  <a:lnTo>
                    <a:pt x="47" y="161"/>
                  </a:lnTo>
                  <a:lnTo>
                    <a:pt x="70" y="126"/>
                  </a:lnTo>
                  <a:lnTo>
                    <a:pt x="99" y="95"/>
                  </a:lnTo>
                  <a:lnTo>
                    <a:pt x="130" y="67"/>
                  </a:lnTo>
                  <a:lnTo>
                    <a:pt x="165" y="44"/>
                  </a:lnTo>
                  <a:lnTo>
                    <a:pt x="202" y="25"/>
                  </a:lnTo>
                  <a:lnTo>
                    <a:pt x="243" y="11"/>
                  </a:lnTo>
                  <a:lnTo>
                    <a:pt x="285" y="3"/>
                  </a:lnTo>
                  <a:lnTo>
                    <a:pt x="330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1" name="Freeform 322">
              <a:extLst>
                <a:ext uri="{FF2B5EF4-FFF2-40B4-BE49-F238E27FC236}">
                  <a16:creationId xmlns:a16="http://schemas.microsoft.com/office/drawing/2014/main" xmlns="" id="{AD4B984A-73BD-4467-8D78-3D29035537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6" y="2662"/>
              <a:ext cx="83" cy="83"/>
            </a:xfrm>
            <a:custGeom>
              <a:avLst/>
              <a:gdLst>
                <a:gd name="T0" fmla="*/ 290 w 660"/>
                <a:gd name="T1" fmla="*/ 65 h 664"/>
                <a:gd name="T2" fmla="*/ 216 w 660"/>
                <a:gd name="T3" fmla="*/ 87 h 664"/>
                <a:gd name="T4" fmla="*/ 153 w 660"/>
                <a:gd name="T5" fmla="*/ 128 h 664"/>
                <a:gd name="T6" fmla="*/ 104 w 660"/>
                <a:gd name="T7" fmla="*/ 185 h 664"/>
                <a:gd name="T8" fmla="*/ 72 w 660"/>
                <a:gd name="T9" fmla="*/ 255 h 664"/>
                <a:gd name="T10" fmla="*/ 60 w 660"/>
                <a:gd name="T11" fmla="*/ 332 h 664"/>
                <a:gd name="T12" fmla="*/ 72 w 660"/>
                <a:gd name="T13" fmla="*/ 411 h 664"/>
                <a:gd name="T14" fmla="*/ 104 w 660"/>
                <a:gd name="T15" fmla="*/ 479 h 664"/>
                <a:gd name="T16" fmla="*/ 153 w 660"/>
                <a:gd name="T17" fmla="*/ 536 h 664"/>
                <a:gd name="T18" fmla="*/ 216 w 660"/>
                <a:gd name="T19" fmla="*/ 578 h 664"/>
                <a:gd name="T20" fmla="*/ 290 w 660"/>
                <a:gd name="T21" fmla="*/ 601 h 664"/>
                <a:gd name="T22" fmla="*/ 370 w 660"/>
                <a:gd name="T23" fmla="*/ 601 h 664"/>
                <a:gd name="T24" fmla="*/ 443 w 660"/>
                <a:gd name="T25" fmla="*/ 578 h 664"/>
                <a:gd name="T26" fmla="*/ 507 w 660"/>
                <a:gd name="T27" fmla="*/ 536 h 664"/>
                <a:gd name="T28" fmla="*/ 556 w 660"/>
                <a:gd name="T29" fmla="*/ 479 h 664"/>
                <a:gd name="T30" fmla="*/ 588 w 660"/>
                <a:gd name="T31" fmla="*/ 411 h 664"/>
                <a:gd name="T32" fmla="*/ 599 w 660"/>
                <a:gd name="T33" fmla="*/ 332 h 664"/>
                <a:gd name="T34" fmla="*/ 588 w 660"/>
                <a:gd name="T35" fmla="*/ 255 h 664"/>
                <a:gd name="T36" fmla="*/ 556 w 660"/>
                <a:gd name="T37" fmla="*/ 185 h 664"/>
                <a:gd name="T38" fmla="*/ 507 w 660"/>
                <a:gd name="T39" fmla="*/ 128 h 664"/>
                <a:gd name="T40" fmla="*/ 443 w 660"/>
                <a:gd name="T41" fmla="*/ 87 h 664"/>
                <a:gd name="T42" fmla="*/ 370 w 660"/>
                <a:gd name="T43" fmla="*/ 65 h 664"/>
                <a:gd name="T44" fmla="*/ 330 w 660"/>
                <a:gd name="T45" fmla="*/ 0 h 664"/>
                <a:gd name="T46" fmla="*/ 418 w 660"/>
                <a:gd name="T47" fmla="*/ 13 h 664"/>
                <a:gd name="T48" fmla="*/ 497 w 660"/>
                <a:gd name="T49" fmla="*/ 46 h 664"/>
                <a:gd name="T50" fmla="*/ 563 w 660"/>
                <a:gd name="T51" fmla="*/ 97 h 664"/>
                <a:gd name="T52" fmla="*/ 615 w 660"/>
                <a:gd name="T53" fmla="*/ 165 h 664"/>
                <a:gd name="T54" fmla="*/ 648 w 660"/>
                <a:gd name="T55" fmla="*/ 244 h 664"/>
                <a:gd name="T56" fmla="*/ 660 w 660"/>
                <a:gd name="T57" fmla="*/ 332 h 664"/>
                <a:gd name="T58" fmla="*/ 648 w 660"/>
                <a:gd name="T59" fmla="*/ 420 h 664"/>
                <a:gd name="T60" fmla="*/ 615 w 660"/>
                <a:gd name="T61" fmla="*/ 500 h 664"/>
                <a:gd name="T62" fmla="*/ 563 w 660"/>
                <a:gd name="T63" fmla="*/ 567 h 664"/>
                <a:gd name="T64" fmla="*/ 497 w 660"/>
                <a:gd name="T65" fmla="*/ 619 h 664"/>
                <a:gd name="T66" fmla="*/ 418 w 660"/>
                <a:gd name="T67" fmla="*/ 653 h 664"/>
                <a:gd name="T68" fmla="*/ 330 w 660"/>
                <a:gd name="T69" fmla="*/ 664 h 664"/>
                <a:gd name="T70" fmla="*/ 242 w 660"/>
                <a:gd name="T71" fmla="*/ 653 h 664"/>
                <a:gd name="T72" fmla="*/ 164 w 660"/>
                <a:gd name="T73" fmla="*/ 619 h 664"/>
                <a:gd name="T74" fmla="*/ 97 w 660"/>
                <a:gd name="T75" fmla="*/ 567 h 664"/>
                <a:gd name="T76" fmla="*/ 45 w 660"/>
                <a:gd name="T77" fmla="*/ 500 h 664"/>
                <a:gd name="T78" fmla="*/ 11 w 660"/>
                <a:gd name="T79" fmla="*/ 420 h 664"/>
                <a:gd name="T80" fmla="*/ 0 w 660"/>
                <a:gd name="T81" fmla="*/ 332 h 664"/>
                <a:gd name="T82" fmla="*/ 11 w 660"/>
                <a:gd name="T83" fmla="*/ 244 h 664"/>
                <a:gd name="T84" fmla="*/ 45 w 660"/>
                <a:gd name="T85" fmla="*/ 165 h 664"/>
                <a:gd name="T86" fmla="*/ 97 w 660"/>
                <a:gd name="T87" fmla="*/ 97 h 664"/>
                <a:gd name="T88" fmla="*/ 164 w 660"/>
                <a:gd name="T89" fmla="*/ 46 h 664"/>
                <a:gd name="T90" fmla="*/ 242 w 660"/>
                <a:gd name="T91" fmla="*/ 13 h 664"/>
                <a:gd name="T92" fmla="*/ 330 w 660"/>
                <a:gd name="T93" fmla="*/ 0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60" h="664">
                  <a:moveTo>
                    <a:pt x="330" y="62"/>
                  </a:moveTo>
                  <a:lnTo>
                    <a:pt x="290" y="65"/>
                  </a:lnTo>
                  <a:lnTo>
                    <a:pt x="252" y="73"/>
                  </a:lnTo>
                  <a:lnTo>
                    <a:pt x="216" y="87"/>
                  </a:lnTo>
                  <a:lnTo>
                    <a:pt x="183" y="106"/>
                  </a:lnTo>
                  <a:lnTo>
                    <a:pt x="153" y="128"/>
                  </a:lnTo>
                  <a:lnTo>
                    <a:pt x="126" y="155"/>
                  </a:lnTo>
                  <a:lnTo>
                    <a:pt x="104" y="185"/>
                  </a:lnTo>
                  <a:lnTo>
                    <a:pt x="85" y="218"/>
                  </a:lnTo>
                  <a:lnTo>
                    <a:pt x="72" y="255"/>
                  </a:lnTo>
                  <a:lnTo>
                    <a:pt x="63" y="292"/>
                  </a:lnTo>
                  <a:lnTo>
                    <a:pt x="60" y="332"/>
                  </a:lnTo>
                  <a:lnTo>
                    <a:pt x="63" y="372"/>
                  </a:lnTo>
                  <a:lnTo>
                    <a:pt x="72" y="411"/>
                  </a:lnTo>
                  <a:lnTo>
                    <a:pt x="85" y="447"/>
                  </a:lnTo>
                  <a:lnTo>
                    <a:pt x="104" y="479"/>
                  </a:lnTo>
                  <a:lnTo>
                    <a:pt x="126" y="510"/>
                  </a:lnTo>
                  <a:lnTo>
                    <a:pt x="153" y="536"/>
                  </a:lnTo>
                  <a:lnTo>
                    <a:pt x="183" y="560"/>
                  </a:lnTo>
                  <a:lnTo>
                    <a:pt x="216" y="578"/>
                  </a:lnTo>
                  <a:lnTo>
                    <a:pt x="252" y="591"/>
                  </a:lnTo>
                  <a:lnTo>
                    <a:pt x="290" y="601"/>
                  </a:lnTo>
                  <a:lnTo>
                    <a:pt x="330" y="603"/>
                  </a:lnTo>
                  <a:lnTo>
                    <a:pt x="370" y="601"/>
                  </a:lnTo>
                  <a:lnTo>
                    <a:pt x="407" y="591"/>
                  </a:lnTo>
                  <a:lnTo>
                    <a:pt x="443" y="578"/>
                  </a:lnTo>
                  <a:lnTo>
                    <a:pt x="477" y="560"/>
                  </a:lnTo>
                  <a:lnTo>
                    <a:pt x="507" y="536"/>
                  </a:lnTo>
                  <a:lnTo>
                    <a:pt x="533" y="510"/>
                  </a:lnTo>
                  <a:lnTo>
                    <a:pt x="556" y="479"/>
                  </a:lnTo>
                  <a:lnTo>
                    <a:pt x="574" y="447"/>
                  </a:lnTo>
                  <a:lnTo>
                    <a:pt x="588" y="411"/>
                  </a:lnTo>
                  <a:lnTo>
                    <a:pt x="596" y="372"/>
                  </a:lnTo>
                  <a:lnTo>
                    <a:pt x="599" y="332"/>
                  </a:lnTo>
                  <a:lnTo>
                    <a:pt x="596" y="292"/>
                  </a:lnTo>
                  <a:lnTo>
                    <a:pt x="588" y="255"/>
                  </a:lnTo>
                  <a:lnTo>
                    <a:pt x="574" y="218"/>
                  </a:lnTo>
                  <a:lnTo>
                    <a:pt x="556" y="185"/>
                  </a:lnTo>
                  <a:lnTo>
                    <a:pt x="533" y="155"/>
                  </a:lnTo>
                  <a:lnTo>
                    <a:pt x="507" y="128"/>
                  </a:lnTo>
                  <a:lnTo>
                    <a:pt x="477" y="106"/>
                  </a:lnTo>
                  <a:lnTo>
                    <a:pt x="443" y="87"/>
                  </a:lnTo>
                  <a:lnTo>
                    <a:pt x="407" y="73"/>
                  </a:lnTo>
                  <a:lnTo>
                    <a:pt x="370" y="65"/>
                  </a:lnTo>
                  <a:lnTo>
                    <a:pt x="330" y="62"/>
                  </a:lnTo>
                  <a:close/>
                  <a:moveTo>
                    <a:pt x="330" y="0"/>
                  </a:moveTo>
                  <a:lnTo>
                    <a:pt x="375" y="4"/>
                  </a:lnTo>
                  <a:lnTo>
                    <a:pt x="418" y="13"/>
                  </a:lnTo>
                  <a:lnTo>
                    <a:pt x="458" y="27"/>
                  </a:lnTo>
                  <a:lnTo>
                    <a:pt x="497" y="46"/>
                  </a:lnTo>
                  <a:lnTo>
                    <a:pt x="531" y="70"/>
                  </a:lnTo>
                  <a:lnTo>
                    <a:pt x="563" y="97"/>
                  </a:lnTo>
                  <a:lnTo>
                    <a:pt x="591" y="130"/>
                  </a:lnTo>
                  <a:lnTo>
                    <a:pt x="615" y="165"/>
                  </a:lnTo>
                  <a:lnTo>
                    <a:pt x="634" y="204"/>
                  </a:lnTo>
                  <a:lnTo>
                    <a:pt x="648" y="244"/>
                  </a:lnTo>
                  <a:lnTo>
                    <a:pt x="657" y="287"/>
                  </a:lnTo>
                  <a:lnTo>
                    <a:pt x="660" y="332"/>
                  </a:lnTo>
                  <a:lnTo>
                    <a:pt x="657" y="377"/>
                  </a:lnTo>
                  <a:lnTo>
                    <a:pt x="648" y="420"/>
                  </a:lnTo>
                  <a:lnTo>
                    <a:pt x="634" y="462"/>
                  </a:lnTo>
                  <a:lnTo>
                    <a:pt x="615" y="500"/>
                  </a:lnTo>
                  <a:lnTo>
                    <a:pt x="591" y="535"/>
                  </a:lnTo>
                  <a:lnTo>
                    <a:pt x="563" y="567"/>
                  </a:lnTo>
                  <a:lnTo>
                    <a:pt x="531" y="594"/>
                  </a:lnTo>
                  <a:lnTo>
                    <a:pt x="497" y="619"/>
                  </a:lnTo>
                  <a:lnTo>
                    <a:pt x="458" y="638"/>
                  </a:lnTo>
                  <a:lnTo>
                    <a:pt x="418" y="653"/>
                  </a:lnTo>
                  <a:lnTo>
                    <a:pt x="375" y="661"/>
                  </a:lnTo>
                  <a:lnTo>
                    <a:pt x="330" y="664"/>
                  </a:lnTo>
                  <a:lnTo>
                    <a:pt x="286" y="661"/>
                  </a:lnTo>
                  <a:lnTo>
                    <a:pt x="242" y="653"/>
                  </a:lnTo>
                  <a:lnTo>
                    <a:pt x="201" y="638"/>
                  </a:lnTo>
                  <a:lnTo>
                    <a:pt x="164" y="619"/>
                  </a:lnTo>
                  <a:lnTo>
                    <a:pt x="128" y="594"/>
                  </a:lnTo>
                  <a:lnTo>
                    <a:pt x="97" y="567"/>
                  </a:lnTo>
                  <a:lnTo>
                    <a:pt x="68" y="535"/>
                  </a:lnTo>
                  <a:lnTo>
                    <a:pt x="45" y="500"/>
                  </a:lnTo>
                  <a:lnTo>
                    <a:pt x="26" y="462"/>
                  </a:lnTo>
                  <a:lnTo>
                    <a:pt x="11" y="420"/>
                  </a:lnTo>
                  <a:lnTo>
                    <a:pt x="3" y="377"/>
                  </a:lnTo>
                  <a:lnTo>
                    <a:pt x="0" y="332"/>
                  </a:lnTo>
                  <a:lnTo>
                    <a:pt x="3" y="287"/>
                  </a:lnTo>
                  <a:lnTo>
                    <a:pt x="11" y="244"/>
                  </a:lnTo>
                  <a:lnTo>
                    <a:pt x="26" y="204"/>
                  </a:lnTo>
                  <a:lnTo>
                    <a:pt x="45" y="165"/>
                  </a:lnTo>
                  <a:lnTo>
                    <a:pt x="68" y="130"/>
                  </a:lnTo>
                  <a:lnTo>
                    <a:pt x="97" y="97"/>
                  </a:lnTo>
                  <a:lnTo>
                    <a:pt x="128" y="70"/>
                  </a:lnTo>
                  <a:lnTo>
                    <a:pt x="164" y="46"/>
                  </a:lnTo>
                  <a:lnTo>
                    <a:pt x="201" y="27"/>
                  </a:lnTo>
                  <a:lnTo>
                    <a:pt x="242" y="13"/>
                  </a:lnTo>
                  <a:lnTo>
                    <a:pt x="286" y="4"/>
                  </a:lnTo>
                  <a:lnTo>
                    <a:pt x="330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2" name="Freeform 323">
              <a:extLst>
                <a:ext uri="{FF2B5EF4-FFF2-40B4-BE49-F238E27FC236}">
                  <a16:creationId xmlns:a16="http://schemas.microsoft.com/office/drawing/2014/main" xmlns="" id="{9948028F-021B-43FF-A505-0FF0611F6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3" y="2705"/>
              <a:ext cx="103" cy="109"/>
            </a:xfrm>
            <a:custGeom>
              <a:avLst/>
              <a:gdLst>
                <a:gd name="T0" fmla="*/ 172 w 825"/>
                <a:gd name="T1" fmla="*/ 104 h 874"/>
                <a:gd name="T2" fmla="*/ 144 w 825"/>
                <a:gd name="T3" fmla="*/ 185 h 874"/>
                <a:gd name="T4" fmla="*/ 101 w 825"/>
                <a:gd name="T5" fmla="*/ 260 h 874"/>
                <a:gd name="T6" fmla="*/ 191 w 825"/>
                <a:gd name="T7" fmla="*/ 315 h 874"/>
                <a:gd name="T8" fmla="*/ 268 w 825"/>
                <a:gd name="T9" fmla="*/ 384 h 874"/>
                <a:gd name="T10" fmla="*/ 332 w 825"/>
                <a:gd name="T11" fmla="*/ 467 h 874"/>
                <a:gd name="T12" fmla="*/ 378 w 825"/>
                <a:gd name="T13" fmla="*/ 560 h 874"/>
                <a:gd name="T14" fmla="*/ 409 w 825"/>
                <a:gd name="T15" fmla="*/ 661 h 874"/>
                <a:gd name="T16" fmla="*/ 419 w 825"/>
                <a:gd name="T17" fmla="*/ 768 h 874"/>
                <a:gd name="T18" fmla="*/ 475 w 825"/>
                <a:gd name="T19" fmla="*/ 804 h 874"/>
                <a:gd name="T20" fmla="*/ 573 w 825"/>
                <a:gd name="T21" fmla="*/ 788 h 874"/>
                <a:gd name="T22" fmla="*/ 653 w 825"/>
                <a:gd name="T23" fmla="*/ 770 h 874"/>
                <a:gd name="T24" fmla="*/ 713 w 825"/>
                <a:gd name="T25" fmla="*/ 751 h 874"/>
                <a:gd name="T26" fmla="*/ 752 w 825"/>
                <a:gd name="T27" fmla="*/ 735 h 874"/>
                <a:gd name="T28" fmla="*/ 764 w 825"/>
                <a:gd name="T29" fmla="*/ 425 h 874"/>
                <a:gd name="T30" fmla="*/ 754 w 825"/>
                <a:gd name="T31" fmla="*/ 335 h 874"/>
                <a:gd name="T32" fmla="*/ 723 w 825"/>
                <a:gd name="T33" fmla="*/ 254 h 874"/>
                <a:gd name="T34" fmla="*/ 673 w 825"/>
                <a:gd name="T35" fmla="*/ 183 h 874"/>
                <a:gd name="T36" fmla="*/ 610 w 825"/>
                <a:gd name="T37" fmla="*/ 126 h 874"/>
                <a:gd name="T38" fmla="*/ 534 w 825"/>
                <a:gd name="T39" fmla="*/ 85 h 874"/>
                <a:gd name="T40" fmla="*/ 449 w 825"/>
                <a:gd name="T41" fmla="*/ 64 h 874"/>
                <a:gd name="T42" fmla="*/ 180 w 825"/>
                <a:gd name="T43" fmla="*/ 61 h 874"/>
                <a:gd name="T44" fmla="*/ 403 w 825"/>
                <a:gd name="T45" fmla="*/ 0 h 874"/>
                <a:gd name="T46" fmla="*/ 499 w 825"/>
                <a:gd name="T47" fmla="*/ 12 h 874"/>
                <a:gd name="T48" fmla="*/ 589 w 825"/>
                <a:gd name="T49" fmla="*/ 43 h 874"/>
                <a:gd name="T50" fmla="*/ 667 w 825"/>
                <a:gd name="T51" fmla="*/ 93 h 874"/>
                <a:gd name="T52" fmla="*/ 733 w 825"/>
                <a:gd name="T53" fmla="*/ 160 h 874"/>
                <a:gd name="T54" fmla="*/ 783 w 825"/>
                <a:gd name="T55" fmla="*/ 238 h 874"/>
                <a:gd name="T56" fmla="*/ 814 w 825"/>
                <a:gd name="T57" fmla="*/ 328 h 874"/>
                <a:gd name="T58" fmla="*/ 825 w 825"/>
                <a:gd name="T59" fmla="*/ 425 h 874"/>
                <a:gd name="T60" fmla="*/ 823 w 825"/>
                <a:gd name="T61" fmla="*/ 769 h 874"/>
                <a:gd name="T62" fmla="*/ 796 w 825"/>
                <a:gd name="T63" fmla="*/ 782 h 874"/>
                <a:gd name="T64" fmla="*/ 771 w 825"/>
                <a:gd name="T65" fmla="*/ 793 h 874"/>
                <a:gd name="T66" fmla="*/ 725 w 825"/>
                <a:gd name="T67" fmla="*/ 811 h 874"/>
                <a:gd name="T68" fmla="*/ 661 w 825"/>
                <a:gd name="T69" fmla="*/ 830 h 874"/>
                <a:gd name="T70" fmla="*/ 578 w 825"/>
                <a:gd name="T71" fmla="*/ 850 h 874"/>
                <a:gd name="T72" fmla="*/ 476 w 825"/>
                <a:gd name="T73" fmla="*/ 865 h 874"/>
                <a:gd name="T74" fmla="*/ 358 w 825"/>
                <a:gd name="T75" fmla="*/ 874 h 874"/>
                <a:gd name="T76" fmla="*/ 355 w 825"/>
                <a:gd name="T77" fmla="*/ 712 h 874"/>
                <a:gd name="T78" fmla="*/ 331 w 825"/>
                <a:gd name="T79" fmla="*/ 605 h 874"/>
                <a:gd name="T80" fmla="*/ 286 w 825"/>
                <a:gd name="T81" fmla="*/ 508 h 874"/>
                <a:gd name="T82" fmla="*/ 222 w 825"/>
                <a:gd name="T83" fmla="*/ 424 h 874"/>
                <a:gd name="T84" fmla="*/ 143 w 825"/>
                <a:gd name="T85" fmla="*/ 355 h 874"/>
                <a:gd name="T86" fmla="*/ 50 w 825"/>
                <a:gd name="T87" fmla="*/ 303 h 874"/>
                <a:gd name="T88" fmla="*/ 30 w 825"/>
                <a:gd name="T89" fmla="*/ 253 h 874"/>
                <a:gd name="T90" fmla="*/ 80 w 825"/>
                <a:gd name="T91" fmla="*/ 178 h 874"/>
                <a:gd name="T92" fmla="*/ 112 w 825"/>
                <a:gd name="T93" fmla="*/ 92 h 874"/>
                <a:gd name="T94" fmla="*/ 125 w 825"/>
                <a:gd name="T95" fmla="*/ 0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25" h="874">
                  <a:moveTo>
                    <a:pt x="180" y="61"/>
                  </a:moveTo>
                  <a:lnTo>
                    <a:pt x="172" y="104"/>
                  </a:lnTo>
                  <a:lnTo>
                    <a:pt x="159" y="144"/>
                  </a:lnTo>
                  <a:lnTo>
                    <a:pt x="144" y="185"/>
                  </a:lnTo>
                  <a:lnTo>
                    <a:pt x="124" y="223"/>
                  </a:lnTo>
                  <a:lnTo>
                    <a:pt x="101" y="260"/>
                  </a:lnTo>
                  <a:lnTo>
                    <a:pt x="147" y="285"/>
                  </a:lnTo>
                  <a:lnTo>
                    <a:pt x="191" y="315"/>
                  </a:lnTo>
                  <a:lnTo>
                    <a:pt x="231" y="347"/>
                  </a:lnTo>
                  <a:lnTo>
                    <a:pt x="268" y="384"/>
                  </a:lnTo>
                  <a:lnTo>
                    <a:pt x="301" y="424"/>
                  </a:lnTo>
                  <a:lnTo>
                    <a:pt x="332" y="467"/>
                  </a:lnTo>
                  <a:lnTo>
                    <a:pt x="357" y="513"/>
                  </a:lnTo>
                  <a:lnTo>
                    <a:pt x="378" y="560"/>
                  </a:lnTo>
                  <a:lnTo>
                    <a:pt x="396" y="610"/>
                  </a:lnTo>
                  <a:lnTo>
                    <a:pt x="409" y="661"/>
                  </a:lnTo>
                  <a:lnTo>
                    <a:pt x="416" y="714"/>
                  </a:lnTo>
                  <a:lnTo>
                    <a:pt x="419" y="768"/>
                  </a:lnTo>
                  <a:lnTo>
                    <a:pt x="419" y="810"/>
                  </a:lnTo>
                  <a:lnTo>
                    <a:pt x="475" y="804"/>
                  </a:lnTo>
                  <a:lnTo>
                    <a:pt x="526" y="797"/>
                  </a:lnTo>
                  <a:lnTo>
                    <a:pt x="573" y="788"/>
                  </a:lnTo>
                  <a:lnTo>
                    <a:pt x="615" y="779"/>
                  </a:lnTo>
                  <a:lnTo>
                    <a:pt x="653" y="770"/>
                  </a:lnTo>
                  <a:lnTo>
                    <a:pt x="685" y="760"/>
                  </a:lnTo>
                  <a:lnTo>
                    <a:pt x="713" y="751"/>
                  </a:lnTo>
                  <a:lnTo>
                    <a:pt x="735" y="742"/>
                  </a:lnTo>
                  <a:lnTo>
                    <a:pt x="752" y="735"/>
                  </a:lnTo>
                  <a:lnTo>
                    <a:pt x="764" y="730"/>
                  </a:lnTo>
                  <a:lnTo>
                    <a:pt x="764" y="425"/>
                  </a:lnTo>
                  <a:lnTo>
                    <a:pt x="762" y="379"/>
                  </a:lnTo>
                  <a:lnTo>
                    <a:pt x="754" y="335"/>
                  </a:lnTo>
                  <a:lnTo>
                    <a:pt x="740" y="293"/>
                  </a:lnTo>
                  <a:lnTo>
                    <a:pt x="723" y="254"/>
                  </a:lnTo>
                  <a:lnTo>
                    <a:pt x="700" y="217"/>
                  </a:lnTo>
                  <a:lnTo>
                    <a:pt x="673" y="183"/>
                  </a:lnTo>
                  <a:lnTo>
                    <a:pt x="644" y="153"/>
                  </a:lnTo>
                  <a:lnTo>
                    <a:pt x="610" y="126"/>
                  </a:lnTo>
                  <a:lnTo>
                    <a:pt x="573" y="104"/>
                  </a:lnTo>
                  <a:lnTo>
                    <a:pt x="534" y="85"/>
                  </a:lnTo>
                  <a:lnTo>
                    <a:pt x="492" y="72"/>
                  </a:lnTo>
                  <a:lnTo>
                    <a:pt x="449" y="64"/>
                  </a:lnTo>
                  <a:lnTo>
                    <a:pt x="403" y="61"/>
                  </a:lnTo>
                  <a:lnTo>
                    <a:pt x="180" y="61"/>
                  </a:lnTo>
                  <a:close/>
                  <a:moveTo>
                    <a:pt x="125" y="0"/>
                  </a:moveTo>
                  <a:lnTo>
                    <a:pt x="403" y="0"/>
                  </a:lnTo>
                  <a:lnTo>
                    <a:pt x="453" y="4"/>
                  </a:lnTo>
                  <a:lnTo>
                    <a:pt x="499" y="12"/>
                  </a:lnTo>
                  <a:lnTo>
                    <a:pt x="545" y="25"/>
                  </a:lnTo>
                  <a:lnTo>
                    <a:pt x="589" y="43"/>
                  </a:lnTo>
                  <a:lnTo>
                    <a:pt x="629" y="67"/>
                  </a:lnTo>
                  <a:lnTo>
                    <a:pt x="667" y="93"/>
                  </a:lnTo>
                  <a:lnTo>
                    <a:pt x="702" y="125"/>
                  </a:lnTo>
                  <a:lnTo>
                    <a:pt x="733" y="160"/>
                  </a:lnTo>
                  <a:lnTo>
                    <a:pt x="759" y="197"/>
                  </a:lnTo>
                  <a:lnTo>
                    <a:pt x="783" y="238"/>
                  </a:lnTo>
                  <a:lnTo>
                    <a:pt x="801" y="282"/>
                  </a:lnTo>
                  <a:lnTo>
                    <a:pt x="814" y="328"/>
                  </a:lnTo>
                  <a:lnTo>
                    <a:pt x="822" y="375"/>
                  </a:lnTo>
                  <a:lnTo>
                    <a:pt x="825" y="425"/>
                  </a:lnTo>
                  <a:lnTo>
                    <a:pt x="825" y="769"/>
                  </a:lnTo>
                  <a:lnTo>
                    <a:pt x="823" y="769"/>
                  </a:lnTo>
                  <a:lnTo>
                    <a:pt x="801" y="780"/>
                  </a:lnTo>
                  <a:lnTo>
                    <a:pt x="796" y="782"/>
                  </a:lnTo>
                  <a:lnTo>
                    <a:pt x="786" y="787"/>
                  </a:lnTo>
                  <a:lnTo>
                    <a:pt x="771" y="793"/>
                  </a:lnTo>
                  <a:lnTo>
                    <a:pt x="750" y="802"/>
                  </a:lnTo>
                  <a:lnTo>
                    <a:pt x="725" y="811"/>
                  </a:lnTo>
                  <a:lnTo>
                    <a:pt x="695" y="820"/>
                  </a:lnTo>
                  <a:lnTo>
                    <a:pt x="661" y="830"/>
                  </a:lnTo>
                  <a:lnTo>
                    <a:pt x="621" y="840"/>
                  </a:lnTo>
                  <a:lnTo>
                    <a:pt x="578" y="850"/>
                  </a:lnTo>
                  <a:lnTo>
                    <a:pt x="529" y="858"/>
                  </a:lnTo>
                  <a:lnTo>
                    <a:pt x="476" y="865"/>
                  </a:lnTo>
                  <a:lnTo>
                    <a:pt x="419" y="870"/>
                  </a:lnTo>
                  <a:lnTo>
                    <a:pt x="358" y="874"/>
                  </a:lnTo>
                  <a:lnTo>
                    <a:pt x="358" y="768"/>
                  </a:lnTo>
                  <a:lnTo>
                    <a:pt x="355" y="712"/>
                  </a:lnTo>
                  <a:lnTo>
                    <a:pt x="346" y="657"/>
                  </a:lnTo>
                  <a:lnTo>
                    <a:pt x="331" y="605"/>
                  </a:lnTo>
                  <a:lnTo>
                    <a:pt x="311" y="555"/>
                  </a:lnTo>
                  <a:lnTo>
                    <a:pt x="286" y="508"/>
                  </a:lnTo>
                  <a:lnTo>
                    <a:pt x="257" y="464"/>
                  </a:lnTo>
                  <a:lnTo>
                    <a:pt x="222" y="424"/>
                  </a:lnTo>
                  <a:lnTo>
                    <a:pt x="184" y="387"/>
                  </a:lnTo>
                  <a:lnTo>
                    <a:pt x="143" y="355"/>
                  </a:lnTo>
                  <a:lnTo>
                    <a:pt x="98" y="326"/>
                  </a:lnTo>
                  <a:lnTo>
                    <a:pt x="50" y="303"/>
                  </a:lnTo>
                  <a:lnTo>
                    <a:pt x="0" y="285"/>
                  </a:lnTo>
                  <a:lnTo>
                    <a:pt x="30" y="253"/>
                  </a:lnTo>
                  <a:lnTo>
                    <a:pt x="56" y="216"/>
                  </a:lnTo>
                  <a:lnTo>
                    <a:pt x="80" y="178"/>
                  </a:lnTo>
                  <a:lnTo>
                    <a:pt x="98" y="136"/>
                  </a:lnTo>
                  <a:lnTo>
                    <a:pt x="112" y="92"/>
                  </a:lnTo>
                  <a:lnTo>
                    <a:pt x="122" y="47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3" name="Freeform 324">
              <a:extLst>
                <a:ext uri="{FF2B5EF4-FFF2-40B4-BE49-F238E27FC236}">
                  <a16:creationId xmlns:a16="http://schemas.microsoft.com/office/drawing/2014/main" xmlns="" id="{D010C494-6813-40A6-B28A-DB22688213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1" y="2663"/>
              <a:ext cx="103" cy="109"/>
            </a:xfrm>
            <a:custGeom>
              <a:avLst/>
              <a:gdLst>
                <a:gd name="T0" fmla="*/ 172 w 826"/>
                <a:gd name="T1" fmla="*/ 103 h 873"/>
                <a:gd name="T2" fmla="*/ 143 w 826"/>
                <a:gd name="T3" fmla="*/ 184 h 873"/>
                <a:gd name="T4" fmla="*/ 101 w 826"/>
                <a:gd name="T5" fmla="*/ 259 h 873"/>
                <a:gd name="T6" fmla="*/ 191 w 826"/>
                <a:gd name="T7" fmla="*/ 314 h 873"/>
                <a:gd name="T8" fmla="*/ 268 w 826"/>
                <a:gd name="T9" fmla="*/ 383 h 873"/>
                <a:gd name="T10" fmla="*/ 331 w 826"/>
                <a:gd name="T11" fmla="*/ 466 h 873"/>
                <a:gd name="T12" fmla="*/ 379 w 826"/>
                <a:gd name="T13" fmla="*/ 559 h 873"/>
                <a:gd name="T14" fmla="*/ 408 w 826"/>
                <a:gd name="T15" fmla="*/ 660 h 873"/>
                <a:gd name="T16" fmla="*/ 419 w 826"/>
                <a:gd name="T17" fmla="*/ 767 h 873"/>
                <a:gd name="T18" fmla="*/ 474 w 826"/>
                <a:gd name="T19" fmla="*/ 803 h 873"/>
                <a:gd name="T20" fmla="*/ 573 w 826"/>
                <a:gd name="T21" fmla="*/ 788 h 873"/>
                <a:gd name="T22" fmla="*/ 653 w 826"/>
                <a:gd name="T23" fmla="*/ 768 h 873"/>
                <a:gd name="T24" fmla="*/ 713 w 826"/>
                <a:gd name="T25" fmla="*/ 750 h 873"/>
                <a:gd name="T26" fmla="*/ 753 w 826"/>
                <a:gd name="T27" fmla="*/ 735 h 873"/>
                <a:gd name="T28" fmla="*/ 765 w 826"/>
                <a:gd name="T29" fmla="*/ 424 h 873"/>
                <a:gd name="T30" fmla="*/ 754 w 826"/>
                <a:gd name="T31" fmla="*/ 334 h 873"/>
                <a:gd name="T32" fmla="*/ 722 w 826"/>
                <a:gd name="T33" fmla="*/ 253 h 873"/>
                <a:gd name="T34" fmla="*/ 674 w 826"/>
                <a:gd name="T35" fmla="*/ 182 h 873"/>
                <a:gd name="T36" fmla="*/ 610 w 826"/>
                <a:gd name="T37" fmla="*/ 125 h 873"/>
                <a:gd name="T38" fmla="*/ 534 w 826"/>
                <a:gd name="T39" fmla="*/ 84 h 873"/>
                <a:gd name="T40" fmla="*/ 448 w 826"/>
                <a:gd name="T41" fmla="*/ 63 h 873"/>
                <a:gd name="T42" fmla="*/ 181 w 826"/>
                <a:gd name="T43" fmla="*/ 60 h 873"/>
                <a:gd name="T44" fmla="*/ 403 w 826"/>
                <a:gd name="T45" fmla="*/ 0 h 873"/>
                <a:gd name="T46" fmla="*/ 500 w 826"/>
                <a:gd name="T47" fmla="*/ 11 h 873"/>
                <a:gd name="T48" fmla="*/ 589 w 826"/>
                <a:gd name="T49" fmla="*/ 43 h 873"/>
                <a:gd name="T50" fmla="*/ 667 w 826"/>
                <a:gd name="T51" fmla="*/ 93 h 873"/>
                <a:gd name="T52" fmla="*/ 732 w 826"/>
                <a:gd name="T53" fmla="*/ 159 h 873"/>
                <a:gd name="T54" fmla="*/ 783 w 826"/>
                <a:gd name="T55" fmla="*/ 238 h 873"/>
                <a:gd name="T56" fmla="*/ 815 w 826"/>
                <a:gd name="T57" fmla="*/ 327 h 873"/>
                <a:gd name="T58" fmla="*/ 826 w 826"/>
                <a:gd name="T59" fmla="*/ 424 h 873"/>
                <a:gd name="T60" fmla="*/ 824 w 826"/>
                <a:gd name="T61" fmla="*/ 768 h 873"/>
                <a:gd name="T62" fmla="*/ 796 w 826"/>
                <a:gd name="T63" fmla="*/ 783 h 873"/>
                <a:gd name="T64" fmla="*/ 771 w 826"/>
                <a:gd name="T65" fmla="*/ 793 h 873"/>
                <a:gd name="T66" fmla="*/ 725 w 826"/>
                <a:gd name="T67" fmla="*/ 810 h 873"/>
                <a:gd name="T68" fmla="*/ 661 w 826"/>
                <a:gd name="T69" fmla="*/ 829 h 873"/>
                <a:gd name="T70" fmla="*/ 578 w 826"/>
                <a:gd name="T71" fmla="*/ 849 h 873"/>
                <a:gd name="T72" fmla="*/ 476 w 826"/>
                <a:gd name="T73" fmla="*/ 864 h 873"/>
                <a:gd name="T74" fmla="*/ 359 w 826"/>
                <a:gd name="T75" fmla="*/ 873 h 873"/>
                <a:gd name="T76" fmla="*/ 356 w 826"/>
                <a:gd name="T77" fmla="*/ 711 h 873"/>
                <a:gd name="T78" fmla="*/ 331 w 826"/>
                <a:gd name="T79" fmla="*/ 604 h 873"/>
                <a:gd name="T80" fmla="*/ 287 w 826"/>
                <a:gd name="T81" fmla="*/ 507 h 873"/>
                <a:gd name="T82" fmla="*/ 223 w 826"/>
                <a:gd name="T83" fmla="*/ 423 h 873"/>
                <a:gd name="T84" fmla="*/ 143 w 826"/>
                <a:gd name="T85" fmla="*/ 354 h 873"/>
                <a:gd name="T86" fmla="*/ 50 w 826"/>
                <a:gd name="T87" fmla="*/ 302 h 873"/>
                <a:gd name="T88" fmla="*/ 31 w 826"/>
                <a:gd name="T89" fmla="*/ 252 h 873"/>
                <a:gd name="T90" fmla="*/ 79 w 826"/>
                <a:gd name="T91" fmla="*/ 177 h 873"/>
                <a:gd name="T92" fmla="*/ 112 w 826"/>
                <a:gd name="T93" fmla="*/ 93 h 873"/>
                <a:gd name="T94" fmla="*/ 125 w 826"/>
                <a:gd name="T95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26" h="873">
                  <a:moveTo>
                    <a:pt x="181" y="60"/>
                  </a:moveTo>
                  <a:lnTo>
                    <a:pt x="172" y="103"/>
                  </a:lnTo>
                  <a:lnTo>
                    <a:pt x="160" y="144"/>
                  </a:lnTo>
                  <a:lnTo>
                    <a:pt x="143" y="184"/>
                  </a:lnTo>
                  <a:lnTo>
                    <a:pt x="124" y="222"/>
                  </a:lnTo>
                  <a:lnTo>
                    <a:pt x="101" y="259"/>
                  </a:lnTo>
                  <a:lnTo>
                    <a:pt x="147" y="284"/>
                  </a:lnTo>
                  <a:lnTo>
                    <a:pt x="191" y="314"/>
                  </a:lnTo>
                  <a:lnTo>
                    <a:pt x="232" y="347"/>
                  </a:lnTo>
                  <a:lnTo>
                    <a:pt x="268" y="383"/>
                  </a:lnTo>
                  <a:lnTo>
                    <a:pt x="302" y="423"/>
                  </a:lnTo>
                  <a:lnTo>
                    <a:pt x="331" y="466"/>
                  </a:lnTo>
                  <a:lnTo>
                    <a:pt x="358" y="512"/>
                  </a:lnTo>
                  <a:lnTo>
                    <a:pt x="379" y="559"/>
                  </a:lnTo>
                  <a:lnTo>
                    <a:pt x="396" y="609"/>
                  </a:lnTo>
                  <a:lnTo>
                    <a:pt x="408" y="660"/>
                  </a:lnTo>
                  <a:lnTo>
                    <a:pt x="417" y="713"/>
                  </a:lnTo>
                  <a:lnTo>
                    <a:pt x="419" y="767"/>
                  </a:lnTo>
                  <a:lnTo>
                    <a:pt x="419" y="809"/>
                  </a:lnTo>
                  <a:lnTo>
                    <a:pt x="474" y="803"/>
                  </a:lnTo>
                  <a:lnTo>
                    <a:pt x="526" y="796"/>
                  </a:lnTo>
                  <a:lnTo>
                    <a:pt x="573" y="788"/>
                  </a:lnTo>
                  <a:lnTo>
                    <a:pt x="616" y="778"/>
                  </a:lnTo>
                  <a:lnTo>
                    <a:pt x="653" y="768"/>
                  </a:lnTo>
                  <a:lnTo>
                    <a:pt x="686" y="759"/>
                  </a:lnTo>
                  <a:lnTo>
                    <a:pt x="713" y="750"/>
                  </a:lnTo>
                  <a:lnTo>
                    <a:pt x="735" y="742"/>
                  </a:lnTo>
                  <a:lnTo>
                    <a:pt x="753" y="735"/>
                  </a:lnTo>
                  <a:lnTo>
                    <a:pt x="765" y="729"/>
                  </a:lnTo>
                  <a:lnTo>
                    <a:pt x="765" y="424"/>
                  </a:lnTo>
                  <a:lnTo>
                    <a:pt x="762" y="378"/>
                  </a:lnTo>
                  <a:lnTo>
                    <a:pt x="754" y="334"/>
                  </a:lnTo>
                  <a:lnTo>
                    <a:pt x="741" y="293"/>
                  </a:lnTo>
                  <a:lnTo>
                    <a:pt x="722" y="253"/>
                  </a:lnTo>
                  <a:lnTo>
                    <a:pt x="700" y="216"/>
                  </a:lnTo>
                  <a:lnTo>
                    <a:pt x="674" y="182"/>
                  </a:lnTo>
                  <a:lnTo>
                    <a:pt x="643" y="152"/>
                  </a:lnTo>
                  <a:lnTo>
                    <a:pt x="610" y="125"/>
                  </a:lnTo>
                  <a:lnTo>
                    <a:pt x="573" y="103"/>
                  </a:lnTo>
                  <a:lnTo>
                    <a:pt x="534" y="84"/>
                  </a:lnTo>
                  <a:lnTo>
                    <a:pt x="492" y="71"/>
                  </a:lnTo>
                  <a:lnTo>
                    <a:pt x="448" y="63"/>
                  </a:lnTo>
                  <a:lnTo>
                    <a:pt x="403" y="60"/>
                  </a:lnTo>
                  <a:lnTo>
                    <a:pt x="181" y="60"/>
                  </a:lnTo>
                  <a:close/>
                  <a:moveTo>
                    <a:pt x="125" y="0"/>
                  </a:moveTo>
                  <a:lnTo>
                    <a:pt x="403" y="0"/>
                  </a:lnTo>
                  <a:lnTo>
                    <a:pt x="452" y="3"/>
                  </a:lnTo>
                  <a:lnTo>
                    <a:pt x="500" y="11"/>
                  </a:lnTo>
                  <a:lnTo>
                    <a:pt x="546" y="24"/>
                  </a:lnTo>
                  <a:lnTo>
                    <a:pt x="589" y="43"/>
                  </a:lnTo>
                  <a:lnTo>
                    <a:pt x="630" y="66"/>
                  </a:lnTo>
                  <a:lnTo>
                    <a:pt x="667" y="93"/>
                  </a:lnTo>
                  <a:lnTo>
                    <a:pt x="702" y="124"/>
                  </a:lnTo>
                  <a:lnTo>
                    <a:pt x="732" y="159"/>
                  </a:lnTo>
                  <a:lnTo>
                    <a:pt x="760" y="197"/>
                  </a:lnTo>
                  <a:lnTo>
                    <a:pt x="783" y="238"/>
                  </a:lnTo>
                  <a:lnTo>
                    <a:pt x="801" y="281"/>
                  </a:lnTo>
                  <a:lnTo>
                    <a:pt x="815" y="327"/>
                  </a:lnTo>
                  <a:lnTo>
                    <a:pt x="823" y="374"/>
                  </a:lnTo>
                  <a:lnTo>
                    <a:pt x="826" y="424"/>
                  </a:lnTo>
                  <a:lnTo>
                    <a:pt x="826" y="768"/>
                  </a:lnTo>
                  <a:lnTo>
                    <a:pt x="824" y="768"/>
                  </a:lnTo>
                  <a:lnTo>
                    <a:pt x="801" y="779"/>
                  </a:lnTo>
                  <a:lnTo>
                    <a:pt x="796" y="783"/>
                  </a:lnTo>
                  <a:lnTo>
                    <a:pt x="786" y="787"/>
                  </a:lnTo>
                  <a:lnTo>
                    <a:pt x="771" y="793"/>
                  </a:lnTo>
                  <a:lnTo>
                    <a:pt x="751" y="801"/>
                  </a:lnTo>
                  <a:lnTo>
                    <a:pt x="725" y="810"/>
                  </a:lnTo>
                  <a:lnTo>
                    <a:pt x="696" y="819"/>
                  </a:lnTo>
                  <a:lnTo>
                    <a:pt x="661" y="829"/>
                  </a:lnTo>
                  <a:lnTo>
                    <a:pt x="622" y="840"/>
                  </a:lnTo>
                  <a:lnTo>
                    <a:pt x="578" y="849"/>
                  </a:lnTo>
                  <a:lnTo>
                    <a:pt x="529" y="857"/>
                  </a:lnTo>
                  <a:lnTo>
                    <a:pt x="476" y="864"/>
                  </a:lnTo>
                  <a:lnTo>
                    <a:pt x="420" y="869"/>
                  </a:lnTo>
                  <a:lnTo>
                    <a:pt x="359" y="873"/>
                  </a:lnTo>
                  <a:lnTo>
                    <a:pt x="359" y="767"/>
                  </a:lnTo>
                  <a:lnTo>
                    <a:pt x="356" y="711"/>
                  </a:lnTo>
                  <a:lnTo>
                    <a:pt x="346" y="656"/>
                  </a:lnTo>
                  <a:lnTo>
                    <a:pt x="331" y="604"/>
                  </a:lnTo>
                  <a:lnTo>
                    <a:pt x="311" y="554"/>
                  </a:lnTo>
                  <a:lnTo>
                    <a:pt x="287" y="507"/>
                  </a:lnTo>
                  <a:lnTo>
                    <a:pt x="257" y="463"/>
                  </a:lnTo>
                  <a:lnTo>
                    <a:pt x="223" y="423"/>
                  </a:lnTo>
                  <a:lnTo>
                    <a:pt x="185" y="387"/>
                  </a:lnTo>
                  <a:lnTo>
                    <a:pt x="143" y="354"/>
                  </a:lnTo>
                  <a:lnTo>
                    <a:pt x="99" y="325"/>
                  </a:lnTo>
                  <a:lnTo>
                    <a:pt x="50" y="302"/>
                  </a:lnTo>
                  <a:lnTo>
                    <a:pt x="0" y="284"/>
                  </a:lnTo>
                  <a:lnTo>
                    <a:pt x="31" y="252"/>
                  </a:lnTo>
                  <a:lnTo>
                    <a:pt x="57" y="216"/>
                  </a:lnTo>
                  <a:lnTo>
                    <a:pt x="79" y="177"/>
                  </a:lnTo>
                  <a:lnTo>
                    <a:pt x="99" y="135"/>
                  </a:lnTo>
                  <a:lnTo>
                    <a:pt x="112" y="93"/>
                  </a:lnTo>
                  <a:lnTo>
                    <a:pt x="121" y="47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4" name="Freeform 325">
              <a:extLst>
                <a:ext uri="{FF2B5EF4-FFF2-40B4-BE49-F238E27FC236}">
                  <a16:creationId xmlns:a16="http://schemas.microsoft.com/office/drawing/2014/main" xmlns="" id="{9ED51C96-7D44-4906-A4BC-C0A45B5ED9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5" y="2705"/>
              <a:ext cx="107" cy="109"/>
            </a:xfrm>
            <a:custGeom>
              <a:avLst/>
              <a:gdLst>
                <a:gd name="T0" fmla="*/ 377 w 859"/>
                <a:gd name="T1" fmla="*/ 64 h 872"/>
                <a:gd name="T2" fmla="*/ 292 w 859"/>
                <a:gd name="T3" fmla="*/ 85 h 872"/>
                <a:gd name="T4" fmla="*/ 216 w 859"/>
                <a:gd name="T5" fmla="*/ 126 h 872"/>
                <a:gd name="T6" fmla="*/ 152 w 859"/>
                <a:gd name="T7" fmla="*/ 183 h 872"/>
                <a:gd name="T8" fmla="*/ 103 w 859"/>
                <a:gd name="T9" fmla="*/ 254 h 872"/>
                <a:gd name="T10" fmla="*/ 72 w 859"/>
                <a:gd name="T11" fmla="*/ 335 h 872"/>
                <a:gd name="T12" fmla="*/ 60 w 859"/>
                <a:gd name="T13" fmla="*/ 425 h 872"/>
                <a:gd name="T14" fmla="*/ 156 w 859"/>
                <a:gd name="T15" fmla="*/ 756 h 872"/>
                <a:gd name="T16" fmla="*/ 346 w 859"/>
                <a:gd name="T17" fmla="*/ 794 h 872"/>
                <a:gd name="T18" fmla="*/ 440 w 859"/>
                <a:gd name="T19" fmla="*/ 768 h 872"/>
                <a:gd name="T20" fmla="*/ 451 w 859"/>
                <a:gd name="T21" fmla="*/ 661 h 872"/>
                <a:gd name="T22" fmla="*/ 480 w 859"/>
                <a:gd name="T23" fmla="*/ 560 h 872"/>
                <a:gd name="T24" fmla="*/ 528 w 859"/>
                <a:gd name="T25" fmla="*/ 467 h 872"/>
                <a:gd name="T26" fmla="*/ 591 w 859"/>
                <a:gd name="T27" fmla="*/ 384 h 872"/>
                <a:gd name="T28" fmla="*/ 668 w 859"/>
                <a:gd name="T29" fmla="*/ 314 h 872"/>
                <a:gd name="T30" fmla="*/ 757 w 859"/>
                <a:gd name="T31" fmla="*/ 260 h 872"/>
                <a:gd name="T32" fmla="*/ 715 w 859"/>
                <a:gd name="T33" fmla="*/ 185 h 872"/>
                <a:gd name="T34" fmla="*/ 687 w 859"/>
                <a:gd name="T35" fmla="*/ 104 h 872"/>
                <a:gd name="T36" fmla="*/ 423 w 859"/>
                <a:gd name="T37" fmla="*/ 61 h 872"/>
                <a:gd name="T38" fmla="*/ 702 w 859"/>
                <a:gd name="T39" fmla="*/ 0 h 872"/>
                <a:gd name="T40" fmla="*/ 738 w 859"/>
                <a:gd name="T41" fmla="*/ 48 h 872"/>
                <a:gd name="T42" fmla="*/ 761 w 859"/>
                <a:gd name="T43" fmla="*/ 137 h 872"/>
                <a:gd name="T44" fmla="*/ 802 w 859"/>
                <a:gd name="T45" fmla="*/ 217 h 872"/>
                <a:gd name="T46" fmla="*/ 859 w 859"/>
                <a:gd name="T47" fmla="*/ 285 h 872"/>
                <a:gd name="T48" fmla="*/ 760 w 859"/>
                <a:gd name="T49" fmla="*/ 326 h 872"/>
                <a:gd name="T50" fmla="*/ 674 w 859"/>
                <a:gd name="T51" fmla="*/ 387 h 872"/>
                <a:gd name="T52" fmla="*/ 602 w 859"/>
                <a:gd name="T53" fmla="*/ 464 h 872"/>
                <a:gd name="T54" fmla="*/ 547 w 859"/>
                <a:gd name="T55" fmla="*/ 555 h 872"/>
                <a:gd name="T56" fmla="*/ 512 w 859"/>
                <a:gd name="T57" fmla="*/ 657 h 872"/>
                <a:gd name="T58" fmla="*/ 500 w 859"/>
                <a:gd name="T59" fmla="*/ 768 h 872"/>
                <a:gd name="T60" fmla="*/ 440 w 859"/>
                <a:gd name="T61" fmla="*/ 867 h 872"/>
                <a:gd name="T62" fmla="*/ 311 w 859"/>
                <a:gd name="T63" fmla="*/ 851 h 872"/>
                <a:gd name="T64" fmla="*/ 172 w 859"/>
                <a:gd name="T65" fmla="*/ 823 h 872"/>
                <a:gd name="T66" fmla="*/ 25 w 859"/>
                <a:gd name="T67" fmla="*/ 782 h 872"/>
                <a:gd name="T68" fmla="*/ 0 w 859"/>
                <a:gd name="T69" fmla="*/ 769 h 872"/>
                <a:gd name="T70" fmla="*/ 3 w 859"/>
                <a:gd name="T71" fmla="*/ 375 h 872"/>
                <a:gd name="T72" fmla="*/ 25 w 859"/>
                <a:gd name="T73" fmla="*/ 282 h 872"/>
                <a:gd name="T74" fmla="*/ 66 w 859"/>
                <a:gd name="T75" fmla="*/ 197 h 872"/>
                <a:gd name="T76" fmla="*/ 123 w 859"/>
                <a:gd name="T77" fmla="*/ 125 h 872"/>
                <a:gd name="T78" fmla="*/ 197 w 859"/>
                <a:gd name="T79" fmla="*/ 67 h 872"/>
                <a:gd name="T80" fmla="*/ 280 w 859"/>
                <a:gd name="T81" fmla="*/ 25 h 872"/>
                <a:gd name="T82" fmla="*/ 373 w 859"/>
                <a:gd name="T83" fmla="*/ 4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59" h="872">
                  <a:moveTo>
                    <a:pt x="423" y="61"/>
                  </a:moveTo>
                  <a:lnTo>
                    <a:pt x="377" y="64"/>
                  </a:lnTo>
                  <a:lnTo>
                    <a:pt x="334" y="72"/>
                  </a:lnTo>
                  <a:lnTo>
                    <a:pt x="292" y="85"/>
                  </a:lnTo>
                  <a:lnTo>
                    <a:pt x="252" y="104"/>
                  </a:lnTo>
                  <a:lnTo>
                    <a:pt x="216" y="126"/>
                  </a:lnTo>
                  <a:lnTo>
                    <a:pt x="182" y="153"/>
                  </a:lnTo>
                  <a:lnTo>
                    <a:pt x="152" y="183"/>
                  </a:lnTo>
                  <a:lnTo>
                    <a:pt x="125" y="217"/>
                  </a:lnTo>
                  <a:lnTo>
                    <a:pt x="103" y="254"/>
                  </a:lnTo>
                  <a:lnTo>
                    <a:pt x="85" y="293"/>
                  </a:lnTo>
                  <a:lnTo>
                    <a:pt x="72" y="335"/>
                  </a:lnTo>
                  <a:lnTo>
                    <a:pt x="64" y="379"/>
                  </a:lnTo>
                  <a:lnTo>
                    <a:pt x="60" y="425"/>
                  </a:lnTo>
                  <a:lnTo>
                    <a:pt x="60" y="729"/>
                  </a:lnTo>
                  <a:lnTo>
                    <a:pt x="156" y="756"/>
                  </a:lnTo>
                  <a:lnTo>
                    <a:pt x="251" y="778"/>
                  </a:lnTo>
                  <a:lnTo>
                    <a:pt x="346" y="794"/>
                  </a:lnTo>
                  <a:lnTo>
                    <a:pt x="440" y="806"/>
                  </a:lnTo>
                  <a:lnTo>
                    <a:pt x="440" y="768"/>
                  </a:lnTo>
                  <a:lnTo>
                    <a:pt x="442" y="714"/>
                  </a:lnTo>
                  <a:lnTo>
                    <a:pt x="451" y="661"/>
                  </a:lnTo>
                  <a:lnTo>
                    <a:pt x="463" y="610"/>
                  </a:lnTo>
                  <a:lnTo>
                    <a:pt x="480" y="560"/>
                  </a:lnTo>
                  <a:lnTo>
                    <a:pt x="501" y="513"/>
                  </a:lnTo>
                  <a:lnTo>
                    <a:pt x="528" y="467"/>
                  </a:lnTo>
                  <a:lnTo>
                    <a:pt x="557" y="424"/>
                  </a:lnTo>
                  <a:lnTo>
                    <a:pt x="591" y="384"/>
                  </a:lnTo>
                  <a:lnTo>
                    <a:pt x="627" y="347"/>
                  </a:lnTo>
                  <a:lnTo>
                    <a:pt x="668" y="314"/>
                  </a:lnTo>
                  <a:lnTo>
                    <a:pt x="712" y="285"/>
                  </a:lnTo>
                  <a:lnTo>
                    <a:pt x="757" y="260"/>
                  </a:lnTo>
                  <a:lnTo>
                    <a:pt x="735" y="223"/>
                  </a:lnTo>
                  <a:lnTo>
                    <a:pt x="715" y="185"/>
                  </a:lnTo>
                  <a:lnTo>
                    <a:pt x="699" y="144"/>
                  </a:lnTo>
                  <a:lnTo>
                    <a:pt x="687" y="104"/>
                  </a:lnTo>
                  <a:lnTo>
                    <a:pt x="678" y="61"/>
                  </a:lnTo>
                  <a:lnTo>
                    <a:pt x="423" y="61"/>
                  </a:lnTo>
                  <a:close/>
                  <a:moveTo>
                    <a:pt x="423" y="0"/>
                  </a:moveTo>
                  <a:lnTo>
                    <a:pt x="702" y="0"/>
                  </a:lnTo>
                  <a:lnTo>
                    <a:pt x="734" y="1"/>
                  </a:lnTo>
                  <a:lnTo>
                    <a:pt x="738" y="48"/>
                  </a:lnTo>
                  <a:lnTo>
                    <a:pt x="747" y="94"/>
                  </a:lnTo>
                  <a:lnTo>
                    <a:pt x="761" y="137"/>
                  </a:lnTo>
                  <a:lnTo>
                    <a:pt x="780" y="178"/>
                  </a:lnTo>
                  <a:lnTo>
                    <a:pt x="802" y="217"/>
                  </a:lnTo>
                  <a:lnTo>
                    <a:pt x="828" y="253"/>
                  </a:lnTo>
                  <a:lnTo>
                    <a:pt x="859" y="285"/>
                  </a:lnTo>
                  <a:lnTo>
                    <a:pt x="808" y="303"/>
                  </a:lnTo>
                  <a:lnTo>
                    <a:pt x="760" y="326"/>
                  </a:lnTo>
                  <a:lnTo>
                    <a:pt x="716" y="355"/>
                  </a:lnTo>
                  <a:lnTo>
                    <a:pt x="674" y="387"/>
                  </a:lnTo>
                  <a:lnTo>
                    <a:pt x="636" y="424"/>
                  </a:lnTo>
                  <a:lnTo>
                    <a:pt x="602" y="464"/>
                  </a:lnTo>
                  <a:lnTo>
                    <a:pt x="572" y="508"/>
                  </a:lnTo>
                  <a:lnTo>
                    <a:pt x="547" y="555"/>
                  </a:lnTo>
                  <a:lnTo>
                    <a:pt x="528" y="605"/>
                  </a:lnTo>
                  <a:lnTo>
                    <a:pt x="512" y="657"/>
                  </a:lnTo>
                  <a:lnTo>
                    <a:pt x="503" y="712"/>
                  </a:lnTo>
                  <a:lnTo>
                    <a:pt x="500" y="768"/>
                  </a:lnTo>
                  <a:lnTo>
                    <a:pt x="500" y="872"/>
                  </a:lnTo>
                  <a:lnTo>
                    <a:pt x="440" y="867"/>
                  </a:lnTo>
                  <a:lnTo>
                    <a:pt x="376" y="860"/>
                  </a:lnTo>
                  <a:lnTo>
                    <a:pt x="311" y="851"/>
                  </a:lnTo>
                  <a:lnTo>
                    <a:pt x="243" y="838"/>
                  </a:lnTo>
                  <a:lnTo>
                    <a:pt x="172" y="823"/>
                  </a:lnTo>
                  <a:lnTo>
                    <a:pt x="100" y="804"/>
                  </a:lnTo>
                  <a:lnTo>
                    <a:pt x="25" y="782"/>
                  </a:lnTo>
                  <a:lnTo>
                    <a:pt x="1" y="774"/>
                  </a:lnTo>
                  <a:lnTo>
                    <a:pt x="0" y="769"/>
                  </a:lnTo>
                  <a:lnTo>
                    <a:pt x="0" y="425"/>
                  </a:lnTo>
                  <a:lnTo>
                    <a:pt x="3" y="375"/>
                  </a:lnTo>
                  <a:lnTo>
                    <a:pt x="11" y="328"/>
                  </a:lnTo>
                  <a:lnTo>
                    <a:pt x="25" y="282"/>
                  </a:lnTo>
                  <a:lnTo>
                    <a:pt x="43" y="238"/>
                  </a:lnTo>
                  <a:lnTo>
                    <a:pt x="66" y="197"/>
                  </a:lnTo>
                  <a:lnTo>
                    <a:pt x="93" y="160"/>
                  </a:lnTo>
                  <a:lnTo>
                    <a:pt x="123" y="125"/>
                  </a:lnTo>
                  <a:lnTo>
                    <a:pt x="158" y="93"/>
                  </a:lnTo>
                  <a:lnTo>
                    <a:pt x="197" y="67"/>
                  </a:lnTo>
                  <a:lnTo>
                    <a:pt x="237" y="43"/>
                  </a:lnTo>
                  <a:lnTo>
                    <a:pt x="280" y="25"/>
                  </a:lnTo>
                  <a:lnTo>
                    <a:pt x="326" y="12"/>
                  </a:lnTo>
                  <a:lnTo>
                    <a:pt x="373" y="4"/>
                  </a:lnTo>
                  <a:lnTo>
                    <a:pt x="423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5" name="Freeform 326">
              <a:extLst>
                <a:ext uri="{FF2B5EF4-FFF2-40B4-BE49-F238E27FC236}">
                  <a16:creationId xmlns:a16="http://schemas.microsoft.com/office/drawing/2014/main" xmlns="" id="{3EA21749-65F9-486B-AA07-A9520FBC89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7" y="2748"/>
              <a:ext cx="141" cy="109"/>
            </a:xfrm>
            <a:custGeom>
              <a:avLst/>
              <a:gdLst>
                <a:gd name="T0" fmla="*/ 376 w 1124"/>
                <a:gd name="T1" fmla="*/ 65 h 875"/>
                <a:gd name="T2" fmla="*/ 291 w 1124"/>
                <a:gd name="T3" fmla="*/ 86 h 875"/>
                <a:gd name="T4" fmla="*/ 215 w 1124"/>
                <a:gd name="T5" fmla="*/ 127 h 875"/>
                <a:gd name="T6" fmla="*/ 151 w 1124"/>
                <a:gd name="T7" fmla="*/ 184 h 875"/>
                <a:gd name="T8" fmla="*/ 102 w 1124"/>
                <a:gd name="T9" fmla="*/ 254 h 875"/>
                <a:gd name="T10" fmla="*/ 71 w 1124"/>
                <a:gd name="T11" fmla="*/ 336 h 875"/>
                <a:gd name="T12" fmla="*/ 59 w 1124"/>
                <a:gd name="T13" fmla="*/ 425 h 875"/>
                <a:gd name="T14" fmla="*/ 152 w 1124"/>
                <a:gd name="T15" fmla="*/ 756 h 875"/>
                <a:gd name="T16" fmla="*/ 334 w 1124"/>
                <a:gd name="T17" fmla="*/ 793 h 875"/>
                <a:gd name="T18" fmla="*/ 511 w 1124"/>
                <a:gd name="T19" fmla="*/ 812 h 875"/>
                <a:gd name="T20" fmla="*/ 662 w 1124"/>
                <a:gd name="T21" fmla="*/ 813 h 875"/>
                <a:gd name="T22" fmla="*/ 777 w 1124"/>
                <a:gd name="T23" fmla="*/ 804 h 875"/>
                <a:gd name="T24" fmla="*/ 874 w 1124"/>
                <a:gd name="T25" fmla="*/ 788 h 875"/>
                <a:gd name="T26" fmla="*/ 952 w 1124"/>
                <a:gd name="T27" fmla="*/ 770 h 875"/>
                <a:gd name="T28" fmla="*/ 1011 w 1124"/>
                <a:gd name="T29" fmla="*/ 752 h 875"/>
                <a:gd name="T30" fmla="*/ 1052 w 1124"/>
                <a:gd name="T31" fmla="*/ 736 h 875"/>
                <a:gd name="T32" fmla="*/ 1064 w 1124"/>
                <a:gd name="T33" fmla="*/ 425 h 875"/>
                <a:gd name="T34" fmla="*/ 1055 w 1124"/>
                <a:gd name="T35" fmla="*/ 344 h 875"/>
                <a:gd name="T36" fmla="*/ 1028 w 1124"/>
                <a:gd name="T37" fmla="*/ 268 h 875"/>
                <a:gd name="T38" fmla="*/ 985 w 1124"/>
                <a:gd name="T39" fmla="*/ 199 h 875"/>
                <a:gd name="T40" fmla="*/ 927 w 1124"/>
                <a:gd name="T41" fmla="*/ 140 h 875"/>
                <a:gd name="T42" fmla="*/ 859 w 1124"/>
                <a:gd name="T43" fmla="*/ 97 h 875"/>
                <a:gd name="T44" fmla="*/ 783 w 1124"/>
                <a:gd name="T45" fmla="*/ 71 h 875"/>
                <a:gd name="T46" fmla="*/ 701 w 1124"/>
                <a:gd name="T47" fmla="*/ 62 h 875"/>
                <a:gd name="T48" fmla="*/ 422 w 1124"/>
                <a:gd name="T49" fmla="*/ 0 h 875"/>
                <a:gd name="T50" fmla="*/ 751 w 1124"/>
                <a:gd name="T51" fmla="*/ 3 h 875"/>
                <a:gd name="T52" fmla="*/ 845 w 1124"/>
                <a:gd name="T53" fmla="*/ 26 h 875"/>
                <a:gd name="T54" fmla="*/ 928 w 1124"/>
                <a:gd name="T55" fmla="*/ 67 h 875"/>
                <a:gd name="T56" fmla="*/ 1001 w 1124"/>
                <a:gd name="T57" fmla="*/ 125 h 875"/>
                <a:gd name="T58" fmla="*/ 1059 w 1124"/>
                <a:gd name="T59" fmla="*/ 197 h 875"/>
                <a:gd name="T60" fmla="*/ 1100 w 1124"/>
                <a:gd name="T61" fmla="*/ 282 h 875"/>
                <a:gd name="T62" fmla="*/ 1122 w 1124"/>
                <a:gd name="T63" fmla="*/ 376 h 875"/>
                <a:gd name="T64" fmla="*/ 1124 w 1124"/>
                <a:gd name="T65" fmla="*/ 770 h 875"/>
                <a:gd name="T66" fmla="*/ 1100 w 1124"/>
                <a:gd name="T67" fmla="*/ 780 h 875"/>
                <a:gd name="T68" fmla="*/ 1085 w 1124"/>
                <a:gd name="T69" fmla="*/ 787 h 875"/>
                <a:gd name="T70" fmla="*/ 1050 w 1124"/>
                <a:gd name="T71" fmla="*/ 802 h 875"/>
                <a:gd name="T72" fmla="*/ 996 w 1124"/>
                <a:gd name="T73" fmla="*/ 820 h 875"/>
                <a:gd name="T74" fmla="*/ 923 w 1124"/>
                <a:gd name="T75" fmla="*/ 840 h 875"/>
                <a:gd name="T76" fmla="*/ 831 w 1124"/>
                <a:gd name="T77" fmla="*/ 858 h 875"/>
                <a:gd name="T78" fmla="*/ 724 w 1124"/>
                <a:gd name="T79" fmla="*/ 870 h 875"/>
                <a:gd name="T80" fmla="*/ 598 w 1124"/>
                <a:gd name="T81" fmla="*/ 875 h 875"/>
                <a:gd name="T82" fmla="*/ 473 w 1124"/>
                <a:gd name="T83" fmla="*/ 871 h 875"/>
                <a:gd name="T84" fmla="*/ 335 w 1124"/>
                <a:gd name="T85" fmla="*/ 855 h 875"/>
                <a:gd name="T86" fmla="*/ 185 w 1124"/>
                <a:gd name="T87" fmla="*/ 826 h 875"/>
                <a:gd name="T88" fmla="*/ 24 w 1124"/>
                <a:gd name="T89" fmla="*/ 782 h 875"/>
                <a:gd name="T90" fmla="*/ 0 w 1124"/>
                <a:gd name="T91" fmla="*/ 770 h 875"/>
                <a:gd name="T92" fmla="*/ 2 w 1124"/>
                <a:gd name="T93" fmla="*/ 376 h 875"/>
                <a:gd name="T94" fmla="*/ 24 w 1124"/>
                <a:gd name="T95" fmla="*/ 282 h 875"/>
                <a:gd name="T96" fmla="*/ 65 w 1124"/>
                <a:gd name="T97" fmla="*/ 197 h 875"/>
                <a:gd name="T98" fmla="*/ 123 w 1124"/>
                <a:gd name="T99" fmla="*/ 125 h 875"/>
                <a:gd name="T100" fmla="*/ 196 w 1124"/>
                <a:gd name="T101" fmla="*/ 67 h 875"/>
                <a:gd name="T102" fmla="*/ 280 w 1124"/>
                <a:gd name="T103" fmla="*/ 26 h 875"/>
                <a:gd name="T104" fmla="*/ 372 w 1124"/>
                <a:gd name="T105" fmla="*/ 3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24" h="875">
                  <a:moveTo>
                    <a:pt x="422" y="62"/>
                  </a:moveTo>
                  <a:lnTo>
                    <a:pt x="376" y="65"/>
                  </a:lnTo>
                  <a:lnTo>
                    <a:pt x="333" y="73"/>
                  </a:lnTo>
                  <a:lnTo>
                    <a:pt x="291" y="86"/>
                  </a:lnTo>
                  <a:lnTo>
                    <a:pt x="251" y="104"/>
                  </a:lnTo>
                  <a:lnTo>
                    <a:pt x="215" y="127"/>
                  </a:lnTo>
                  <a:lnTo>
                    <a:pt x="181" y="153"/>
                  </a:lnTo>
                  <a:lnTo>
                    <a:pt x="151" y="184"/>
                  </a:lnTo>
                  <a:lnTo>
                    <a:pt x="124" y="218"/>
                  </a:lnTo>
                  <a:lnTo>
                    <a:pt x="102" y="254"/>
                  </a:lnTo>
                  <a:lnTo>
                    <a:pt x="84" y="294"/>
                  </a:lnTo>
                  <a:lnTo>
                    <a:pt x="71" y="336"/>
                  </a:lnTo>
                  <a:lnTo>
                    <a:pt x="62" y="380"/>
                  </a:lnTo>
                  <a:lnTo>
                    <a:pt x="59" y="425"/>
                  </a:lnTo>
                  <a:lnTo>
                    <a:pt x="59" y="730"/>
                  </a:lnTo>
                  <a:lnTo>
                    <a:pt x="152" y="756"/>
                  </a:lnTo>
                  <a:lnTo>
                    <a:pt x="243" y="777"/>
                  </a:lnTo>
                  <a:lnTo>
                    <a:pt x="334" y="793"/>
                  </a:lnTo>
                  <a:lnTo>
                    <a:pt x="423" y="805"/>
                  </a:lnTo>
                  <a:lnTo>
                    <a:pt x="511" y="812"/>
                  </a:lnTo>
                  <a:lnTo>
                    <a:pt x="598" y="815"/>
                  </a:lnTo>
                  <a:lnTo>
                    <a:pt x="662" y="813"/>
                  </a:lnTo>
                  <a:lnTo>
                    <a:pt x="722" y="810"/>
                  </a:lnTo>
                  <a:lnTo>
                    <a:pt x="777" y="804"/>
                  </a:lnTo>
                  <a:lnTo>
                    <a:pt x="827" y="796"/>
                  </a:lnTo>
                  <a:lnTo>
                    <a:pt x="874" y="788"/>
                  </a:lnTo>
                  <a:lnTo>
                    <a:pt x="916" y="779"/>
                  </a:lnTo>
                  <a:lnTo>
                    <a:pt x="952" y="770"/>
                  </a:lnTo>
                  <a:lnTo>
                    <a:pt x="985" y="760"/>
                  </a:lnTo>
                  <a:lnTo>
                    <a:pt x="1011" y="752"/>
                  </a:lnTo>
                  <a:lnTo>
                    <a:pt x="1035" y="743"/>
                  </a:lnTo>
                  <a:lnTo>
                    <a:pt x="1052" y="736"/>
                  </a:lnTo>
                  <a:lnTo>
                    <a:pt x="1064" y="730"/>
                  </a:lnTo>
                  <a:lnTo>
                    <a:pt x="1064" y="425"/>
                  </a:lnTo>
                  <a:lnTo>
                    <a:pt x="1062" y="384"/>
                  </a:lnTo>
                  <a:lnTo>
                    <a:pt x="1055" y="344"/>
                  </a:lnTo>
                  <a:lnTo>
                    <a:pt x="1044" y="304"/>
                  </a:lnTo>
                  <a:lnTo>
                    <a:pt x="1028" y="268"/>
                  </a:lnTo>
                  <a:lnTo>
                    <a:pt x="1009" y="232"/>
                  </a:lnTo>
                  <a:lnTo>
                    <a:pt x="985" y="199"/>
                  </a:lnTo>
                  <a:lnTo>
                    <a:pt x="957" y="168"/>
                  </a:lnTo>
                  <a:lnTo>
                    <a:pt x="927" y="140"/>
                  </a:lnTo>
                  <a:lnTo>
                    <a:pt x="894" y="117"/>
                  </a:lnTo>
                  <a:lnTo>
                    <a:pt x="859" y="97"/>
                  </a:lnTo>
                  <a:lnTo>
                    <a:pt x="821" y="82"/>
                  </a:lnTo>
                  <a:lnTo>
                    <a:pt x="783" y="71"/>
                  </a:lnTo>
                  <a:lnTo>
                    <a:pt x="743" y="64"/>
                  </a:lnTo>
                  <a:lnTo>
                    <a:pt x="701" y="62"/>
                  </a:lnTo>
                  <a:lnTo>
                    <a:pt x="422" y="62"/>
                  </a:lnTo>
                  <a:close/>
                  <a:moveTo>
                    <a:pt x="422" y="0"/>
                  </a:moveTo>
                  <a:lnTo>
                    <a:pt x="701" y="0"/>
                  </a:lnTo>
                  <a:lnTo>
                    <a:pt x="751" y="3"/>
                  </a:lnTo>
                  <a:lnTo>
                    <a:pt x="799" y="12"/>
                  </a:lnTo>
                  <a:lnTo>
                    <a:pt x="845" y="26"/>
                  </a:lnTo>
                  <a:lnTo>
                    <a:pt x="887" y="44"/>
                  </a:lnTo>
                  <a:lnTo>
                    <a:pt x="928" y="67"/>
                  </a:lnTo>
                  <a:lnTo>
                    <a:pt x="967" y="94"/>
                  </a:lnTo>
                  <a:lnTo>
                    <a:pt x="1001" y="125"/>
                  </a:lnTo>
                  <a:lnTo>
                    <a:pt x="1032" y="160"/>
                  </a:lnTo>
                  <a:lnTo>
                    <a:pt x="1059" y="197"/>
                  </a:lnTo>
                  <a:lnTo>
                    <a:pt x="1081" y="238"/>
                  </a:lnTo>
                  <a:lnTo>
                    <a:pt x="1100" y="282"/>
                  </a:lnTo>
                  <a:lnTo>
                    <a:pt x="1113" y="328"/>
                  </a:lnTo>
                  <a:lnTo>
                    <a:pt x="1122" y="376"/>
                  </a:lnTo>
                  <a:lnTo>
                    <a:pt x="1124" y="425"/>
                  </a:lnTo>
                  <a:lnTo>
                    <a:pt x="1124" y="770"/>
                  </a:lnTo>
                  <a:lnTo>
                    <a:pt x="1122" y="770"/>
                  </a:lnTo>
                  <a:lnTo>
                    <a:pt x="1100" y="780"/>
                  </a:lnTo>
                  <a:lnTo>
                    <a:pt x="1096" y="783"/>
                  </a:lnTo>
                  <a:lnTo>
                    <a:pt x="1085" y="787"/>
                  </a:lnTo>
                  <a:lnTo>
                    <a:pt x="1070" y="794"/>
                  </a:lnTo>
                  <a:lnTo>
                    <a:pt x="1050" y="802"/>
                  </a:lnTo>
                  <a:lnTo>
                    <a:pt x="1025" y="811"/>
                  </a:lnTo>
                  <a:lnTo>
                    <a:pt x="996" y="820"/>
                  </a:lnTo>
                  <a:lnTo>
                    <a:pt x="961" y="830"/>
                  </a:lnTo>
                  <a:lnTo>
                    <a:pt x="923" y="840"/>
                  </a:lnTo>
                  <a:lnTo>
                    <a:pt x="879" y="849"/>
                  </a:lnTo>
                  <a:lnTo>
                    <a:pt x="831" y="858"/>
                  </a:lnTo>
                  <a:lnTo>
                    <a:pt x="780" y="865"/>
                  </a:lnTo>
                  <a:lnTo>
                    <a:pt x="724" y="870"/>
                  </a:lnTo>
                  <a:lnTo>
                    <a:pt x="663" y="874"/>
                  </a:lnTo>
                  <a:lnTo>
                    <a:pt x="598" y="875"/>
                  </a:lnTo>
                  <a:lnTo>
                    <a:pt x="537" y="874"/>
                  </a:lnTo>
                  <a:lnTo>
                    <a:pt x="473" y="871"/>
                  </a:lnTo>
                  <a:lnTo>
                    <a:pt x="405" y="864"/>
                  </a:lnTo>
                  <a:lnTo>
                    <a:pt x="335" y="855"/>
                  </a:lnTo>
                  <a:lnTo>
                    <a:pt x="262" y="842"/>
                  </a:lnTo>
                  <a:lnTo>
                    <a:pt x="185" y="826"/>
                  </a:lnTo>
                  <a:lnTo>
                    <a:pt x="106" y="807"/>
                  </a:lnTo>
                  <a:lnTo>
                    <a:pt x="24" y="782"/>
                  </a:lnTo>
                  <a:lnTo>
                    <a:pt x="1" y="775"/>
                  </a:lnTo>
                  <a:lnTo>
                    <a:pt x="0" y="770"/>
                  </a:lnTo>
                  <a:lnTo>
                    <a:pt x="0" y="425"/>
                  </a:lnTo>
                  <a:lnTo>
                    <a:pt x="2" y="376"/>
                  </a:lnTo>
                  <a:lnTo>
                    <a:pt x="11" y="328"/>
                  </a:lnTo>
                  <a:lnTo>
                    <a:pt x="24" y="282"/>
                  </a:lnTo>
                  <a:lnTo>
                    <a:pt x="42" y="239"/>
                  </a:lnTo>
                  <a:lnTo>
                    <a:pt x="65" y="197"/>
                  </a:lnTo>
                  <a:lnTo>
                    <a:pt x="92" y="160"/>
                  </a:lnTo>
                  <a:lnTo>
                    <a:pt x="123" y="125"/>
                  </a:lnTo>
                  <a:lnTo>
                    <a:pt x="158" y="94"/>
                  </a:lnTo>
                  <a:lnTo>
                    <a:pt x="196" y="67"/>
                  </a:lnTo>
                  <a:lnTo>
                    <a:pt x="236" y="44"/>
                  </a:lnTo>
                  <a:lnTo>
                    <a:pt x="280" y="26"/>
                  </a:lnTo>
                  <a:lnTo>
                    <a:pt x="325" y="12"/>
                  </a:lnTo>
                  <a:lnTo>
                    <a:pt x="372" y="3"/>
                  </a:lnTo>
                  <a:lnTo>
                    <a:pt x="422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6" name="Freeform 327">
              <a:extLst>
                <a:ext uri="{FF2B5EF4-FFF2-40B4-BE49-F238E27FC236}">
                  <a16:creationId xmlns:a16="http://schemas.microsoft.com/office/drawing/2014/main" xmlns="" id="{9ABC2079-2C6F-4064-BB16-4AF16A6974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5" y="2579"/>
              <a:ext cx="83" cy="83"/>
            </a:xfrm>
            <a:custGeom>
              <a:avLst/>
              <a:gdLst>
                <a:gd name="T0" fmla="*/ 290 w 660"/>
                <a:gd name="T1" fmla="*/ 64 h 663"/>
                <a:gd name="T2" fmla="*/ 216 w 660"/>
                <a:gd name="T3" fmla="*/ 86 h 663"/>
                <a:gd name="T4" fmla="*/ 153 w 660"/>
                <a:gd name="T5" fmla="*/ 128 h 663"/>
                <a:gd name="T6" fmla="*/ 103 w 660"/>
                <a:gd name="T7" fmla="*/ 185 h 663"/>
                <a:gd name="T8" fmla="*/ 72 w 660"/>
                <a:gd name="T9" fmla="*/ 253 h 663"/>
                <a:gd name="T10" fmla="*/ 61 w 660"/>
                <a:gd name="T11" fmla="*/ 332 h 663"/>
                <a:gd name="T12" fmla="*/ 72 w 660"/>
                <a:gd name="T13" fmla="*/ 410 h 663"/>
                <a:gd name="T14" fmla="*/ 103 w 660"/>
                <a:gd name="T15" fmla="*/ 479 h 663"/>
                <a:gd name="T16" fmla="*/ 153 w 660"/>
                <a:gd name="T17" fmla="*/ 536 h 663"/>
                <a:gd name="T18" fmla="*/ 216 w 660"/>
                <a:gd name="T19" fmla="*/ 578 h 663"/>
                <a:gd name="T20" fmla="*/ 290 w 660"/>
                <a:gd name="T21" fmla="*/ 600 h 663"/>
                <a:gd name="T22" fmla="*/ 358 w 660"/>
                <a:gd name="T23" fmla="*/ 601 h 663"/>
                <a:gd name="T24" fmla="*/ 414 w 660"/>
                <a:gd name="T25" fmla="*/ 589 h 663"/>
                <a:gd name="T26" fmla="*/ 442 w 660"/>
                <a:gd name="T27" fmla="*/ 492 h 663"/>
                <a:gd name="T28" fmla="*/ 491 w 660"/>
                <a:gd name="T29" fmla="*/ 404 h 663"/>
                <a:gd name="T30" fmla="*/ 557 w 660"/>
                <a:gd name="T31" fmla="*/ 329 h 663"/>
                <a:gd name="T32" fmla="*/ 589 w 660"/>
                <a:gd name="T33" fmla="*/ 257 h 663"/>
                <a:gd name="T34" fmla="*/ 557 w 660"/>
                <a:gd name="T35" fmla="*/ 187 h 663"/>
                <a:gd name="T36" fmla="*/ 507 w 660"/>
                <a:gd name="T37" fmla="*/ 129 h 663"/>
                <a:gd name="T38" fmla="*/ 443 w 660"/>
                <a:gd name="T39" fmla="*/ 87 h 663"/>
                <a:gd name="T40" fmla="*/ 369 w 660"/>
                <a:gd name="T41" fmla="*/ 64 h 663"/>
                <a:gd name="T42" fmla="*/ 330 w 660"/>
                <a:gd name="T43" fmla="*/ 0 h 663"/>
                <a:gd name="T44" fmla="*/ 417 w 660"/>
                <a:gd name="T45" fmla="*/ 11 h 663"/>
                <a:gd name="T46" fmla="*/ 495 w 660"/>
                <a:gd name="T47" fmla="*/ 45 h 663"/>
                <a:gd name="T48" fmla="*/ 561 w 660"/>
                <a:gd name="T49" fmla="*/ 96 h 663"/>
                <a:gd name="T50" fmla="*/ 613 w 660"/>
                <a:gd name="T51" fmla="*/ 161 h 663"/>
                <a:gd name="T52" fmla="*/ 647 w 660"/>
                <a:gd name="T53" fmla="*/ 240 h 663"/>
                <a:gd name="T54" fmla="*/ 660 w 660"/>
                <a:gd name="T55" fmla="*/ 327 h 663"/>
                <a:gd name="T56" fmla="*/ 588 w 660"/>
                <a:gd name="T57" fmla="*/ 384 h 663"/>
                <a:gd name="T58" fmla="*/ 530 w 660"/>
                <a:gd name="T59" fmla="*/ 455 h 663"/>
                <a:gd name="T60" fmla="*/ 490 w 660"/>
                <a:gd name="T61" fmla="*/ 539 h 663"/>
                <a:gd name="T62" fmla="*/ 469 w 660"/>
                <a:gd name="T63" fmla="*/ 632 h 663"/>
                <a:gd name="T64" fmla="*/ 402 w 660"/>
                <a:gd name="T65" fmla="*/ 655 h 663"/>
                <a:gd name="T66" fmla="*/ 330 w 660"/>
                <a:gd name="T67" fmla="*/ 663 h 663"/>
                <a:gd name="T68" fmla="*/ 242 w 660"/>
                <a:gd name="T69" fmla="*/ 651 h 663"/>
                <a:gd name="T70" fmla="*/ 163 w 660"/>
                <a:gd name="T71" fmla="*/ 619 h 663"/>
                <a:gd name="T72" fmla="*/ 96 w 660"/>
                <a:gd name="T73" fmla="*/ 567 h 663"/>
                <a:gd name="T74" fmla="*/ 44 w 660"/>
                <a:gd name="T75" fmla="*/ 499 h 663"/>
                <a:gd name="T76" fmla="*/ 12 w 660"/>
                <a:gd name="T77" fmla="*/ 420 h 663"/>
                <a:gd name="T78" fmla="*/ 0 w 660"/>
                <a:gd name="T79" fmla="*/ 332 h 663"/>
                <a:gd name="T80" fmla="*/ 12 w 660"/>
                <a:gd name="T81" fmla="*/ 244 h 663"/>
                <a:gd name="T82" fmla="*/ 44 w 660"/>
                <a:gd name="T83" fmla="*/ 164 h 663"/>
                <a:gd name="T84" fmla="*/ 96 w 660"/>
                <a:gd name="T85" fmla="*/ 97 h 663"/>
                <a:gd name="T86" fmla="*/ 163 w 660"/>
                <a:gd name="T87" fmla="*/ 45 h 663"/>
                <a:gd name="T88" fmla="*/ 242 w 660"/>
                <a:gd name="T89" fmla="*/ 12 h 663"/>
                <a:gd name="T90" fmla="*/ 330 w 660"/>
                <a:gd name="T91" fmla="*/ 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60" h="663">
                  <a:moveTo>
                    <a:pt x="330" y="61"/>
                  </a:moveTo>
                  <a:lnTo>
                    <a:pt x="290" y="64"/>
                  </a:lnTo>
                  <a:lnTo>
                    <a:pt x="252" y="73"/>
                  </a:lnTo>
                  <a:lnTo>
                    <a:pt x="216" y="86"/>
                  </a:lnTo>
                  <a:lnTo>
                    <a:pt x="183" y="104"/>
                  </a:lnTo>
                  <a:lnTo>
                    <a:pt x="153" y="128"/>
                  </a:lnTo>
                  <a:lnTo>
                    <a:pt x="127" y="154"/>
                  </a:lnTo>
                  <a:lnTo>
                    <a:pt x="103" y="185"/>
                  </a:lnTo>
                  <a:lnTo>
                    <a:pt x="85" y="217"/>
                  </a:lnTo>
                  <a:lnTo>
                    <a:pt x="72" y="253"/>
                  </a:lnTo>
                  <a:lnTo>
                    <a:pt x="64" y="292"/>
                  </a:lnTo>
                  <a:lnTo>
                    <a:pt x="61" y="332"/>
                  </a:lnTo>
                  <a:lnTo>
                    <a:pt x="64" y="372"/>
                  </a:lnTo>
                  <a:lnTo>
                    <a:pt x="72" y="410"/>
                  </a:lnTo>
                  <a:lnTo>
                    <a:pt x="85" y="446"/>
                  </a:lnTo>
                  <a:lnTo>
                    <a:pt x="103" y="479"/>
                  </a:lnTo>
                  <a:lnTo>
                    <a:pt x="127" y="509"/>
                  </a:lnTo>
                  <a:lnTo>
                    <a:pt x="153" y="536"/>
                  </a:lnTo>
                  <a:lnTo>
                    <a:pt x="183" y="559"/>
                  </a:lnTo>
                  <a:lnTo>
                    <a:pt x="216" y="578"/>
                  </a:lnTo>
                  <a:lnTo>
                    <a:pt x="252" y="591"/>
                  </a:lnTo>
                  <a:lnTo>
                    <a:pt x="290" y="600"/>
                  </a:lnTo>
                  <a:lnTo>
                    <a:pt x="330" y="602"/>
                  </a:lnTo>
                  <a:lnTo>
                    <a:pt x="358" y="601"/>
                  </a:lnTo>
                  <a:lnTo>
                    <a:pt x="387" y="596"/>
                  </a:lnTo>
                  <a:lnTo>
                    <a:pt x="414" y="589"/>
                  </a:lnTo>
                  <a:lnTo>
                    <a:pt x="426" y="539"/>
                  </a:lnTo>
                  <a:lnTo>
                    <a:pt x="442" y="492"/>
                  </a:lnTo>
                  <a:lnTo>
                    <a:pt x="465" y="447"/>
                  </a:lnTo>
                  <a:lnTo>
                    <a:pt x="491" y="404"/>
                  </a:lnTo>
                  <a:lnTo>
                    <a:pt x="522" y="364"/>
                  </a:lnTo>
                  <a:lnTo>
                    <a:pt x="557" y="329"/>
                  </a:lnTo>
                  <a:lnTo>
                    <a:pt x="597" y="296"/>
                  </a:lnTo>
                  <a:lnTo>
                    <a:pt x="589" y="257"/>
                  </a:lnTo>
                  <a:lnTo>
                    <a:pt x="576" y="221"/>
                  </a:lnTo>
                  <a:lnTo>
                    <a:pt x="557" y="187"/>
                  </a:lnTo>
                  <a:lnTo>
                    <a:pt x="534" y="156"/>
                  </a:lnTo>
                  <a:lnTo>
                    <a:pt x="507" y="129"/>
                  </a:lnTo>
                  <a:lnTo>
                    <a:pt x="477" y="105"/>
                  </a:lnTo>
                  <a:lnTo>
                    <a:pt x="443" y="87"/>
                  </a:lnTo>
                  <a:lnTo>
                    <a:pt x="408" y="73"/>
                  </a:lnTo>
                  <a:lnTo>
                    <a:pt x="369" y="64"/>
                  </a:lnTo>
                  <a:lnTo>
                    <a:pt x="330" y="61"/>
                  </a:lnTo>
                  <a:close/>
                  <a:moveTo>
                    <a:pt x="330" y="0"/>
                  </a:moveTo>
                  <a:lnTo>
                    <a:pt x="374" y="3"/>
                  </a:lnTo>
                  <a:lnTo>
                    <a:pt x="417" y="11"/>
                  </a:lnTo>
                  <a:lnTo>
                    <a:pt x="457" y="26"/>
                  </a:lnTo>
                  <a:lnTo>
                    <a:pt x="495" y="45"/>
                  </a:lnTo>
                  <a:lnTo>
                    <a:pt x="530" y="68"/>
                  </a:lnTo>
                  <a:lnTo>
                    <a:pt x="561" y="96"/>
                  </a:lnTo>
                  <a:lnTo>
                    <a:pt x="589" y="127"/>
                  </a:lnTo>
                  <a:lnTo>
                    <a:pt x="613" y="161"/>
                  </a:lnTo>
                  <a:lnTo>
                    <a:pt x="632" y="199"/>
                  </a:lnTo>
                  <a:lnTo>
                    <a:pt x="647" y="240"/>
                  </a:lnTo>
                  <a:lnTo>
                    <a:pt x="656" y="283"/>
                  </a:lnTo>
                  <a:lnTo>
                    <a:pt x="660" y="327"/>
                  </a:lnTo>
                  <a:lnTo>
                    <a:pt x="622" y="353"/>
                  </a:lnTo>
                  <a:lnTo>
                    <a:pt x="588" y="384"/>
                  </a:lnTo>
                  <a:lnTo>
                    <a:pt x="557" y="419"/>
                  </a:lnTo>
                  <a:lnTo>
                    <a:pt x="530" y="455"/>
                  </a:lnTo>
                  <a:lnTo>
                    <a:pt x="507" y="496"/>
                  </a:lnTo>
                  <a:lnTo>
                    <a:pt x="490" y="539"/>
                  </a:lnTo>
                  <a:lnTo>
                    <a:pt x="477" y="585"/>
                  </a:lnTo>
                  <a:lnTo>
                    <a:pt x="469" y="632"/>
                  </a:lnTo>
                  <a:lnTo>
                    <a:pt x="436" y="645"/>
                  </a:lnTo>
                  <a:lnTo>
                    <a:pt x="402" y="655"/>
                  </a:lnTo>
                  <a:lnTo>
                    <a:pt x="366" y="661"/>
                  </a:lnTo>
                  <a:lnTo>
                    <a:pt x="330" y="663"/>
                  </a:lnTo>
                  <a:lnTo>
                    <a:pt x="285" y="660"/>
                  </a:lnTo>
                  <a:lnTo>
                    <a:pt x="242" y="651"/>
                  </a:lnTo>
                  <a:lnTo>
                    <a:pt x="201" y="638"/>
                  </a:lnTo>
                  <a:lnTo>
                    <a:pt x="163" y="619"/>
                  </a:lnTo>
                  <a:lnTo>
                    <a:pt x="128" y="594"/>
                  </a:lnTo>
                  <a:lnTo>
                    <a:pt x="96" y="567"/>
                  </a:lnTo>
                  <a:lnTo>
                    <a:pt x="69" y="535"/>
                  </a:lnTo>
                  <a:lnTo>
                    <a:pt x="44" y="499"/>
                  </a:lnTo>
                  <a:lnTo>
                    <a:pt x="26" y="461"/>
                  </a:lnTo>
                  <a:lnTo>
                    <a:pt x="12" y="420"/>
                  </a:lnTo>
                  <a:lnTo>
                    <a:pt x="3" y="377"/>
                  </a:lnTo>
                  <a:lnTo>
                    <a:pt x="0" y="332"/>
                  </a:lnTo>
                  <a:lnTo>
                    <a:pt x="3" y="287"/>
                  </a:lnTo>
                  <a:lnTo>
                    <a:pt x="12" y="244"/>
                  </a:lnTo>
                  <a:lnTo>
                    <a:pt x="26" y="203"/>
                  </a:lnTo>
                  <a:lnTo>
                    <a:pt x="44" y="164"/>
                  </a:lnTo>
                  <a:lnTo>
                    <a:pt x="69" y="129"/>
                  </a:lnTo>
                  <a:lnTo>
                    <a:pt x="96" y="97"/>
                  </a:lnTo>
                  <a:lnTo>
                    <a:pt x="128" y="69"/>
                  </a:lnTo>
                  <a:lnTo>
                    <a:pt x="163" y="45"/>
                  </a:lnTo>
                  <a:lnTo>
                    <a:pt x="201" y="27"/>
                  </a:lnTo>
                  <a:lnTo>
                    <a:pt x="242" y="12"/>
                  </a:lnTo>
                  <a:lnTo>
                    <a:pt x="285" y="3"/>
                  </a:lnTo>
                  <a:lnTo>
                    <a:pt x="330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7" name="Freeform 328">
              <a:extLst>
                <a:ext uri="{FF2B5EF4-FFF2-40B4-BE49-F238E27FC236}">
                  <a16:creationId xmlns:a16="http://schemas.microsoft.com/office/drawing/2014/main" xmlns="" id="{0D59B2B2-B00D-42D7-9544-6393F04974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6" y="2664"/>
              <a:ext cx="103" cy="110"/>
            </a:xfrm>
            <a:custGeom>
              <a:avLst/>
              <a:gdLst>
                <a:gd name="T0" fmla="*/ 377 w 826"/>
                <a:gd name="T1" fmla="*/ 63 h 874"/>
                <a:gd name="T2" fmla="*/ 292 w 826"/>
                <a:gd name="T3" fmla="*/ 86 h 874"/>
                <a:gd name="T4" fmla="*/ 216 w 826"/>
                <a:gd name="T5" fmla="*/ 126 h 874"/>
                <a:gd name="T6" fmla="*/ 152 w 826"/>
                <a:gd name="T7" fmla="*/ 184 h 874"/>
                <a:gd name="T8" fmla="*/ 103 w 826"/>
                <a:gd name="T9" fmla="*/ 254 h 874"/>
                <a:gd name="T10" fmla="*/ 72 w 826"/>
                <a:gd name="T11" fmla="*/ 335 h 874"/>
                <a:gd name="T12" fmla="*/ 61 w 826"/>
                <a:gd name="T13" fmla="*/ 424 h 874"/>
                <a:gd name="T14" fmla="*/ 73 w 826"/>
                <a:gd name="T15" fmla="*/ 736 h 874"/>
                <a:gd name="T16" fmla="*/ 113 w 826"/>
                <a:gd name="T17" fmla="*/ 751 h 874"/>
                <a:gd name="T18" fmla="*/ 173 w 826"/>
                <a:gd name="T19" fmla="*/ 769 h 874"/>
                <a:gd name="T20" fmla="*/ 253 w 826"/>
                <a:gd name="T21" fmla="*/ 788 h 874"/>
                <a:gd name="T22" fmla="*/ 350 w 826"/>
                <a:gd name="T23" fmla="*/ 804 h 874"/>
                <a:gd name="T24" fmla="*/ 407 w 826"/>
                <a:gd name="T25" fmla="*/ 767 h 874"/>
                <a:gd name="T26" fmla="*/ 417 w 826"/>
                <a:gd name="T27" fmla="*/ 661 h 874"/>
                <a:gd name="T28" fmla="*/ 447 w 826"/>
                <a:gd name="T29" fmla="*/ 560 h 874"/>
                <a:gd name="T30" fmla="*/ 495 w 826"/>
                <a:gd name="T31" fmla="*/ 467 h 874"/>
                <a:gd name="T32" fmla="*/ 558 w 826"/>
                <a:gd name="T33" fmla="*/ 385 h 874"/>
                <a:gd name="T34" fmla="*/ 635 w 826"/>
                <a:gd name="T35" fmla="*/ 314 h 874"/>
                <a:gd name="T36" fmla="*/ 724 w 826"/>
                <a:gd name="T37" fmla="*/ 259 h 874"/>
                <a:gd name="T38" fmla="*/ 682 w 826"/>
                <a:gd name="T39" fmla="*/ 185 h 874"/>
                <a:gd name="T40" fmla="*/ 654 w 826"/>
                <a:gd name="T41" fmla="*/ 103 h 874"/>
                <a:gd name="T42" fmla="*/ 423 w 826"/>
                <a:gd name="T43" fmla="*/ 61 h 874"/>
                <a:gd name="T44" fmla="*/ 701 w 826"/>
                <a:gd name="T45" fmla="*/ 0 h 874"/>
                <a:gd name="T46" fmla="*/ 714 w 826"/>
                <a:gd name="T47" fmla="*/ 93 h 874"/>
                <a:gd name="T48" fmla="*/ 747 w 826"/>
                <a:gd name="T49" fmla="*/ 177 h 874"/>
                <a:gd name="T50" fmla="*/ 795 w 826"/>
                <a:gd name="T51" fmla="*/ 252 h 874"/>
                <a:gd name="T52" fmla="*/ 775 w 826"/>
                <a:gd name="T53" fmla="*/ 303 h 874"/>
                <a:gd name="T54" fmla="*/ 683 w 826"/>
                <a:gd name="T55" fmla="*/ 354 h 874"/>
                <a:gd name="T56" fmla="*/ 603 w 826"/>
                <a:gd name="T57" fmla="*/ 423 h 874"/>
                <a:gd name="T58" fmla="*/ 539 w 826"/>
                <a:gd name="T59" fmla="*/ 508 h 874"/>
                <a:gd name="T60" fmla="*/ 495 w 826"/>
                <a:gd name="T61" fmla="*/ 605 h 874"/>
                <a:gd name="T62" fmla="*/ 470 w 826"/>
                <a:gd name="T63" fmla="*/ 711 h 874"/>
                <a:gd name="T64" fmla="*/ 467 w 826"/>
                <a:gd name="T65" fmla="*/ 874 h 874"/>
                <a:gd name="T66" fmla="*/ 349 w 826"/>
                <a:gd name="T67" fmla="*/ 864 h 874"/>
                <a:gd name="T68" fmla="*/ 248 w 826"/>
                <a:gd name="T69" fmla="*/ 849 h 874"/>
                <a:gd name="T70" fmla="*/ 165 w 826"/>
                <a:gd name="T71" fmla="*/ 830 h 874"/>
                <a:gd name="T72" fmla="*/ 101 w 826"/>
                <a:gd name="T73" fmla="*/ 810 h 874"/>
                <a:gd name="T74" fmla="*/ 55 w 826"/>
                <a:gd name="T75" fmla="*/ 794 h 874"/>
                <a:gd name="T76" fmla="*/ 29 w 826"/>
                <a:gd name="T77" fmla="*/ 783 h 874"/>
                <a:gd name="T78" fmla="*/ 2 w 826"/>
                <a:gd name="T79" fmla="*/ 768 h 874"/>
                <a:gd name="T80" fmla="*/ 0 w 826"/>
                <a:gd name="T81" fmla="*/ 424 h 874"/>
                <a:gd name="T82" fmla="*/ 11 w 826"/>
                <a:gd name="T83" fmla="*/ 328 h 874"/>
                <a:gd name="T84" fmla="*/ 43 w 826"/>
                <a:gd name="T85" fmla="*/ 238 h 874"/>
                <a:gd name="T86" fmla="*/ 92 w 826"/>
                <a:gd name="T87" fmla="*/ 159 h 874"/>
                <a:gd name="T88" fmla="*/ 158 w 826"/>
                <a:gd name="T89" fmla="*/ 94 h 874"/>
                <a:gd name="T90" fmla="*/ 237 w 826"/>
                <a:gd name="T91" fmla="*/ 43 h 874"/>
                <a:gd name="T92" fmla="*/ 326 w 826"/>
                <a:gd name="T93" fmla="*/ 11 h 874"/>
                <a:gd name="T94" fmla="*/ 423 w 826"/>
                <a:gd name="T95" fmla="*/ 0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26" h="874">
                  <a:moveTo>
                    <a:pt x="423" y="61"/>
                  </a:moveTo>
                  <a:lnTo>
                    <a:pt x="377" y="63"/>
                  </a:lnTo>
                  <a:lnTo>
                    <a:pt x="333" y="72"/>
                  </a:lnTo>
                  <a:lnTo>
                    <a:pt x="292" y="86"/>
                  </a:lnTo>
                  <a:lnTo>
                    <a:pt x="253" y="104"/>
                  </a:lnTo>
                  <a:lnTo>
                    <a:pt x="216" y="126"/>
                  </a:lnTo>
                  <a:lnTo>
                    <a:pt x="182" y="153"/>
                  </a:lnTo>
                  <a:lnTo>
                    <a:pt x="152" y="184"/>
                  </a:lnTo>
                  <a:lnTo>
                    <a:pt x="126" y="217"/>
                  </a:lnTo>
                  <a:lnTo>
                    <a:pt x="103" y="254"/>
                  </a:lnTo>
                  <a:lnTo>
                    <a:pt x="85" y="293"/>
                  </a:lnTo>
                  <a:lnTo>
                    <a:pt x="72" y="335"/>
                  </a:lnTo>
                  <a:lnTo>
                    <a:pt x="63" y="379"/>
                  </a:lnTo>
                  <a:lnTo>
                    <a:pt x="61" y="424"/>
                  </a:lnTo>
                  <a:lnTo>
                    <a:pt x="61" y="730"/>
                  </a:lnTo>
                  <a:lnTo>
                    <a:pt x="73" y="736"/>
                  </a:lnTo>
                  <a:lnTo>
                    <a:pt x="90" y="743"/>
                  </a:lnTo>
                  <a:lnTo>
                    <a:pt x="113" y="751"/>
                  </a:lnTo>
                  <a:lnTo>
                    <a:pt x="140" y="760"/>
                  </a:lnTo>
                  <a:lnTo>
                    <a:pt x="173" y="769"/>
                  </a:lnTo>
                  <a:lnTo>
                    <a:pt x="210" y="779"/>
                  </a:lnTo>
                  <a:lnTo>
                    <a:pt x="253" y="788"/>
                  </a:lnTo>
                  <a:lnTo>
                    <a:pt x="300" y="797"/>
                  </a:lnTo>
                  <a:lnTo>
                    <a:pt x="350" y="804"/>
                  </a:lnTo>
                  <a:lnTo>
                    <a:pt x="407" y="809"/>
                  </a:lnTo>
                  <a:lnTo>
                    <a:pt x="407" y="767"/>
                  </a:lnTo>
                  <a:lnTo>
                    <a:pt x="409" y="714"/>
                  </a:lnTo>
                  <a:lnTo>
                    <a:pt x="417" y="661"/>
                  </a:lnTo>
                  <a:lnTo>
                    <a:pt x="430" y="609"/>
                  </a:lnTo>
                  <a:lnTo>
                    <a:pt x="447" y="560"/>
                  </a:lnTo>
                  <a:lnTo>
                    <a:pt x="468" y="512"/>
                  </a:lnTo>
                  <a:lnTo>
                    <a:pt x="495" y="467"/>
                  </a:lnTo>
                  <a:lnTo>
                    <a:pt x="524" y="424"/>
                  </a:lnTo>
                  <a:lnTo>
                    <a:pt x="558" y="385"/>
                  </a:lnTo>
                  <a:lnTo>
                    <a:pt x="594" y="348"/>
                  </a:lnTo>
                  <a:lnTo>
                    <a:pt x="635" y="314"/>
                  </a:lnTo>
                  <a:lnTo>
                    <a:pt x="679" y="285"/>
                  </a:lnTo>
                  <a:lnTo>
                    <a:pt x="724" y="259"/>
                  </a:lnTo>
                  <a:lnTo>
                    <a:pt x="702" y="222"/>
                  </a:lnTo>
                  <a:lnTo>
                    <a:pt x="682" y="185"/>
                  </a:lnTo>
                  <a:lnTo>
                    <a:pt x="666" y="145"/>
                  </a:lnTo>
                  <a:lnTo>
                    <a:pt x="654" y="103"/>
                  </a:lnTo>
                  <a:lnTo>
                    <a:pt x="645" y="61"/>
                  </a:lnTo>
                  <a:lnTo>
                    <a:pt x="423" y="61"/>
                  </a:lnTo>
                  <a:close/>
                  <a:moveTo>
                    <a:pt x="423" y="0"/>
                  </a:moveTo>
                  <a:lnTo>
                    <a:pt x="701" y="0"/>
                  </a:lnTo>
                  <a:lnTo>
                    <a:pt x="705" y="47"/>
                  </a:lnTo>
                  <a:lnTo>
                    <a:pt x="714" y="93"/>
                  </a:lnTo>
                  <a:lnTo>
                    <a:pt x="727" y="137"/>
                  </a:lnTo>
                  <a:lnTo>
                    <a:pt x="747" y="177"/>
                  </a:lnTo>
                  <a:lnTo>
                    <a:pt x="769" y="216"/>
                  </a:lnTo>
                  <a:lnTo>
                    <a:pt x="795" y="252"/>
                  </a:lnTo>
                  <a:lnTo>
                    <a:pt x="826" y="285"/>
                  </a:lnTo>
                  <a:lnTo>
                    <a:pt x="775" y="303"/>
                  </a:lnTo>
                  <a:lnTo>
                    <a:pt x="727" y="327"/>
                  </a:lnTo>
                  <a:lnTo>
                    <a:pt x="683" y="354"/>
                  </a:lnTo>
                  <a:lnTo>
                    <a:pt x="641" y="387"/>
                  </a:lnTo>
                  <a:lnTo>
                    <a:pt x="603" y="423"/>
                  </a:lnTo>
                  <a:lnTo>
                    <a:pt x="569" y="464"/>
                  </a:lnTo>
                  <a:lnTo>
                    <a:pt x="539" y="508"/>
                  </a:lnTo>
                  <a:lnTo>
                    <a:pt x="514" y="555"/>
                  </a:lnTo>
                  <a:lnTo>
                    <a:pt x="495" y="605"/>
                  </a:lnTo>
                  <a:lnTo>
                    <a:pt x="479" y="657"/>
                  </a:lnTo>
                  <a:lnTo>
                    <a:pt x="470" y="711"/>
                  </a:lnTo>
                  <a:lnTo>
                    <a:pt x="467" y="767"/>
                  </a:lnTo>
                  <a:lnTo>
                    <a:pt x="467" y="874"/>
                  </a:lnTo>
                  <a:lnTo>
                    <a:pt x="406" y="870"/>
                  </a:lnTo>
                  <a:lnTo>
                    <a:pt x="349" y="864"/>
                  </a:lnTo>
                  <a:lnTo>
                    <a:pt x="297" y="857"/>
                  </a:lnTo>
                  <a:lnTo>
                    <a:pt x="248" y="849"/>
                  </a:lnTo>
                  <a:lnTo>
                    <a:pt x="204" y="840"/>
                  </a:lnTo>
                  <a:lnTo>
                    <a:pt x="165" y="830"/>
                  </a:lnTo>
                  <a:lnTo>
                    <a:pt x="130" y="820"/>
                  </a:lnTo>
                  <a:lnTo>
                    <a:pt x="101" y="810"/>
                  </a:lnTo>
                  <a:lnTo>
                    <a:pt x="75" y="802"/>
                  </a:lnTo>
                  <a:lnTo>
                    <a:pt x="55" y="794"/>
                  </a:lnTo>
                  <a:lnTo>
                    <a:pt x="40" y="787"/>
                  </a:lnTo>
                  <a:lnTo>
                    <a:pt x="29" y="783"/>
                  </a:lnTo>
                  <a:lnTo>
                    <a:pt x="24" y="780"/>
                  </a:lnTo>
                  <a:lnTo>
                    <a:pt x="2" y="768"/>
                  </a:lnTo>
                  <a:lnTo>
                    <a:pt x="0" y="768"/>
                  </a:lnTo>
                  <a:lnTo>
                    <a:pt x="0" y="424"/>
                  </a:lnTo>
                  <a:lnTo>
                    <a:pt x="3" y="375"/>
                  </a:lnTo>
                  <a:lnTo>
                    <a:pt x="11" y="328"/>
                  </a:lnTo>
                  <a:lnTo>
                    <a:pt x="24" y="282"/>
                  </a:lnTo>
                  <a:lnTo>
                    <a:pt x="43" y="238"/>
                  </a:lnTo>
                  <a:lnTo>
                    <a:pt x="66" y="197"/>
                  </a:lnTo>
                  <a:lnTo>
                    <a:pt x="92" y="159"/>
                  </a:lnTo>
                  <a:lnTo>
                    <a:pt x="124" y="124"/>
                  </a:lnTo>
                  <a:lnTo>
                    <a:pt x="158" y="94"/>
                  </a:lnTo>
                  <a:lnTo>
                    <a:pt x="196" y="66"/>
                  </a:lnTo>
                  <a:lnTo>
                    <a:pt x="237" y="43"/>
                  </a:lnTo>
                  <a:lnTo>
                    <a:pt x="280" y="24"/>
                  </a:lnTo>
                  <a:lnTo>
                    <a:pt x="326" y="11"/>
                  </a:lnTo>
                  <a:lnTo>
                    <a:pt x="374" y="3"/>
                  </a:lnTo>
                  <a:lnTo>
                    <a:pt x="423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8" name="Freeform 329">
              <a:extLst>
                <a:ext uri="{FF2B5EF4-FFF2-40B4-BE49-F238E27FC236}">
                  <a16:creationId xmlns:a16="http://schemas.microsoft.com/office/drawing/2014/main" xmlns="" id="{E278502C-98F5-49B3-A345-6C6A67C5B6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0" y="2547"/>
              <a:ext cx="73" cy="70"/>
            </a:xfrm>
            <a:custGeom>
              <a:avLst/>
              <a:gdLst>
                <a:gd name="T0" fmla="*/ 276 w 580"/>
                <a:gd name="T1" fmla="*/ 63 h 562"/>
                <a:gd name="T2" fmla="*/ 204 w 580"/>
                <a:gd name="T3" fmla="*/ 86 h 562"/>
                <a:gd name="T4" fmla="*/ 140 w 580"/>
                <a:gd name="T5" fmla="*/ 126 h 562"/>
                <a:gd name="T6" fmla="*/ 91 w 580"/>
                <a:gd name="T7" fmla="*/ 184 h 562"/>
                <a:gd name="T8" fmla="*/ 107 w 580"/>
                <a:gd name="T9" fmla="*/ 246 h 562"/>
                <a:gd name="T10" fmla="*/ 166 w 580"/>
                <a:gd name="T11" fmla="*/ 310 h 562"/>
                <a:gd name="T12" fmla="*/ 211 w 580"/>
                <a:gd name="T13" fmla="*/ 385 h 562"/>
                <a:gd name="T14" fmla="*/ 241 w 580"/>
                <a:gd name="T15" fmla="*/ 467 h 562"/>
                <a:gd name="T16" fmla="*/ 315 w 580"/>
                <a:gd name="T17" fmla="*/ 453 h 562"/>
                <a:gd name="T18" fmla="*/ 395 w 580"/>
                <a:gd name="T19" fmla="*/ 453 h 562"/>
                <a:gd name="T20" fmla="*/ 478 w 580"/>
                <a:gd name="T21" fmla="*/ 469 h 562"/>
                <a:gd name="T22" fmla="*/ 445 w 580"/>
                <a:gd name="T23" fmla="*/ 369 h 562"/>
                <a:gd name="T24" fmla="*/ 433 w 580"/>
                <a:gd name="T25" fmla="*/ 264 h 562"/>
                <a:gd name="T26" fmla="*/ 446 w 580"/>
                <a:gd name="T27" fmla="*/ 156 h 562"/>
                <a:gd name="T28" fmla="*/ 427 w 580"/>
                <a:gd name="T29" fmla="*/ 85 h 562"/>
                <a:gd name="T30" fmla="*/ 354 w 580"/>
                <a:gd name="T31" fmla="*/ 63 h 562"/>
                <a:gd name="T32" fmla="*/ 316 w 580"/>
                <a:gd name="T33" fmla="*/ 0 h 562"/>
                <a:gd name="T34" fmla="*/ 395 w 580"/>
                <a:gd name="T35" fmla="*/ 9 h 562"/>
                <a:gd name="T36" fmla="*/ 469 w 580"/>
                <a:gd name="T37" fmla="*/ 38 h 562"/>
                <a:gd name="T38" fmla="*/ 534 w 580"/>
                <a:gd name="T39" fmla="*/ 84 h 562"/>
                <a:gd name="T40" fmla="*/ 504 w 580"/>
                <a:gd name="T41" fmla="*/ 171 h 562"/>
                <a:gd name="T42" fmla="*/ 493 w 580"/>
                <a:gd name="T43" fmla="*/ 264 h 562"/>
                <a:gd name="T44" fmla="*/ 504 w 580"/>
                <a:gd name="T45" fmla="*/ 355 h 562"/>
                <a:gd name="T46" fmla="*/ 533 w 580"/>
                <a:gd name="T47" fmla="*/ 442 h 562"/>
                <a:gd name="T48" fmla="*/ 580 w 580"/>
                <a:gd name="T49" fmla="*/ 520 h 562"/>
                <a:gd name="T50" fmla="*/ 544 w 580"/>
                <a:gd name="T51" fmla="*/ 562 h 562"/>
                <a:gd name="T52" fmla="*/ 470 w 580"/>
                <a:gd name="T53" fmla="*/ 530 h 562"/>
                <a:gd name="T54" fmla="*/ 393 w 580"/>
                <a:gd name="T55" fmla="*/ 513 h 562"/>
                <a:gd name="T56" fmla="*/ 318 w 580"/>
                <a:gd name="T57" fmla="*/ 514 h 562"/>
                <a:gd name="T58" fmla="*/ 251 w 580"/>
                <a:gd name="T59" fmla="*/ 528 h 562"/>
                <a:gd name="T60" fmla="*/ 195 w 580"/>
                <a:gd name="T61" fmla="*/ 548 h 562"/>
                <a:gd name="T62" fmla="*/ 178 w 580"/>
                <a:gd name="T63" fmla="*/ 465 h 562"/>
                <a:gd name="T64" fmla="*/ 145 w 580"/>
                <a:gd name="T65" fmla="*/ 390 h 562"/>
                <a:gd name="T66" fmla="*/ 97 w 580"/>
                <a:gd name="T67" fmla="*/ 322 h 562"/>
                <a:gd name="T68" fmla="*/ 35 w 580"/>
                <a:gd name="T69" fmla="*/ 265 h 562"/>
                <a:gd name="T70" fmla="*/ 14 w 580"/>
                <a:gd name="T71" fmla="*/ 201 h 562"/>
                <a:gd name="T72" fmla="*/ 57 w 580"/>
                <a:gd name="T73" fmla="*/ 127 h 562"/>
                <a:gd name="T74" fmla="*/ 117 w 580"/>
                <a:gd name="T75" fmla="*/ 67 h 562"/>
                <a:gd name="T76" fmla="*/ 189 w 580"/>
                <a:gd name="T77" fmla="*/ 25 h 562"/>
                <a:gd name="T78" fmla="*/ 272 w 580"/>
                <a:gd name="T79" fmla="*/ 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80" h="562">
                  <a:moveTo>
                    <a:pt x="316" y="60"/>
                  </a:moveTo>
                  <a:lnTo>
                    <a:pt x="276" y="63"/>
                  </a:lnTo>
                  <a:lnTo>
                    <a:pt x="238" y="71"/>
                  </a:lnTo>
                  <a:lnTo>
                    <a:pt x="204" y="86"/>
                  </a:lnTo>
                  <a:lnTo>
                    <a:pt x="170" y="104"/>
                  </a:lnTo>
                  <a:lnTo>
                    <a:pt x="140" y="126"/>
                  </a:lnTo>
                  <a:lnTo>
                    <a:pt x="113" y="153"/>
                  </a:lnTo>
                  <a:lnTo>
                    <a:pt x="91" y="184"/>
                  </a:lnTo>
                  <a:lnTo>
                    <a:pt x="73" y="218"/>
                  </a:lnTo>
                  <a:lnTo>
                    <a:pt x="107" y="246"/>
                  </a:lnTo>
                  <a:lnTo>
                    <a:pt x="138" y="276"/>
                  </a:lnTo>
                  <a:lnTo>
                    <a:pt x="166" y="310"/>
                  </a:lnTo>
                  <a:lnTo>
                    <a:pt x="191" y="347"/>
                  </a:lnTo>
                  <a:lnTo>
                    <a:pt x="211" y="385"/>
                  </a:lnTo>
                  <a:lnTo>
                    <a:pt x="228" y="425"/>
                  </a:lnTo>
                  <a:lnTo>
                    <a:pt x="241" y="467"/>
                  </a:lnTo>
                  <a:lnTo>
                    <a:pt x="277" y="459"/>
                  </a:lnTo>
                  <a:lnTo>
                    <a:pt x="315" y="453"/>
                  </a:lnTo>
                  <a:lnTo>
                    <a:pt x="352" y="451"/>
                  </a:lnTo>
                  <a:lnTo>
                    <a:pt x="395" y="453"/>
                  </a:lnTo>
                  <a:lnTo>
                    <a:pt x="437" y="459"/>
                  </a:lnTo>
                  <a:lnTo>
                    <a:pt x="478" y="469"/>
                  </a:lnTo>
                  <a:lnTo>
                    <a:pt x="459" y="420"/>
                  </a:lnTo>
                  <a:lnTo>
                    <a:pt x="445" y="369"/>
                  </a:lnTo>
                  <a:lnTo>
                    <a:pt x="435" y="317"/>
                  </a:lnTo>
                  <a:lnTo>
                    <a:pt x="433" y="264"/>
                  </a:lnTo>
                  <a:lnTo>
                    <a:pt x="436" y="210"/>
                  </a:lnTo>
                  <a:lnTo>
                    <a:pt x="446" y="156"/>
                  </a:lnTo>
                  <a:lnTo>
                    <a:pt x="461" y="104"/>
                  </a:lnTo>
                  <a:lnTo>
                    <a:pt x="427" y="85"/>
                  </a:lnTo>
                  <a:lnTo>
                    <a:pt x="392" y="71"/>
                  </a:lnTo>
                  <a:lnTo>
                    <a:pt x="354" y="63"/>
                  </a:lnTo>
                  <a:lnTo>
                    <a:pt x="316" y="60"/>
                  </a:lnTo>
                  <a:close/>
                  <a:moveTo>
                    <a:pt x="316" y="0"/>
                  </a:moveTo>
                  <a:lnTo>
                    <a:pt x="356" y="2"/>
                  </a:lnTo>
                  <a:lnTo>
                    <a:pt x="395" y="9"/>
                  </a:lnTo>
                  <a:lnTo>
                    <a:pt x="432" y="21"/>
                  </a:lnTo>
                  <a:lnTo>
                    <a:pt x="469" y="38"/>
                  </a:lnTo>
                  <a:lnTo>
                    <a:pt x="502" y="59"/>
                  </a:lnTo>
                  <a:lnTo>
                    <a:pt x="534" y="84"/>
                  </a:lnTo>
                  <a:lnTo>
                    <a:pt x="517" y="126"/>
                  </a:lnTo>
                  <a:lnTo>
                    <a:pt x="504" y="171"/>
                  </a:lnTo>
                  <a:lnTo>
                    <a:pt x="496" y="217"/>
                  </a:lnTo>
                  <a:lnTo>
                    <a:pt x="493" y="264"/>
                  </a:lnTo>
                  <a:lnTo>
                    <a:pt x="496" y="310"/>
                  </a:lnTo>
                  <a:lnTo>
                    <a:pt x="504" y="355"/>
                  </a:lnTo>
                  <a:lnTo>
                    <a:pt x="516" y="399"/>
                  </a:lnTo>
                  <a:lnTo>
                    <a:pt x="533" y="442"/>
                  </a:lnTo>
                  <a:lnTo>
                    <a:pt x="554" y="483"/>
                  </a:lnTo>
                  <a:lnTo>
                    <a:pt x="580" y="520"/>
                  </a:lnTo>
                  <a:lnTo>
                    <a:pt x="562" y="542"/>
                  </a:lnTo>
                  <a:lnTo>
                    <a:pt x="544" y="562"/>
                  </a:lnTo>
                  <a:lnTo>
                    <a:pt x="508" y="544"/>
                  </a:lnTo>
                  <a:lnTo>
                    <a:pt x="470" y="530"/>
                  </a:lnTo>
                  <a:lnTo>
                    <a:pt x="432" y="519"/>
                  </a:lnTo>
                  <a:lnTo>
                    <a:pt x="393" y="513"/>
                  </a:lnTo>
                  <a:lnTo>
                    <a:pt x="352" y="511"/>
                  </a:lnTo>
                  <a:lnTo>
                    <a:pt x="318" y="514"/>
                  </a:lnTo>
                  <a:lnTo>
                    <a:pt x="283" y="519"/>
                  </a:lnTo>
                  <a:lnTo>
                    <a:pt x="251" y="528"/>
                  </a:lnTo>
                  <a:lnTo>
                    <a:pt x="221" y="538"/>
                  </a:lnTo>
                  <a:lnTo>
                    <a:pt x="195" y="548"/>
                  </a:lnTo>
                  <a:lnTo>
                    <a:pt x="189" y="506"/>
                  </a:lnTo>
                  <a:lnTo>
                    <a:pt x="178" y="465"/>
                  </a:lnTo>
                  <a:lnTo>
                    <a:pt x="164" y="426"/>
                  </a:lnTo>
                  <a:lnTo>
                    <a:pt x="145" y="390"/>
                  </a:lnTo>
                  <a:lnTo>
                    <a:pt x="123" y="354"/>
                  </a:lnTo>
                  <a:lnTo>
                    <a:pt x="97" y="322"/>
                  </a:lnTo>
                  <a:lnTo>
                    <a:pt x="68" y="293"/>
                  </a:lnTo>
                  <a:lnTo>
                    <a:pt x="35" y="265"/>
                  </a:lnTo>
                  <a:lnTo>
                    <a:pt x="0" y="243"/>
                  </a:lnTo>
                  <a:lnTo>
                    <a:pt x="14" y="201"/>
                  </a:lnTo>
                  <a:lnTo>
                    <a:pt x="33" y="162"/>
                  </a:lnTo>
                  <a:lnTo>
                    <a:pt x="57" y="127"/>
                  </a:lnTo>
                  <a:lnTo>
                    <a:pt x="85" y="96"/>
                  </a:lnTo>
                  <a:lnTo>
                    <a:pt x="117" y="67"/>
                  </a:lnTo>
                  <a:lnTo>
                    <a:pt x="151" y="44"/>
                  </a:lnTo>
                  <a:lnTo>
                    <a:pt x="189" y="25"/>
                  </a:lnTo>
                  <a:lnTo>
                    <a:pt x="229" y="11"/>
                  </a:lnTo>
                  <a:lnTo>
                    <a:pt x="272" y="2"/>
                  </a:lnTo>
                  <a:lnTo>
                    <a:pt x="316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9" name="Freeform 330">
              <a:extLst>
                <a:ext uri="{FF2B5EF4-FFF2-40B4-BE49-F238E27FC236}">
                  <a16:creationId xmlns:a16="http://schemas.microsoft.com/office/drawing/2014/main" xmlns="" id="{7D6E4AC9-FFFC-4FFA-8BD1-CC6A5888E4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8" y="2546"/>
              <a:ext cx="73" cy="70"/>
            </a:xfrm>
            <a:custGeom>
              <a:avLst/>
              <a:gdLst>
                <a:gd name="T0" fmla="*/ 241 w 585"/>
                <a:gd name="T1" fmla="*/ 63 h 554"/>
                <a:gd name="T2" fmla="*/ 173 w 585"/>
                <a:gd name="T3" fmla="*/ 83 h 554"/>
                <a:gd name="T4" fmla="*/ 111 w 585"/>
                <a:gd name="T5" fmla="*/ 120 h 554"/>
                <a:gd name="T6" fmla="*/ 131 w 585"/>
                <a:gd name="T7" fmla="*/ 216 h 554"/>
                <a:gd name="T8" fmla="*/ 131 w 585"/>
                <a:gd name="T9" fmla="*/ 318 h 554"/>
                <a:gd name="T10" fmla="*/ 108 w 585"/>
                <a:gd name="T11" fmla="*/ 421 h 554"/>
                <a:gd name="T12" fmla="*/ 130 w 585"/>
                <a:gd name="T13" fmla="*/ 460 h 554"/>
                <a:gd name="T14" fmla="*/ 215 w 585"/>
                <a:gd name="T15" fmla="*/ 452 h 554"/>
                <a:gd name="T16" fmla="*/ 286 w 585"/>
                <a:gd name="T17" fmla="*/ 457 h 554"/>
                <a:gd name="T18" fmla="*/ 333 w 585"/>
                <a:gd name="T19" fmla="*/ 417 h 554"/>
                <a:gd name="T20" fmla="*/ 375 w 585"/>
                <a:gd name="T21" fmla="*/ 332 h 554"/>
                <a:gd name="T22" fmla="*/ 434 w 585"/>
                <a:gd name="T23" fmla="*/ 257 h 554"/>
                <a:gd name="T24" fmla="*/ 508 w 585"/>
                <a:gd name="T25" fmla="*/ 195 h 554"/>
                <a:gd name="T26" fmla="*/ 466 w 585"/>
                <a:gd name="T27" fmla="*/ 140 h 554"/>
                <a:gd name="T28" fmla="*/ 412 w 585"/>
                <a:gd name="T29" fmla="*/ 98 h 554"/>
                <a:gd name="T30" fmla="*/ 348 w 585"/>
                <a:gd name="T31" fmla="*/ 70 h 554"/>
                <a:gd name="T32" fmla="*/ 278 w 585"/>
                <a:gd name="T33" fmla="*/ 61 h 554"/>
                <a:gd name="T34" fmla="*/ 319 w 585"/>
                <a:gd name="T35" fmla="*/ 3 h 554"/>
                <a:gd name="T36" fmla="*/ 397 w 585"/>
                <a:gd name="T37" fmla="*/ 23 h 554"/>
                <a:gd name="T38" fmla="*/ 467 w 585"/>
                <a:gd name="T39" fmla="*/ 61 h 554"/>
                <a:gd name="T40" fmla="*/ 525 w 585"/>
                <a:gd name="T41" fmla="*/ 115 h 554"/>
                <a:gd name="T42" fmla="*/ 570 w 585"/>
                <a:gd name="T43" fmla="*/ 182 h 554"/>
                <a:gd name="T44" fmla="*/ 546 w 585"/>
                <a:gd name="T45" fmla="*/ 243 h 554"/>
                <a:gd name="T46" fmla="*/ 477 w 585"/>
                <a:gd name="T47" fmla="*/ 300 h 554"/>
                <a:gd name="T48" fmla="*/ 422 w 585"/>
                <a:gd name="T49" fmla="*/ 370 h 554"/>
                <a:gd name="T50" fmla="*/ 385 w 585"/>
                <a:gd name="T51" fmla="*/ 452 h 554"/>
                <a:gd name="T52" fmla="*/ 367 w 585"/>
                <a:gd name="T53" fmla="*/ 541 h 554"/>
                <a:gd name="T54" fmla="*/ 299 w 585"/>
                <a:gd name="T55" fmla="*/ 521 h 554"/>
                <a:gd name="T56" fmla="*/ 215 w 585"/>
                <a:gd name="T57" fmla="*/ 512 h 554"/>
                <a:gd name="T58" fmla="*/ 125 w 585"/>
                <a:gd name="T59" fmla="*/ 523 h 554"/>
                <a:gd name="T60" fmla="*/ 41 w 585"/>
                <a:gd name="T61" fmla="*/ 554 h 554"/>
                <a:gd name="T62" fmla="*/ 0 w 585"/>
                <a:gd name="T63" fmla="*/ 502 h 554"/>
                <a:gd name="T64" fmla="*/ 47 w 585"/>
                <a:gd name="T65" fmla="*/ 413 h 554"/>
                <a:gd name="T66" fmla="*/ 70 w 585"/>
                <a:gd name="T67" fmla="*/ 316 h 554"/>
                <a:gd name="T68" fmla="*/ 71 w 585"/>
                <a:gd name="T69" fmla="*/ 223 h 554"/>
                <a:gd name="T70" fmla="*/ 55 w 585"/>
                <a:gd name="T71" fmla="*/ 143 h 554"/>
                <a:gd name="T72" fmla="*/ 68 w 585"/>
                <a:gd name="T73" fmla="*/ 76 h 554"/>
                <a:gd name="T74" fmla="*/ 131 w 585"/>
                <a:gd name="T75" fmla="*/ 35 h 554"/>
                <a:gd name="T76" fmla="*/ 202 w 585"/>
                <a:gd name="T77" fmla="*/ 9 h 554"/>
                <a:gd name="T78" fmla="*/ 278 w 585"/>
                <a:gd name="T79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85" h="554">
                  <a:moveTo>
                    <a:pt x="278" y="61"/>
                  </a:moveTo>
                  <a:lnTo>
                    <a:pt x="241" y="63"/>
                  </a:lnTo>
                  <a:lnTo>
                    <a:pt x="206" y="71"/>
                  </a:lnTo>
                  <a:lnTo>
                    <a:pt x="173" y="83"/>
                  </a:lnTo>
                  <a:lnTo>
                    <a:pt x="140" y="99"/>
                  </a:lnTo>
                  <a:lnTo>
                    <a:pt x="111" y="120"/>
                  </a:lnTo>
                  <a:lnTo>
                    <a:pt x="124" y="167"/>
                  </a:lnTo>
                  <a:lnTo>
                    <a:pt x="131" y="216"/>
                  </a:lnTo>
                  <a:lnTo>
                    <a:pt x="134" y="265"/>
                  </a:lnTo>
                  <a:lnTo>
                    <a:pt x="131" y="318"/>
                  </a:lnTo>
                  <a:lnTo>
                    <a:pt x="122" y="370"/>
                  </a:lnTo>
                  <a:lnTo>
                    <a:pt x="108" y="421"/>
                  </a:lnTo>
                  <a:lnTo>
                    <a:pt x="89" y="470"/>
                  </a:lnTo>
                  <a:lnTo>
                    <a:pt x="130" y="460"/>
                  </a:lnTo>
                  <a:lnTo>
                    <a:pt x="172" y="454"/>
                  </a:lnTo>
                  <a:lnTo>
                    <a:pt x="215" y="452"/>
                  </a:lnTo>
                  <a:lnTo>
                    <a:pt x="251" y="453"/>
                  </a:lnTo>
                  <a:lnTo>
                    <a:pt x="286" y="457"/>
                  </a:lnTo>
                  <a:lnTo>
                    <a:pt x="319" y="464"/>
                  </a:lnTo>
                  <a:lnTo>
                    <a:pt x="333" y="417"/>
                  </a:lnTo>
                  <a:lnTo>
                    <a:pt x="352" y="373"/>
                  </a:lnTo>
                  <a:lnTo>
                    <a:pt x="375" y="332"/>
                  </a:lnTo>
                  <a:lnTo>
                    <a:pt x="403" y="293"/>
                  </a:lnTo>
                  <a:lnTo>
                    <a:pt x="434" y="257"/>
                  </a:lnTo>
                  <a:lnTo>
                    <a:pt x="470" y="223"/>
                  </a:lnTo>
                  <a:lnTo>
                    <a:pt x="508" y="195"/>
                  </a:lnTo>
                  <a:lnTo>
                    <a:pt x="489" y="165"/>
                  </a:lnTo>
                  <a:lnTo>
                    <a:pt x="466" y="140"/>
                  </a:lnTo>
                  <a:lnTo>
                    <a:pt x="440" y="116"/>
                  </a:lnTo>
                  <a:lnTo>
                    <a:pt x="412" y="98"/>
                  </a:lnTo>
                  <a:lnTo>
                    <a:pt x="380" y="82"/>
                  </a:lnTo>
                  <a:lnTo>
                    <a:pt x="348" y="70"/>
                  </a:lnTo>
                  <a:lnTo>
                    <a:pt x="313" y="63"/>
                  </a:lnTo>
                  <a:lnTo>
                    <a:pt x="278" y="61"/>
                  </a:lnTo>
                  <a:close/>
                  <a:moveTo>
                    <a:pt x="278" y="0"/>
                  </a:moveTo>
                  <a:lnTo>
                    <a:pt x="319" y="3"/>
                  </a:lnTo>
                  <a:lnTo>
                    <a:pt x="359" y="10"/>
                  </a:lnTo>
                  <a:lnTo>
                    <a:pt x="397" y="23"/>
                  </a:lnTo>
                  <a:lnTo>
                    <a:pt x="433" y="40"/>
                  </a:lnTo>
                  <a:lnTo>
                    <a:pt x="467" y="61"/>
                  </a:lnTo>
                  <a:lnTo>
                    <a:pt x="498" y="87"/>
                  </a:lnTo>
                  <a:lnTo>
                    <a:pt x="525" y="115"/>
                  </a:lnTo>
                  <a:lnTo>
                    <a:pt x="550" y="147"/>
                  </a:lnTo>
                  <a:lnTo>
                    <a:pt x="570" y="182"/>
                  </a:lnTo>
                  <a:lnTo>
                    <a:pt x="585" y="219"/>
                  </a:lnTo>
                  <a:lnTo>
                    <a:pt x="546" y="243"/>
                  </a:lnTo>
                  <a:lnTo>
                    <a:pt x="509" y="269"/>
                  </a:lnTo>
                  <a:lnTo>
                    <a:pt x="477" y="300"/>
                  </a:lnTo>
                  <a:lnTo>
                    <a:pt x="447" y="334"/>
                  </a:lnTo>
                  <a:lnTo>
                    <a:pt x="422" y="370"/>
                  </a:lnTo>
                  <a:lnTo>
                    <a:pt x="402" y="410"/>
                  </a:lnTo>
                  <a:lnTo>
                    <a:pt x="385" y="452"/>
                  </a:lnTo>
                  <a:lnTo>
                    <a:pt x="374" y="495"/>
                  </a:lnTo>
                  <a:lnTo>
                    <a:pt x="367" y="541"/>
                  </a:lnTo>
                  <a:lnTo>
                    <a:pt x="337" y="531"/>
                  </a:lnTo>
                  <a:lnTo>
                    <a:pt x="299" y="521"/>
                  </a:lnTo>
                  <a:lnTo>
                    <a:pt x="258" y="515"/>
                  </a:lnTo>
                  <a:lnTo>
                    <a:pt x="215" y="512"/>
                  </a:lnTo>
                  <a:lnTo>
                    <a:pt x="170" y="515"/>
                  </a:lnTo>
                  <a:lnTo>
                    <a:pt x="125" y="523"/>
                  </a:lnTo>
                  <a:lnTo>
                    <a:pt x="83" y="536"/>
                  </a:lnTo>
                  <a:lnTo>
                    <a:pt x="41" y="554"/>
                  </a:lnTo>
                  <a:lnTo>
                    <a:pt x="20" y="529"/>
                  </a:lnTo>
                  <a:lnTo>
                    <a:pt x="0" y="502"/>
                  </a:lnTo>
                  <a:lnTo>
                    <a:pt x="27" y="459"/>
                  </a:lnTo>
                  <a:lnTo>
                    <a:pt x="47" y="413"/>
                  </a:lnTo>
                  <a:lnTo>
                    <a:pt x="61" y="365"/>
                  </a:lnTo>
                  <a:lnTo>
                    <a:pt x="70" y="316"/>
                  </a:lnTo>
                  <a:lnTo>
                    <a:pt x="73" y="265"/>
                  </a:lnTo>
                  <a:lnTo>
                    <a:pt x="71" y="223"/>
                  </a:lnTo>
                  <a:lnTo>
                    <a:pt x="65" y="183"/>
                  </a:lnTo>
                  <a:lnTo>
                    <a:pt x="55" y="143"/>
                  </a:lnTo>
                  <a:lnTo>
                    <a:pt x="41" y="103"/>
                  </a:lnTo>
                  <a:lnTo>
                    <a:pt x="68" y="76"/>
                  </a:lnTo>
                  <a:lnTo>
                    <a:pt x="99" y="54"/>
                  </a:lnTo>
                  <a:lnTo>
                    <a:pt x="131" y="35"/>
                  </a:lnTo>
                  <a:lnTo>
                    <a:pt x="166" y="20"/>
                  </a:lnTo>
                  <a:lnTo>
                    <a:pt x="202" y="9"/>
                  </a:lnTo>
                  <a:lnTo>
                    <a:pt x="240" y="3"/>
                  </a:lnTo>
                  <a:lnTo>
                    <a:pt x="278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sp>
        <p:nvSpPr>
          <p:cNvPr id="110" name="Arc 109">
            <a:extLst>
              <a:ext uri="{FF2B5EF4-FFF2-40B4-BE49-F238E27FC236}">
                <a16:creationId xmlns:a16="http://schemas.microsoft.com/office/drawing/2014/main" xmlns="" id="{A956BDBA-62E0-4361-93CD-924FE4D52B02}"/>
              </a:ext>
            </a:extLst>
          </p:cNvPr>
          <p:cNvSpPr/>
          <p:nvPr/>
        </p:nvSpPr>
        <p:spPr>
          <a:xfrm rot="9526443">
            <a:off x="3353452" y="1285721"/>
            <a:ext cx="2847979" cy="2053974"/>
          </a:xfrm>
          <a:prstGeom prst="arc">
            <a:avLst>
              <a:gd name="adj1" fmla="val 16903176"/>
              <a:gd name="adj2" fmla="val 202817"/>
            </a:avLst>
          </a:prstGeom>
          <a:noFill/>
          <a:ln w="34925">
            <a:solidFill>
              <a:schemeClr val="accent5"/>
            </a:solidFill>
            <a:prstDash val="dash"/>
            <a:head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107" tIns="45536" rIns="91107" bIns="45536" rtlCol="0" anchor="ctr"/>
          <a:lstStyle/>
          <a:p>
            <a:pPr algn="ctr"/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xmlns="" id="{9C875606-CA46-4AFA-B163-7C95FE946B79}"/>
              </a:ext>
            </a:extLst>
          </p:cNvPr>
          <p:cNvCxnSpPr>
            <a:cxnSpLocks/>
          </p:cNvCxnSpPr>
          <p:nvPr/>
        </p:nvCxnSpPr>
        <p:spPr>
          <a:xfrm>
            <a:off x="8124087" y="659961"/>
            <a:ext cx="0" cy="5721174"/>
          </a:xfrm>
          <a:prstGeom prst="line">
            <a:avLst/>
          </a:prstGeom>
          <a:ln w="952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Subtitle">
            <a:extLst>
              <a:ext uri="{FF2B5EF4-FFF2-40B4-BE49-F238E27FC236}">
                <a16:creationId xmlns:a16="http://schemas.microsoft.com/office/drawing/2014/main" xmlns="" id="{03C90CCF-FC39-493F-8681-7972E037E543}"/>
              </a:ext>
            </a:extLst>
          </p:cNvPr>
          <p:cNvSpPr txBox="1">
            <a:spLocks/>
          </p:cNvSpPr>
          <p:nvPr/>
        </p:nvSpPr>
        <p:spPr>
          <a:xfrm>
            <a:off x="2820928" y="447079"/>
            <a:ext cx="5106594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900" b="0" dirty="0" err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Visitas</a:t>
            </a:r>
            <a:r>
              <a:rPr lang="en-U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de </a:t>
            </a:r>
            <a:r>
              <a:rPr lang="en-US" sz="1900" b="0" dirty="0" err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valuación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113" name="RbNavigator">
            <a:extLst>
              <a:ext uri="{FF2B5EF4-FFF2-40B4-BE49-F238E27FC236}">
                <a16:creationId xmlns:a16="http://schemas.microsoft.com/office/drawing/2014/main" xmlns="" id="{5D276B06-28C6-4857-B9B2-AB616F2207BB}"/>
              </a:ext>
            </a:extLst>
          </p:cNvPr>
          <p:cNvSpPr txBox="1"/>
          <p:nvPr/>
        </p:nvSpPr>
        <p:spPr>
          <a:xfrm>
            <a:off x="2820927" y="1"/>
            <a:ext cx="288000" cy="288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+mn-lt"/>
                <a:sym typeface="+mn-lt"/>
              </a:rPr>
              <a:t>1</a:t>
            </a:r>
          </a:p>
        </p:txBody>
      </p:sp>
      <p:sp>
        <p:nvSpPr>
          <p:cNvPr id="116" name="RbSticker">
            <a:extLst>
              <a:ext uri="{FF2B5EF4-FFF2-40B4-BE49-F238E27FC236}">
                <a16:creationId xmlns:a16="http://schemas.microsoft.com/office/drawing/2014/main" xmlns="" id="{D561A340-CF16-44F3-B71E-C1ED5151E602}"/>
              </a:ext>
            </a:extLst>
          </p:cNvPr>
          <p:cNvSpPr txBox="1"/>
          <p:nvPr/>
        </p:nvSpPr>
        <p:spPr>
          <a:xfrm>
            <a:off x="3188804" y="53111"/>
            <a:ext cx="1916422" cy="23544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Visión</a:t>
            </a:r>
            <a:r>
              <a:rPr lang="en-GB" sz="17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&amp; </a:t>
            </a: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Ambición</a:t>
            </a:r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7285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">
            <a:extLst>
              <a:ext uri="{FF2B5EF4-FFF2-40B4-BE49-F238E27FC236}">
                <a16:creationId xmlns:a16="http://schemas.microsoft.com/office/drawing/2014/main" xmlns="" id="{B1750B65-133D-4AFE-B448-1179E1409FE3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Informe de </a:t>
            </a:r>
            <a:r>
              <a:rPr lang="en-US" sz="1900" b="0" dirty="0" err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valuación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2AE193D-BB3F-4547-A31C-7F2FB3B1C883}"/>
              </a:ext>
            </a:extLst>
          </p:cNvPr>
          <p:cNvGrpSpPr/>
          <p:nvPr/>
        </p:nvGrpSpPr>
        <p:grpSpPr>
          <a:xfrm>
            <a:off x="2712011" y="1234464"/>
            <a:ext cx="9363067" cy="5262341"/>
            <a:chOff x="1450452" y="1425774"/>
            <a:chExt cx="9689031" cy="5445542"/>
          </a:xfrm>
        </p:grpSpPr>
        <p:sp>
          <p:nvSpPr>
            <p:cNvPr id="6" name="ZoneTexte 29">
              <a:extLst>
                <a:ext uri="{FF2B5EF4-FFF2-40B4-BE49-F238E27FC236}">
                  <a16:creationId xmlns:a16="http://schemas.microsoft.com/office/drawing/2014/main" xmlns="" id="{070D9F61-7D6F-48C6-8343-D4FB7F711739}"/>
                </a:ext>
              </a:extLst>
            </p:cNvPr>
            <p:cNvSpPr txBox="1"/>
            <p:nvPr/>
          </p:nvSpPr>
          <p:spPr>
            <a:xfrm>
              <a:off x="4493111" y="2001582"/>
              <a:ext cx="6646372" cy="486973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buClr>
                  <a:schemeClr val="tx1"/>
                </a:buClr>
                <a:buSzPct val="100000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Los equipos de ciudades digitales recibirán una plantilla e instrucciones para completar el informe de evaluación. Estos informes se estructurarán en torno a los siguientes capítulos:</a:t>
              </a:r>
            </a:p>
            <a:p>
              <a:pPr>
                <a:lnSpc>
                  <a:spcPct val="90000"/>
                </a:lnSpc>
                <a:buClr>
                  <a:schemeClr val="tx1"/>
                </a:buClr>
                <a:buSzPct val="100000"/>
              </a:pPr>
              <a:endParaRPr lang="es-ES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Madurez y potencial de digitalización regional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. Evaluación para cada una de las dimensiones del SAT, basada en datos secundarios y otras estrategias y mejores prácticas políticas de la ciudad/región: infraestructura, acceso a datos, habilidades digitales, comunidad, finanzas, gobernabilidad y liderazgo. También se recopilarán datos e ideas durante la visita de evaluación.  </a:t>
              </a:r>
            </a:p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olítica regional y urbana en apoyo de la transformación digital y la modernización industrial y combinación de políticas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. Análisis del panorama político regional/urbano. Análisis de los RIS3, del programa de digitalización (en su caso) y de la combinación de políticas industriales; categorización de las políticas regionales en apoyo de la transformación industrial; y análisis de las fuentes de financiación pública disponibles en apoyo del proceso de transformación. </a:t>
              </a:r>
            </a:p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nálisis del ecosistema regional/local de los grupos de interés.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Evaluación de los antecedentes institucionales en apoyo de la combinación de políticas; gobernanza de la innovación en apoyo de la agenda de la transformación digital.</a:t>
              </a:r>
            </a:p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Evaluación de la combinación de políticas regionales y locales.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Identificación de las debilidades estructurales regionales en la combinación de políticas regionales, sobre la base de la evaluación del experto y de los resultados de la herramienta de autoevaluación (SAT) de las ciudades.  Recomendaciones. </a:t>
              </a:r>
            </a:p>
            <a:p>
              <a:pPr marL="342900" indent="-342900">
                <a:lnSpc>
                  <a:spcPct val="90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rimeras ideas sobre Visión y Ambición.</a:t>
              </a:r>
            </a:p>
            <a:p>
              <a:pPr>
                <a:lnSpc>
                  <a:spcPct val="90000"/>
                </a:lnSpc>
                <a:buClr>
                  <a:schemeClr val="tx1"/>
                </a:buClr>
                <a:buSzPct val="100000"/>
              </a:pPr>
              <a:endParaRPr lang="en-GB" sz="1300" b="1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63A2D422-F299-42CB-B2EB-9F9B09885D7A}"/>
                </a:ext>
              </a:extLst>
            </p:cNvPr>
            <p:cNvSpPr/>
            <p:nvPr/>
          </p:nvSpPr>
          <p:spPr>
            <a:xfrm>
              <a:off x="1450452" y="1425774"/>
              <a:ext cx="2851263" cy="3643161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6000" tIns="96000" rIns="96000" bIns="96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</a:pPr>
              <a:endParaRPr lang="en-GB" sz="2000" b="0" dirty="0"/>
            </a:p>
          </p:txBody>
        </p:sp>
        <p:sp>
          <p:nvSpPr>
            <p:cNvPr id="8" name="RBContent15">
              <a:extLst>
                <a:ext uri="{FF2B5EF4-FFF2-40B4-BE49-F238E27FC236}">
                  <a16:creationId xmlns:a16="http://schemas.microsoft.com/office/drawing/2014/main" xmlns="" id="{600CBCCF-667F-4C94-92B3-E85421D89EB4}"/>
                </a:ext>
              </a:extLst>
            </p:cNvPr>
            <p:cNvSpPr txBox="1">
              <a:spLocks/>
            </p:cNvSpPr>
            <p:nvPr/>
          </p:nvSpPr>
          <p:spPr>
            <a:xfrm>
              <a:off x="1582446" y="2184906"/>
              <a:ext cx="2450429" cy="2388685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0" lvl="1">
                <a:spcBef>
                  <a:spcPts val="800"/>
                </a:spcBef>
                <a:buSzPct val="100000"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Redacción de un </a:t>
              </a:r>
              <a:r>
                <a:rPr lang="es-ES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informe completo de evaluación de Ciudades Digitales </a:t>
              </a: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que incluirá las ideas recogidas durante la visita de evaluación, así como los resultados extraídos de la implementación de la Herramienta de Autoevaluación. </a:t>
              </a:r>
            </a:p>
          </p:txBody>
        </p:sp>
        <p:grpSp>
          <p:nvGrpSpPr>
            <p:cNvPr id="9" name="Group 26">
              <a:extLst>
                <a:ext uri="{FF2B5EF4-FFF2-40B4-BE49-F238E27FC236}">
                  <a16:creationId xmlns:a16="http://schemas.microsoft.com/office/drawing/2014/main" xmlns="" id="{1E49395F-5E9D-4307-B8BF-E62C744432E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582445" y="1477037"/>
              <a:ext cx="783167" cy="540883"/>
              <a:chOff x="1720851" y="1301751"/>
              <a:chExt cx="3576637" cy="2470150"/>
            </a:xfrm>
            <a:solidFill>
              <a:schemeClr val="accent5"/>
            </a:solidFill>
          </p:grpSpPr>
          <p:sp>
            <p:nvSpPr>
              <p:cNvPr id="10" name="Freeform 7">
                <a:extLst>
                  <a:ext uri="{FF2B5EF4-FFF2-40B4-BE49-F238E27FC236}">
                    <a16:creationId xmlns:a16="http://schemas.microsoft.com/office/drawing/2014/main" xmlns="" id="{A1521C5B-9031-47E9-9432-10786F8DB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3086" y="1301751"/>
                <a:ext cx="2389188" cy="2395538"/>
              </a:xfrm>
              <a:custGeom>
                <a:avLst/>
                <a:gdLst>
                  <a:gd name="T0" fmla="*/ 1992 w 2074"/>
                  <a:gd name="T1" fmla="*/ 1162 h 2080"/>
                  <a:gd name="T2" fmla="*/ 1040 w 2074"/>
                  <a:gd name="T3" fmla="*/ 2000 h 2080"/>
                  <a:gd name="T4" fmla="*/ 80 w 2074"/>
                  <a:gd name="T5" fmla="*/ 1040 h 2080"/>
                  <a:gd name="T6" fmla="*/ 1040 w 2074"/>
                  <a:gd name="T7" fmla="*/ 80 h 2080"/>
                  <a:gd name="T8" fmla="*/ 1993 w 2074"/>
                  <a:gd name="T9" fmla="*/ 925 h 2080"/>
                  <a:gd name="T10" fmla="*/ 2074 w 2074"/>
                  <a:gd name="T11" fmla="*/ 925 h 2080"/>
                  <a:gd name="T12" fmla="*/ 1040 w 2074"/>
                  <a:gd name="T13" fmla="*/ 0 h 2080"/>
                  <a:gd name="T14" fmla="*/ 0 w 2074"/>
                  <a:gd name="T15" fmla="*/ 1040 h 2080"/>
                  <a:gd name="T16" fmla="*/ 1040 w 2074"/>
                  <a:gd name="T17" fmla="*/ 2080 h 2080"/>
                  <a:gd name="T18" fmla="*/ 2073 w 2074"/>
                  <a:gd name="T19" fmla="*/ 1162 h 2080"/>
                  <a:gd name="T20" fmla="*/ 1992 w 2074"/>
                  <a:gd name="T21" fmla="*/ 1162 h 2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74" h="2080">
                    <a:moveTo>
                      <a:pt x="1992" y="1162"/>
                    </a:moveTo>
                    <a:cubicBezTo>
                      <a:pt x="1933" y="1635"/>
                      <a:pt x="1529" y="2000"/>
                      <a:pt x="1040" y="2000"/>
                    </a:cubicBezTo>
                    <a:cubicBezTo>
                      <a:pt x="510" y="2000"/>
                      <a:pt x="80" y="1571"/>
                      <a:pt x="80" y="1040"/>
                    </a:cubicBezTo>
                    <a:cubicBezTo>
                      <a:pt x="80" y="510"/>
                      <a:pt x="510" y="80"/>
                      <a:pt x="1040" y="80"/>
                    </a:cubicBezTo>
                    <a:cubicBezTo>
                      <a:pt x="1531" y="80"/>
                      <a:pt x="1936" y="449"/>
                      <a:pt x="1993" y="925"/>
                    </a:cubicBezTo>
                    <a:cubicBezTo>
                      <a:pt x="2074" y="925"/>
                      <a:pt x="2074" y="925"/>
                      <a:pt x="2074" y="925"/>
                    </a:cubicBezTo>
                    <a:cubicBezTo>
                      <a:pt x="2016" y="405"/>
                      <a:pt x="1575" y="0"/>
                      <a:pt x="1040" y="0"/>
                    </a:cubicBezTo>
                    <a:cubicBezTo>
                      <a:pt x="466" y="0"/>
                      <a:pt x="0" y="466"/>
                      <a:pt x="0" y="1040"/>
                    </a:cubicBezTo>
                    <a:cubicBezTo>
                      <a:pt x="0" y="1615"/>
                      <a:pt x="466" y="2080"/>
                      <a:pt x="1040" y="2080"/>
                    </a:cubicBezTo>
                    <a:cubicBezTo>
                      <a:pt x="1573" y="2080"/>
                      <a:pt x="2013" y="1679"/>
                      <a:pt x="2073" y="1162"/>
                    </a:cubicBezTo>
                    <a:lnTo>
                      <a:pt x="1992" y="1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33" dirty="0">
                  <a:latin typeface="+mn-lt"/>
                  <a:sym typeface="+mn-lt"/>
                </a:endParaRPr>
              </a:p>
            </p:txBody>
          </p:sp>
          <p:sp>
            <p:nvSpPr>
              <p:cNvPr id="11" name="Freeform 8">
                <a:extLst>
                  <a:ext uri="{FF2B5EF4-FFF2-40B4-BE49-F238E27FC236}">
                    <a16:creationId xmlns:a16="http://schemas.microsoft.com/office/drawing/2014/main" xmlns="" id="{960CF236-D174-414F-8757-31D8D36CB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601" y="2225676"/>
                <a:ext cx="514350" cy="547688"/>
              </a:xfrm>
              <a:custGeom>
                <a:avLst/>
                <a:gdLst>
                  <a:gd name="T0" fmla="*/ 238 w 446"/>
                  <a:gd name="T1" fmla="*/ 80 h 475"/>
                  <a:gd name="T2" fmla="*/ 346 w 446"/>
                  <a:gd name="T3" fmla="*/ 122 h 475"/>
                  <a:gd name="T4" fmla="*/ 446 w 446"/>
                  <a:gd name="T5" fmla="*/ 122 h 475"/>
                  <a:gd name="T6" fmla="*/ 238 w 446"/>
                  <a:gd name="T7" fmla="*/ 0 h 475"/>
                  <a:gd name="T8" fmla="*/ 0 w 446"/>
                  <a:gd name="T9" fmla="*/ 237 h 475"/>
                  <a:gd name="T10" fmla="*/ 238 w 446"/>
                  <a:gd name="T11" fmla="*/ 475 h 475"/>
                  <a:gd name="T12" fmla="*/ 443 w 446"/>
                  <a:gd name="T13" fmla="*/ 359 h 475"/>
                  <a:gd name="T14" fmla="*/ 339 w 446"/>
                  <a:gd name="T15" fmla="*/ 359 h 475"/>
                  <a:gd name="T16" fmla="*/ 238 w 446"/>
                  <a:gd name="T17" fmla="*/ 395 h 475"/>
                  <a:gd name="T18" fmla="*/ 80 w 446"/>
                  <a:gd name="T19" fmla="*/ 237 h 475"/>
                  <a:gd name="T20" fmla="*/ 238 w 446"/>
                  <a:gd name="T21" fmla="*/ 80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6" h="475">
                    <a:moveTo>
                      <a:pt x="238" y="80"/>
                    </a:moveTo>
                    <a:cubicBezTo>
                      <a:pt x="280" y="80"/>
                      <a:pt x="318" y="96"/>
                      <a:pt x="346" y="122"/>
                    </a:cubicBezTo>
                    <a:cubicBezTo>
                      <a:pt x="446" y="122"/>
                      <a:pt x="446" y="122"/>
                      <a:pt x="446" y="122"/>
                    </a:cubicBezTo>
                    <a:cubicBezTo>
                      <a:pt x="406" y="49"/>
                      <a:pt x="328" y="0"/>
                      <a:pt x="238" y="0"/>
                    </a:cubicBezTo>
                    <a:cubicBezTo>
                      <a:pt x="107" y="0"/>
                      <a:pt x="0" y="106"/>
                      <a:pt x="0" y="237"/>
                    </a:cubicBezTo>
                    <a:cubicBezTo>
                      <a:pt x="0" y="369"/>
                      <a:pt x="107" y="475"/>
                      <a:pt x="238" y="475"/>
                    </a:cubicBezTo>
                    <a:cubicBezTo>
                      <a:pt x="325" y="475"/>
                      <a:pt x="401" y="428"/>
                      <a:pt x="443" y="359"/>
                    </a:cubicBezTo>
                    <a:cubicBezTo>
                      <a:pt x="339" y="359"/>
                      <a:pt x="339" y="359"/>
                      <a:pt x="339" y="359"/>
                    </a:cubicBezTo>
                    <a:cubicBezTo>
                      <a:pt x="312" y="381"/>
                      <a:pt x="277" y="395"/>
                      <a:pt x="238" y="395"/>
                    </a:cubicBezTo>
                    <a:cubicBezTo>
                      <a:pt x="151" y="395"/>
                      <a:pt x="80" y="325"/>
                      <a:pt x="80" y="237"/>
                    </a:cubicBezTo>
                    <a:cubicBezTo>
                      <a:pt x="80" y="150"/>
                      <a:pt x="151" y="80"/>
                      <a:pt x="238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33" dirty="0">
                  <a:latin typeface="+mn-lt"/>
                  <a:sym typeface="+mn-lt"/>
                </a:endParaRPr>
              </a:p>
            </p:txBody>
          </p:sp>
          <p:sp>
            <p:nvSpPr>
              <p:cNvPr id="12" name="Freeform 9">
                <a:extLst>
                  <a:ext uri="{FF2B5EF4-FFF2-40B4-BE49-F238E27FC236}">
                    <a16:creationId xmlns:a16="http://schemas.microsoft.com/office/drawing/2014/main" xmlns="" id="{12611472-1EB7-4761-A43B-218FBAFBA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8226" y="1765303"/>
                <a:ext cx="1458913" cy="1468439"/>
              </a:xfrm>
              <a:custGeom>
                <a:avLst/>
                <a:gdLst>
                  <a:gd name="T0" fmla="*/ 1184 w 1266"/>
                  <a:gd name="T1" fmla="*/ 522 h 1275"/>
                  <a:gd name="T2" fmla="*/ 1266 w 1266"/>
                  <a:gd name="T3" fmla="*/ 522 h 1275"/>
                  <a:gd name="T4" fmla="*/ 638 w 1266"/>
                  <a:gd name="T5" fmla="*/ 0 h 1275"/>
                  <a:gd name="T6" fmla="*/ 0 w 1266"/>
                  <a:gd name="T7" fmla="*/ 637 h 1275"/>
                  <a:gd name="T8" fmla="*/ 638 w 1266"/>
                  <a:gd name="T9" fmla="*/ 1275 h 1275"/>
                  <a:gd name="T10" fmla="*/ 1264 w 1266"/>
                  <a:gd name="T11" fmla="*/ 759 h 1275"/>
                  <a:gd name="T12" fmla="*/ 1183 w 1266"/>
                  <a:gd name="T13" fmla="*/ 759 h 1275"/>
                  <a:gd name="T14" fmla="*/ 638 w 1266"/>
                  <a:gd name="T15" fmla="*/ 1195 h 1275"/>
                  <a:gd name="T16" fmla="*/ 80 w 1266"/>
                  <a:gd name="T17" fmla="*/ 637 h 1275"/>
                  <a:gd name="T18" fmla="*/ 638 w 1266"/>
                  <a:gd name="T19" fmla="*/ 80 h 1275"/>
                  <a:gd name="T20" fmla="*/ 1184 w 1266"/>
                  <a:gd name="T21" fmla="*/ 522 h 1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66" h="1275">
                    <a:moveTo>
                      <a:pt x="1184" y="522"/>
                    </a:moveTo>
                    <a:cubicBezTo>
                      <a:pt x="1266" y="522"/>
                      <a:pt x="1266" y="522"/>
                      <a:pt x="1266" y="522"/>
                    </a:cubicBezTo>
                    <a:cubicBezTo>
                      <a:pt x="1211" y="225"/>
                      <a:pt x="951" y="0"/>
                      <a:pt x="638" y="0"/>
                    </a:cubicBezTo>
                    <a:cubicBezTo>
                      <a:pt x="286" y="0"/>
                      <a:pt x="0" y="285"/>
                      <a:pt x="0" y="637"/>
                    </a:cubicBezTo>
                    <a:cubicBezTo>
                      <a:pt x="0" y="990"/>
                      <a:pt x="286" y="1275"/>
                      <a:pt x="638" y="1275"/>
                    </a:cubicBezTo>
                    <a:cubicBezTo>
                      <a:pt x="949" y="1275"/>
                      <a:pt x="1208" y="1053"/>
                      <a:pt x="1264" y="759"/>
                    </a:cubicBezTo>
                    <a:cubicBezTo>
                      <a:pt x="1183" y="759"/>
                      <a:pt x="1183" y="759"/>
                      <a:pt x="1183" y="759"/>
                    </a:cubicBezTo>
                    <a:cubicBezTo>
                      <a:pt x="1127" y="1008"/>
                      <a:pt x="905" y="1195"/>
                      <a:pt x="638" y="1195"/>
                    </a:cubicBezTo>
                    <a:cubicBezTo>
                      <a:pt x="330" y="1195"/>
                      <a:pt x="80" y="945"/>
                      <a:pt x="80" y="637"/>
                    </a:cubicBezTo>
                    <a:cubicBezTo>
                      <a:pt x="80" y="329"/>
                      <a:pt x="330" y="80"/>
                      <a:pt x="638" y="80"/>
                    </a:cubicBezTo>
                    <a:cubicBezTo>
                      <a:pt x="907" y="80"/>
                      <a:pt x="1131" y="269"/>
                      <a:pt x="1184" y="5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33" dirty="0">
                  <a:latin typeface="+mn-lt"/>
                  <a:sym typeface="+mn-lt"/>
                </a:endParaRPr>
              </a:p>
            </p:txBody>
          </p:sp>
          <p:sp>
            <p:nvSpPr>
              <p:cNvPr id="13" name="Freeform 10">
                <a:extLst>
                  <a:ext uri="{FF2B5EF4-FFF2-40B4-BE49-F238E27FC236}">
                    <a16:creationId xmlns:a16="http://schemas.microsoft.com/office/drawing/2014/main" xmlns="" id="{624EB4B0-40FB-4B62-AE46-782AE9AFCF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4348" y="2109786"/>
                <a:ext cx="2243140" cy="785814"/>
              </a:xfrm>
              <a:custGeom>
                <a:avLst/>
                <a:gdLst>
                  <a:gd name="T0" fmla="*/ 1209 w 1413"/>
                  <a:gd name="T1" fmla="*/ 245 h 495"/>
                  <a:gd name="T2" fmla="*/ 1413 w 1413"/>
                  <a:gd name="T3" fmla="*/ 41 h 495"/>
                  <a:gd name="T4" fmla="*/ 1372 w 1413"/>
                  <a:gd name="T5" fmla="*/ 0 h 495"/>
                  <a:gd name="T6" fmla="*/ 1155 w 1413"/>
                  <a:gd name="T7" fmla="*/ 218 h 495"/>
                  <a:gd name="T8" fmla="*/ 967 w 1413"/>
                  <a:gd name="T9" fmla="*/ 218 h 495"/>
                  <a:gd name="T10" fmla="*/ 1143 w 1413"/>
                  <a:gd name="T11" fmla="*/ 41 h 495"/>
                  <a:gd name="T12" fmla="*/ 1103 w 1413"/>
                  <a:gd name="T13" fmla="*/ 0 h 495"/>
                  <a:gd name="T14" fmla="*/ 885 w 1413"/>
                  <a:gd name="T15" fmla="*/ 218 h 495"/>
                  <a:gd name="T16" fmla="*/ 0 w 1413"/>
                  <a:gd name="T17" fmla="*/ 218 h 495"/>
                  <a:gd name="T18" fmla="*/ 0 w 1413"/>
                  <a:gd name="T19" fmla="*/ 276 h 495"/>
                  <a:gd name="T20" fmla="*/ 883 w 1413"/>
                  <a:gd name="T21" fmla="*/ 276 h 495"/>
                  <a:gd name="T22" fmla="*/ 1103 w 1413"/>
                  <a:gd name="T23" fmla="*/ 495 h 495"/>
                  <a:gd name="T24" fmla="*/ 1143 w 1413"/>
                  <a:gd name="T25" fmla="*/ 454 h 495"/>
                  <a:gd name="T26" fmla="*/ 965 w 1413"/>
                  <a:gd name="T27" fmla="*/ 276 h 495"/>
                  <a:gd name="T28" fmla="*/ 1153 w 1413"/>
                  <a:gd name="T29" fmla="*/ 276 h 495"/>
                  <a:gd name="T30" fmla="*/ 1372 w 1413"/>
                  <a:gd name="T31" fmla="*/ 495 h 495"/>
                  <a:gd name="T32" fmla="*/ 1413 w 1413"/>
                  <a:gd name="T33" fmla="*/ 454 h 495"/>
                  <a:gd name="T34" fmla="*/ 1209 w 1413"/>
                  <a:gd name="T35" fmla="*/ 250 h 495"/>
                  <a:gd name="T36" fmla="*/ 1209 w 1413"/>
                  <a:gd name="T37" fmla="*/ 245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13" h="495">
                    <a:moveTo>
                      <a:pt x="1209" y="245"/>
                    </a:moveTo>
                    <a:lnTo>
                      <a:pt x="1413" y="41"/>
                    </a:lnTo>
                    <a:lnTo>
                      <a:pt x="1372" y="0"/>
                    </a:lnTo>
                    <a:lnTo>
                      <a:pt x="1155" y="218"/>
                    </a:lnTo>
                    <a:lnTo>
                      <a:pt x="967" y="218"/>
                    </a:lnTo>
                    <a:lnTo>
                      <a:pt x="1143" y="41"/>
                    </a:lnTo>
                    <a:lnTo>
                      <a:pt x="1103" y="0"/>
                    </a:lnTo>
                    <a:lnTo>
                      <a:pt x="885" y="218"/>
                    </a:lnTo>
                    <a:lnTo>
                      <a:pt x="0" y="218"/>
                    </a:lnTo>
                    <a:lnTo>
                      <a:pt x="0" y="276"/>
                    </a:lnTo>
                    <a:lnTo>
                      <a:pt x="883" y="276"/>
                    </a:lnTo>
                    <a:lnTo>
                      <a:pt x="1103" y="495"/>
                    </a:lnTo>
                    <a:lnTo>
                      <a:pt x="1143" y="454"/>
                    </a:lnTo>
                    <a:lnTo>
                      <a:pt x="965" y="276"/>
                    </a:lnTo>
                    <a:lnTo>
                      <a:pt x="1153" y="276"/>
                    </a:lnTo>
                    <a:lnTo>
                      <a:pt x="1372" y="495"/>
                    </a:lnTo>
                    <a:lnTo>
                      <a:pt x="1413" y="454"/>
                    </a:lnTo>
                    <a:lnTo>
                      <a:pt x="1209" y="250"/>
                    </a:lnTo>
                    <a:lnTo>
                      <a:pt x="1209" y="2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33" dirty="0">
                  <a:latin typeface="+mn-lt"/>
                  <a:sym typeface="+mn-lt"/>
                </a:endParaRPr>
              </a:p>
            </p:txBody>
          </p:sp>
          <p:sp>
            <p:nvSpPr>
              <p:cNvPr id="14" name="Freeform 11">
                <a:extLst>
                  <a:ext uri="{FF2B5EF4-FFF2-40B4-BE49-F238E27FC236}">
                    <a16:creationId xmlns:a16="http://schemas.microsoft.com/office/drawing/2014/main" xmlns="" id="{3EE5A8EB-8285-4687-B235-51919BBD7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938" y="3351213"/>
                <a:ext cx="415925" cy="417513"/>
              </a:xfrm>
              <a:custGeom>
                <a:avLst/>
                <a:gdLst>
                  <a:gd name="T0" fmla="*/ 0 w 262"/>
                  <a:gd name="T1" fmla="*/ 41 h 263"/>
                  <a:gd name="T2" fmla="*/ 222 w 262"/>
                  <a:gd name="T3" fmla="*/ 263 h 263"/>
                  <a:gd name="T4" fmla="*/ 262 w 262"/>
                  <a:gd name="T5" fmla="*/ 221 h 263"/>
                  <a:gd name="T6" fmla="*/ 41 w 262"/>
                  <a:gd name="T7" fmla="*/ 0 h 263"/>
                  <a:gd name="T8" fmla="*/ 0 w 262"/>
                  <a:gd name="T9" fmla="*/ 41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263">
                    <a:moveTo>
                      <a:pt x="0" y="41"/>
                    </a:moveTo>
                    <a:lnTo>
                      <a:pt x="222" y="263"/>
                    </a:lnTo>
                    <a:lnTo>
                      <a:pt x="262" y="221"/>
                    </a:lnTo>
                    <a:lnTo>
                      <a:pt x="41" y="0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33" dirty="0">
                  <a:latin typeface="+mn-lt"/>
                  <a:sym typeface="+mn-lt"/>
                </a:endParaRPr>
              </a:p>
            </p:txBody>
          </p:sp>
          <p:sp>
            <p:nvSpPr>
              <p:cNvPr id="15" name="Freeform 12">
                <a:extLst>
                  <a:ext uri="{FF2B5EF4-FFF2-40B4-BE49-F238E27FC236}">
                    <a16:creationId xmlns:a16="http://schemas.microsoft.com/office/drawing/2014/main" xmlns="" id="{30BAA7CA-7178-4D4F-9244-A6A3B2689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0851" y="3352801"/>
                <a:ext cx="417513" cy="419100"/>
              </a:xfrm>
              <a:custGeom>
                <a:avLst/>
                <a:gdLst>
                  <a:gd name="T0" fmla="*/ 0 w 263"/>
                  <a:gd name="T1" fmla="*/ 222 h 264"/>
                  <a:gd name="T2" fmla="*/ 41 w 263"/>
                  <a:gd name="T3" fmla="*/ 264 h 264"/>
                  <a:gd name="T4" fmla="*/ 263 w 263"/>
                  <a:gd name="T5" fmla="*/ 42 h 264"/>
                  <a:gd name="T6" fmla="*/ 222 w 263"/>
                  <a:gd name="T7" fmla="*/ 0 h 264"/>
                  <a:gd name="T8" fmla="*/ 0 w 263"/>
                  <a:gd name="T9" fmla="*/ 222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3" h="264">
                    <a:moveTo>
                      <a:pt x="0" y="222"/>
                    </a:moveTo>
                    <a:lnTo>
                      <a:pt x="41" y="264"/>
                    </a:lnTo>
                    <a:lnTo>
                      <a:pt x="263" y="42"/>
                    </a:lnTo>
                    <a:lnTo>
                      <a:pt x="222" y="0"/>
                    </a:lnTo>
                    <a:lnTo>
                      <a:pt x="0" y="2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33" dirty="0">
                  <a:latin typeface="+mn-lt"/>
                  <a:sym typeface="+mn-lt"/>
                </a:endParaRPr>
              </a:p>
            </p:txBody>
          </p:sp>
        </p:grpSp>
        <p:sp>
          <p:nvSpPr>
            <p:cNvPr id="16" name="ListLeanHorizontalTextTopic1">
              <a:extLst>
                <a:ext uri="{FF2B5EF4-FFF2-40B4-BE49-F238E27FC236}">
                  <a16:creationId xmlns:a16="http://schemas.microsoft.com/office/drawing/2014/main" xmlns="" id="{2EF3795A-A8DC-4FE6-BD08-AE9F745FC9F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528988" y="1600738"/>
              <a:ext cx="1254060" cy="324928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xtLst/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1pPr>
              <a:lvl2pPr marL="742950" indent="-285750"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SzPct val="100000"/>
              </a:pPr>
              <a:r>
                <a:rPr lang="en-GB" altLang="en-US" sz="2267" b="0" dirty="0" err="1">
                  <a:solidFill>
                    <a:schemeClr val="accent5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Objetivos</a:t>
              </a:r>
              <a:endParaRPr lang="en-GB" altLang="en-US" sz="2267" b="0" dirty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sp>
        <p:nvSpPr>
          <p:cNvPr id="17" name="ListLeanHorizontalTextTopic1">
            <a:extLst>
              <a:ext uri="{FF2B5EF4-FFF2-40B4-BE49-F238E27FC236}">
                <a16:creationId xmlns:a16="http://schemas.microsoft.com/office/drawing/2014/main" xmlns="" id="{FAD59D69-6231-41A3-BF97-295587E04A81}"/>
              </a:ext>
            </a:extLst>
          </p:cNvPr>
          <p:cNvSpPr txBox="1">
            <a:spLocks/>
          </p:cNvSpPr>
          <p:nvPr/>
        </p:nvSpPr>
        <p:spPr bwMode="auto">
          <a:xfrm>
            <a:off x="6632236" y="1363440"/>
            <a:ext cx="4704333" cy="2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ma de </a:t>
            </a: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bajar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3DB409AB-A793-48F1-8E71-05B83F049FB1}"/>
              </a:ext>
            </a:extLst>
          </p:cNvPr>
          <p:cNvCxnSpPr>
            <a:cxnSpLocks/>
          </p:cNvCxnSpPr>
          <p:nvPr/>
        </p:nvCxnSpPr>
        <p:spPr>
          <a:xfrm>
            <a:off x="5053012" y="1554201"/>
            <a:ext cx="828675" cy="0"/>
          </a:xfrm>
          <a:prstGeom prst="line">
            <a:avLst/>
          </a:prstGeom>
          <a:ln w="28575" cmpd="sng">
            <a:solidFill>
              <a:schemeClr val="accent3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9A5C6AC4-B372-4BEC-B9C2-761127A8E3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15025" y="1122215"/>
            <a:ext cx="612262" cy="605460"/>
            <a:chOff x="1826" y="1368"/>
            <a:chExt cx="363" cy="356"/>
          </a:xfrm>
          <a:solidFill>
            <a:schemeClr val="accent5"/>
          </a:solidFill>
        </p:grpSpPr>
        <p:sp>
          <p:nvSpPr>
            <p:cNvPr id="20" name="Freeform 37">
              <a:extLst>
                <a:ext uri="{FF2B5EF4-FFF2-40B4-BE49-F238E27FC236}">
                  <a16:creationId xmlns:a16="http://schemas.microsoft.com/office/drawing/2014/main" xmlns="" id="{A9E980B4-7794-46D1-9833-424D2F989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4" y="1434"/>
              <a:ext cx="81" cy="81"/>
            </a:xfrm>
            <a:custGeom>
              <a:avLst/>
              <a:gdLst>
                <a:gd name="T0" fmla="*/ 359 w 810"/>
                <a:gd name="T1" fmla="*/ 68 h 814"/>
                <a:gd name="T2" fmla="*/ 273 w 810"/>
                <a:gd name="T3" fmla="*/ 91 h 814"/>
                <a:gd name="T4" fmla="*/ 196 w 810"/>
                <a:gd name="T5" fmla="*/ 136 h 814"/>
                <a:gd name="T6" fmla="*/ 136 w 810"/>
                <a:gd name="T7" fmla="*/ 198 h 814"/>
                <a:gd name="T8" fmla="*/ 91 w 810"/>
                <a:gd name="T9" fmla="*/ 273 h 814"/>
                <a:gd name="T10" fmla="*/ 67 w 810"/>
                <a:gd name="T11" fmla="*/ 361 h 814"/>
                <a:gd name="T12" fmla="*/ 67 w 810"/>
                <a:gd name="T13" fmla="*/ 453 h 814"/>
                <a:gd name="T14" fmla="*/ 91 w 810"/>
                <a:gd name="T15" fmla="*/ 540 h 814"/>
                <a:gd name="T16" fmla="*/ 136 w 810"/>
                <a:gd name="T17" fmla="*/ 615 h 814"/>
                <a:gd name="T18" fmla="*/ 196 w 810"/>
                <a:gd name="T19" fmla="*/ 677 h 814"/>
                <a:gd name="T20" fmla="*/ 273 w 810"/>
                <a:gd name="T21" fmla="*/ 722 h 814"/>
                <a:gd name="T22" fmla="*/ 359 w 810"/>
                <a:gd name="T23" fmla="*/ 746 h 814"/>
                <a:gd name="T24" fmla="*/ 451 w 810"/>
                <a:gd name="T25" fmla="*/ 746 h 814"/>
                <a:gd name="T26" fmla="*/ 537 w 810"/>
                <a:gd name="T27" fmla="*/ 722 h 814"/>
                <a:gd name="T28" fmla="*/ 613 w 810"/>
                <a:gd name="T29" fmla="*/ 677 h 814"/>
                <a:gd name="T30" fmla="*/ 675 w 810"/>
                <a:gd name="T31" fmla="*/ 615 h 814"/>
                <a:gd name="T32" fmla="*/ 719 w 810"/>
                <a:gd name="T33" fmla="*/ 540 h 814"/>
                <a:gd name="T34" fmla="*/ 743 w 810"/>
                <a:gd name="T35" fmla="*/ 453 h 814"/>
                <a:gd name="T36" fmla="*/ 743 w 810"/>
                <a:gd name="T37" fmla="*/ 361 h 814"/>
                <a:gd name="T38" fmla="*/ 719 w 810"/>
                <a:gd name="T39" fmla="*/ 273 h 814"/>
                <a:gd name="T40" fmla="*/ 675 w 810"/>
                <a:gd name="T41" fmla="*/ 198 h 814"/>
                <a:gd name="T42" fmla="*/ 613 w 810"/>
                <a:gd name="T43" fmla="*/ 136 h 814"/>
                <a:gd name="T44" fmla="*/ 537 w 810"/>
                <a:gd name="T45" fmla="*/ 91 h 814"/>
                <a:gd name="T46" fmla="*/ 451 w 810"/>
                <a:gd name="T47" fmla="*/ 68 h 814"/>
                <a:gd name="T48" fmla="*/ 405 w 810"/>
                <a:gd name="T49" fmla="*/ 0 h 814"/>
                <a:gd name="T50" fmla="*/ 504 w 810"/>
                <a:gd name="T51" fmla="*/ 12 h 814"/>
                <a:gd name="T52" fmla="*/ 596 w 810"/>
                <a:gd name="T53" fmla="*/ 47 h 814"/>
                <a:gd name="T54" fmla="*/ 674 w 810"/>
                <a:gd name="T55" fmla="*/ 103 h 814"/>
                <a:gd name="T56" fmla="*/ 737 w 810"/>
                <a:gd name="T57" fmla="*/ 174 h 814"/>
                <a:gd name="T58" fmla="*/ 783 w 810"/>
                <a:gd name="T59" fmla="*/ 260 h 814"/>
                <a:gd name="T60" fmla="*/ 807 w 810"/>
                <a:gd name="T61" fmla="*/ 355 h 814"/>
                <a:gd name="T62" fmla="*/ 807 w 810"/>
                <a:gd name="T63" fmla="*/ 458 h 814"/>
                <a:gd name="T64" fmla="*/ 783 w 810"/>
                <a:gd name="T65" fmla="*/ 554 h 814"/>
                <a:gd name="T66" fmla="*/ 737 w 810"/>
                <a:gd name="T67" fmla="*/ 639 h 814"/>
                <a:gd name="T68" fmla="*/ 674 w 810"/>
                <a:gd name="T69" fmla="*/ 710 h 814"/>
                <a:gd name="T70" fmla="*/ 596 w 810"/>
                <a:gd name="T71" fmla="*/ 766 h 814"/>
                <a:gd name="T72" fmla="*/ 504 w 810"/>
                <a:gd name="T73" fmla="*/ 801 h 814"/>
                <a:gd name="T74" fmla="*/ 405 w 810"/>
                <a:gd name="T75" fmla="*/ 814 h 814"/>
                <a:gd name="T76" fmla="*/ 305 w 810"/>
                <a:gd name="T77" fmla="*/ 801 h 814"/>
                <a:gd name="T78" fmla="*/ 215 w 810"/>
                <a:gd name="T79" fmla="*/ 766 h 814"/>
                <a:gd name="T80" fmla="*/ 136 w 810"/>
                <a:gd name="T81" fmla="*/ 710 h 814"/>
                <a:gd name="T82" fmla="*/ 72 w 810"/>
                <a:gd name="T83" fmla="*/ 639 h 814"/>
                <a:gd name="T84" fmla="*/ 27 w 810"/>
                <a:gd name="T85" fmla="*/ 554 h 814"/>
                <a:gd name="T86" fmla="*/ 3 w 810"/>
                <a:gd name="T87" fmla="*/ 458 h 814"/>
                <a:gd name="T88" fmla="*/ 3 w 810"/>
                <a:gd name="T89" fmla="*/ 355 h 814"/>
                <a:gd name="T90" fmla="*/ 27 w 810"/>
                <a:gd name="T91" fmla="*/ 260 h 814"/>
                <a:gd name="T92" fmla="*/ 72 w 810"/>
                <a:gd name="T93" fmla="*/ 174 h 814"/>
                <a:gd name="T94" fmla="*/ 136 w 810"/>
                <a:gd name="T95" fmla="*/ 103 h 814"/>
                <a:gd name="T96" fmla="*/ 215 w 810"/>
                <a:gd name="T97" fmla="*/ 47 h 814"/>
                <a:gd name="T98" fmla="*/ 305 w 810"/>
                <a:gd name="T99" fmla="*/ 12 h 814"/>
                <a:gd name="T100" fmla="*/ 405 w 810"/>
                <a:gd name="T10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10" h="814">
                  <a:moveTo>
                    <a:pt x="405" y="65"/>
                  </a:moveTo>
                  <a:lnTo>
                    <a:pt x="359" y="68"/>
                  </a:lnTo>
                  <a:lnTo>
                    <a:pt x="314" y="77"/>
                  </a:lnTo>
                  <a:lnTo>
                    <a:pt x="273" y="91"/>
                  </a:lnTo>
                  <a:lnTo>
                    <a:pt x="233" y="112"/>
                  </a:lnTo>
                  <a:lnTo>
                    <a:pt x="196" y="136"/>
                  </a:lnTo>
                  <a:lnTo>
                    <a:pt x="164" y="165"/>
                  </a:lnTo>
                  <a:lnTo>
                    <a:pt x="136" y="198"/>
                  </a:lnTo>
                  <a:lnTo>
                    <a:pt x="111" y="234"/>
                  </a:lnTo>
                  <a:lnTo>
                    <a:pt x="91" y="273"/>
                  </a:lnTo>
                  <a:lnTo>
                    <a:pt x="76" y="316"/>
                  </a:lnTo>
                  <a:lnTo>
                    <a:pt x="67" y="361"/>
                  </a:lnTo>
                  <a:lnTo>
                    <a:pt x="64" y="407"/>
                  </a:lnTo>
                  <a:lnTo>
                    <a:pt x="67" y="453"/>
                  </a:lnTo>
                  <a:lnTo>
                    <a:pt x="76" y="497"/>
                  </a:lnTo>
                  <a:lnTo>
                    <a:pt x="91" y="540"/>
                  </a:lnTo>
                  <a:lnTo>
                    <a:pt x="111" y="579"/>
                  </a:lnTo>
                  <a:lnTo>
                    <a:pt x="136" y="615"/>
                  </a:lnTo>
                  <a:lnTo>
                    <a:pt x="164" y="649"/>
                  </a:lnTo>
                  <a:lnTo>
                    <a:pt x="196" y="677"/>
                  </a:lnTo>
                  <a:lnTo>
                    <a:pt x="233" y="702"/>
                  </a:lnTo>
                  <a:lnTo>
                    <a:pt x="273" y="722"/>
                  </a:lnTo>
                  <a:lnTo>
                    <a:pt x="314" y="736"/>
                  </a:lnTo>
                  <a:lnTo>
                    <a:pt x="359" y="746"/>
                  </a:lnTo>
                  <a:lnTo>
                    <a:pt x="405" y="748"/>
                  </a:lnTo>
                  <a:lnTo>
                    <a:pt x="451" y="746"/>
                  </a:lnTo>
                  <a:lnTo>
                    <a:pt x="496" y="736"/>
                  </a:lnTo>
                  <a:lnTo>
                    <a:pt x="537" y="722"/>
                  </a:lnTo>
                  <a:lnTo>
                    <a:pt x="577" y="702"/>
                  </a:lnTo>
                  <a:lnTo>
                    <a:pt x="613" y="677"/>
                  </a:lnTo>
                  <a:lnTo>
                    <a:pt x="646" y="649"/>
                  </a:lnTo>
                  <a:lnTo>
                    <a:pt x="675" y="615"/>
                  </a:lnTo>
                  <a:lnTo>
                    <a:pt x="699" y="579"/>
                  </a:lnTo>
                  <a:lnTo>
                    <a:pt x="719" y="540"/>
                  </a:lnTo>
                  <a:lnTo>
                    <a:pt x="734" y="497"/>
                  </a:lnTo>
                  <a:lnTo>
                    <a:pt x="743" y="453"/>
                  </a:lnTo>
                  <a:lnTo>
                    <a:pt x="746" y="407"/>
                  </a:lnTo>
                  <a:lnTo>
                    <a:pt x="743" y="361"/>
                  </a:lnTo>
                  <a:lnTo>
                    <a:pt x="734" y="316"/>
                  </a:lnTo>
                  <a:lnTo>
                    <a:pt x="719" y="273"/>
                  </a:lnTo>
                  <a:lnTo>
                    <a:pt x="699" y="234"/>
                  </a:lnTo>
                  <a:lnTo>
                    <a:pt x="675" y="198"/>
                  </a:lnTo>
                  <a:lnTo>
                    <a:pt x="646" y="165"/>
                  </a:lnTo>
                  <a:lnTo>
                    <a:pt x="613" y="136"/>
                  </a:lnTo>
                  <a:lnTo>
                    <a:pt x="577" y="112"/>
                  </a:lnTo>
                  <a:lnTo>
                    <a:pt x="537" y="91"/>
                  </a:lnTo>
                  <a:lnTo>
                    <a:pt x="496" y="77"/>
                  </a:lnTo>
                  <a:lnTo>
                    <a:pt x="451" y="68"/>
                  </a:lnTo>
                  <a:lnTo>
                    <a:pt x="405" y="65"/>
                  </a:lnTo>
                  <a:close/>
                  <a:moveTo>
                    <a:pt x="405" y="0"/>
                  </a:moveTo>
                  <a:lnTo>
                    <a:pt x="455" y="4"/>
                  </a:lnTo>
                  <a:lnTo>
                    <a:pt x="504" y="12"/>
                  </a:lnTo>
                  <a:lnTo>
                    <a:pt x="551" y="28"/>
                  </a:lnTo>
                  <a:lnTo>
                    <a:pt x="596" y="47"/>
                  </a:lnTo>
                  <a:lnTo>
                    <a:pt x="636" y="72"/>
                  </a:lnTo>
                  <a:lnTo>
                    <a:pt x="674" y="103"/>
                  </a:lnTo>
                  <a:lnTo>
                    <a:pt x="708" y="137"/>
                  </a:lnTo>
                  <a:lnTo>
                    <a:pt x="737" y="174"/>
                  </a:lnTo>
                  <a:lnTo>
                    <a:pt x="762" y="215"/>
                  </a:lnTo>
                  <a:lnTo>
                    <a:pt x="783" y="260"/>
                  </a:lnTo>
                  <a:lnTo>
                    <a:pt x="798" y="307"/>
                  </a:lnTo>
                  <a:lnTo>
                    <a:pt x="807" y="355"/>
                  </a:lnTo>
                  <a:lnTo>
                    <a:pt x="810" y="407"/>
                  </a:lnTo>
                  <a:lnTo>
                    <a:pt x="807" y="458"/>
                  </a:lnTo>
                  <a:lnTo>
                    <a:pt x="798" y="507"/>
                  </a:lnTo>
                  <a:lnTo>
                    <a:pt x="783" y="554"/>
                  </a:lnTo>
                  <a:lnTo>
                    <a:pt x="762" y="598"/>
                  </a:lnTo>
                  <a:lnTo>
                    <a:pt x="737" y="639"/>
                  </a:lnTo>
                  <a:lnTo>
                    <a:pt x="708" y="676"/>
                  </a:lnTo>
                  <a:lnTo>
                    <a:pt x="674" y="710"/>
                  </a:lnTo>
                  <a:lnTo>
                    <a:pt x="636" y="741"/>
                  </a:lnTo>
                  <a:lnTo>
                    <a:pt x="596" y="766"/>
                  </a:lnTo>
                  <a:lnTo>
                    <a:pt x="551" y="785"/>
                  </a:lnTo>
                  <a:lnTo>
                    <a:pt x="504" y="801"/>
                  </a:lnTo>
                  <a:lnTo>
                    <a:pt x="455" y="810"/>
                  </a:lnTo>
                  <a:lnTo>
                    <a:pt x="405" y="814"/>
                  </a:lnTo>
                  <a:lnTo>
                    <a:pt x="354" y="810"/>
                  </a:lnTo>
                  <a:lnTo>
                    <a:pt x="305" y="801"/>
                  </a:lnTo>
                  <a:lnTo>
                    <a:pt x="258" y="785"/>
                  </a:lnTo>
                  <a:lnTo>
                    <a:pt x="215" y="766"/>
                  </a:lnTo>
                  <a:lnTo>
                    <a:pt x="174" y="741"/>
                  </a:lnTo>
                  <a:lnTo>
                    <a:pt x="136" y="710"/>
                  </a:lnTo>
                  <a:lnTo>
                    <a:pt x="102" y="676"/>
                  </a:lnTo>
                  <a:lnTo>
                    <a:pt x="72" y="639"/>
                  </a:lnTo>
                  <a:lnTo>
                    <a:pt x="47" y="598"/>
                  </a:lnTo>
                  <a:lnTo>
                    <a:pt x="27" y="554"/>
                  </a:lnTo>
                  <a:lnTo>
                    <a:pt x="13" y="507"/>
                  </a:lnTo>
                  <a:lnTo>
                    <a:pt x="3" y="458"/>
                  </a:lnTo>
                  <a:lnTo>
                    <a:pt x="0" y="407"/>
                  </a:lnTo>
                  <a:lnTo>
                    <a:pt x="3" y="355"/>
                  </a:lnTo>
                  <a:lnTo>
                    <a:pt x="13" y="307"/>
                  </a:lnTo>
                  <a:lnTo>
                    <a:pt x="27" y="260"/>
                  </a:lnTo>
                  <a:lnTo>
                    <a:pt x="47" y="215"/>
                  </a:lnTo>
                  <a:lnTo>
                    <a:pt x="72" y="174"/>
                  </a:lnTo>
                  <a:lnTo>
                    <a:pt x="102" y="137"/>
                  </a:lnTo>
                  <a:lnTo>
                    <a:pt x="136" y="103"/>
                  </a:lnTo>
                  <a:lnTo>
                    <a:pt x="174" y="72"/>
                  </a:lnTo>
                  <a:lnTo>
                    <a:pt x="215" y="47"/>
                  </a:lnTo>
                  <a:lnTo>
                    <a:pt x="258" y="28"/>
                  </a:lnTo>
                  <a:lnTo>
                    <a:pt x="305" y="12"/>
                  </a:lnTo>
                  <a:lnTo>
                    <a:pt x="354" y="4"/>
                  </a:lnTo>
                  <a:lnTo>
                    <a:pt x="4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" name="Freeform 38">
              <a:extLst>
                <a:ext uri="{FF2B5EF4-FFF2-40B4-BE49-F238E27FC236}">
                  <a16:creationId xmlns:a16="http://schemas.microsoft.com/office/drawing/2014/main" xmlns="" id="{3C668CA4-DB73-45CE-AF9D-768DBBF6E1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6" y="1368"/>
              <a:ext cx="215" cy="216"/>
            </a:xfrm>
            <a:custGeom>
              <a:avLst/>
              <a:gdLst>
                <a:gd name="T0" fmla="*/ 909 w 2152"/>
                <a:gd name="T1" fmla="*/ 102 h 2159"/>
                <a:gd name="T2" fmla="*/ 762 w 2152"/>
                <a:gd name="T3" fmla="*/ 314 h 2159"/>
                <a:gd name="T4" fmla="*/ 509 w 2152"/>
                <a:gd name="T5" fmla="*/ 271 h 2159"/>
                <a:gd name="T6" fmla="*/ 437 w 2152"/>
                <a:gd name="T7" fmla="*/ 284 h 2159"/>
                <a:gd name="T8" fmla="*/ 263 w 2152"/>
                <a:gd name="T9" fmla="*/ 513 h 2159"/>
                <a:gd name="T10" fmla="*/ 307 w 2152"/>
                <a:gd name="T11" fmla="*/ 801 h 2159"/>
                <a:gd name="T12" fmla="*/ 87 w 2152"/>
                <a:gd name="T13" fmla="*/ 922 h 2159"/>
                <a:gd name="T14" fmla="*/ 67 w 2152"/>
                <a:gd name="T15" fmla="*/ 1215 h 2159"/>
                <a:gd name="T16" fmla="*/ 288 w 2152"/>
                <a:gd name="T17" fmla="*/ 1279 h 2159"/>
                <a:gd name="T18" fmla="*/ 379 w 2152"/>
                <a:gd name="T19" fmla="*/ 1494 h 2159"/>
                <a:gd name="T20" fmla="*/ 267 w 2152"/>
                <a:gd name="T21" fmla="*/ 1698 h 2159"/>
                <a:gd name="T22" fmla="*/ 482 w 2152"/>
                <a:gd name="T23" fmla="*/ 1893 h 2159"/>
                <a:gd name="T24" fmla="*/ 673 w 2152"/>
                <a:gd name="T25" fmla="*/ 1783 h 2159"/>
                <a:gd name="T26" fmla="*/ 896 w 2152"/>
                <a:gd name="T27" fmla="*/ 2038 h 2159"/>
                <a:gd name="T28" fmla="*/ 958 w 2152"/>
                <a:gd name="T29" fmla="*/ 2095 h 2159"/>
                <a:gd name="T30" fmla="*/ 1242 w 2152"/>
                <a:gd name="T31" fmla="*/ 2056 h 2159"/>
                <a:gd name="T32" fmla="*/ 1420 w 2152"/>
                <a:gd name="T33" fmla="*/ 1818 h 2159"/>
                <a:gd name="T34" fmla="*/ 1657 w 2152"/>
                <a:gd name="T35" fmla="*/ 1890 h 2159"/>
                <a:gd name="T36" fmla="*/ 1874 w 2152"/>
                <a:gd name="T37" fmla="*/ 1714 h 2159"/>
                <a:gd name="T38" fmla="*/ 1880 w 2152"/>
                <a:gd name="T39" fmla="*/ 1630 h 2159"/>
                <a:gd name="T40" fmla="*/ 1870 w 2152"/>
                <a:gd name="T41" fmla="*/ 1289 h 2159"/>
                <a:gd name="T42" fmla="*/ 2078 w 2152"/>
                <a:gd name="T43" fmla="*/ 1222 h 2159"/>
                <a:gd name="T44" fmla="*/ 2078 w 2152"/>
                <a:gd name="T45" fmla="*/ 925 h 2159"/>
                <a:gd name="T46" fmla="*/ 1872 w 2152"/>
                <a:gd name="T47" fmla="*/ 858 h 2159"/>
                <a:gd name="T48" fmla="*/ 1879 w 2152"/>
                <a:gd name="T49" fmla="*/ 528 h 2159"/>
                <a:gd name="T50" fmla="*/ 1874 w 2152"/>
                <a:gd name="T51" fmla="*/ 444 h 2159"/>
                <a:gd name="T52" fmla="*/ 1657 w 2152"/>
                <a:gd name="T53" fmla="*/ 267 h 2159"/>
                <a:gd name="T54" fmla="*/ 1447 w 2152"/>
                <a:gd name="T55" fmla="*/ 336 h 2159"/>
                <a:gd name="T56" fmla="*/ 1257 w 2152"/>
                <a:gd name="T57" fmla="*/ 120 h 2159"/>
                <a:gd name="T58" fmla="*/ 1193 w 2152"/>
                <a:gd name="T59" fmla="*/ 64 h 2159"/>
                <a:gd name="T60" fmla="*/ 1246 w 2152"/>
                <a:gd name="T61" fmla="*/ 10 h 2159"/>
                <a:gd name="T62" fmla="*/ 1321 w 2152"/>
                <a:gd name="T63" fmla="*/ 113 h 2159"/>
                <a:gd name="T64" fmla="*/ 1592 w 2152"/>
                <a:gd name="T65" fmla="*/ 229 h 2159"/>
                <a:gd name="T66" fmla="*/ 1696 w 2152"/>
                <a:gd name="T67" fmla="*/ 204 h 2159"/>
                <a:gd name="T68" fmla="*/ 1936 w 2152"/>
                <a:gd name="T69" fmla="*/ 420 h 2159"/>
                <a:gd name="T70" fmla="*/ 1944 w 2152"/>
                <a:gd name="T71" fmla="*/ 545 h 2159"/>
                <a:gd name="T72" fmla="*/ 1928 w 2152"/>
                <a:gd name="T73" fmla="*/ 821 h 2159"/>
                <a:gd name="T74" fmla="*/ 2128 w 2152"/>
                <a:gd name="T75" fmla="*/ 886 h 2159"/>
                <a:gd name="T76" fmla="*/ 2150 w 2152"/>
                <a:gd name="T77" fmla="*/ 1215 h 2159"/>
                <a:gd name="T78" fmla="*/ 2066 w 2152"/>
                <a:gd name="T79" fmla="*/ 1309 h 2159"/>
                <a:gd name="T80" fmla="*/ 1856 w 2152"/>
                <a:gd name="T81" fmla="*/ 1495 h 2159"/>
                <a:gd name="T82" fmla="*/ 1956 w 2152"/>
                <a:gd name="T83" fmla="*/ 1690 h 2159"/>
                <a:gd name="T84" fmla="*/ 1742 w 2152"/>
                <a:gd name="T85" fmla="*/ 1935 h 2159"/>
                <a:gd name="T86" fmla="*/ 1629 w 2152"/>
                <a:gd name="T87" fmla="*/ 1949 h 2159"/>
                <a:gd name="T88" fmla="*/ 1384 w 2152"/>
                <a:gd name="T89" fmla="*/ 1904 h 2159"/>
                <a:gd name="T90" fmla="*/ 1278 w 2152"/>
                <a:gd name="T91" fmla="*/ 2118 h 2159"/>
                <a:gd name="T92" fmla="*/ 958 w 2152"/>
                <a:gd name="T93" fmla="*/ 2159 h 2159"/>
                <a:gd name="T94" fmla="*/ 850 w 2152"/>
                <a:gd name="T95" fmla="*/ 2096 h 2159"/>
                <a:gd name="T96" fmla="*/ 711 w 2152"/>
                <a:gd name="T97" fmla="*/ 1875 h 2159"/>
                <a:gd name="T98" fmla="*/ 503 w 2152"/>
                <a:gd name="T99" fmla="*/ 1955 h 2159"/>
                <a:gd name="T100" fmla="*/ 411 w 2152"/>
                <a:gd name="T101" fmla="*/ 1935 h 2159"/>
                <a:gd name="T102" fmla="*/ 197 w 2152"/>
                <a:gd name="T103" fmla="*/ 1688 h 2159"/>
                <a:gd name="T104" fmla="*/ 301 w 2152"/>
                <a:gd name="T105" fmla="*/ 1489 h 2159"/>
                <a:gd name="T106" fmla="*/ 87 w 2152"/>
                <a:gd name="T107" fmla="*/ 1317 h 2159"/>
                <a:gd name="T108" fmla="*/ 3 w 2152"/>
                <a:gd name="T109" fmla="*/ 1223 h 2159"/>
                <a:gd name="T110" fmla="*/ 24 w 2152"/>
                <a:gd name="T111" fmla="*/ 895 h 2159"/>
                <a:gd name="T112" fmla="*/ 231 w 2152"/>
                <a:gd name="T113" fmla="*/ 829 h 2159"/>
                <a:gd name="T114" fmla="*/ 208 w 2152"/>
                <a:gd name="T115" fmla="*/ 545 h 2159"/>
                <a:gd name="T116" fmla="*/ 215 w 2152"/>
                <a:gd name="T117" fmla="*/ 420 h 2159"/>
                <a:gd name="T118" fmla="*/ 457 w 2152"/>
                <a:gd name="T119" fmla="*/ 204 h 2159"/>
                <a:gd name="T120" fmla="*/ 561 w 2152"/>
                <a:gd name="T121" fmla="*/ 229 h 2159"/>
                <a:gd name="T122" fmla="*/ 841 w 2152"/>
                <a:gd name="T123" fmla="*/ 113 h 2159"/>
                <a:gd name="T124" fmla="*/ 916 w 2152"/>
                <a:gd name="T125" fmla="*/ 1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2" h="2159">
                  <a:moveTo>
                    <a:pt x="968" y="64"/>
                  </a:moveTo>
                  <a:lnTo>
                    <a:pt x="950" y="66"/>
                  </a:lnTo>
                  <a:lnTo>
                    <a:pt x="933" y="75"/>
                  </a:lnTo>
                  <a:lnTo>
                    <a:pt x="919" y="87"/>
                  </a:lnTo>
                  <a:lnTo>
                    <a:pt x="909" y="102"/>
                  </a:lnTo>
                  <a:lnTo>
                    <a:pt x="905" y="120"/>
                  </a:lnTo>
                  <a:lnTo>
                    <a:pt x="888" y="272"/>
                  </a:lnTo>
                  <a:lnTo>
                    <a:pt x="866" y="278"/>
                  </a:lnTo>
                  <a:lnTo>
                    <a:pt x="813" y="294"/>
                  </a:lnTo>
                  <a:lnTo>
                    <a:pt x="762" y="314"/>
                  </a:lnTo>
                  <a:lnTo>
                    <a:pt x="710" y="338"/>
                  </a:lnTo>
                  <a:lnTo>
                    <a:pt x="661" y="364"/>
                  </a:lnTo>
                  <a:lnTo>
                    <a:pt x="643" y="376"/>
                  </a:lnTo>
                  <a:lnTo>
                    <a:pt x="521" y="279"/>
                  </a:lnTo>
                  <a:lnTo>
                    <a:pt x="509" y="271"/>
                  </a:lnTo>
                  <a:lnTo>
                    <a:pt x="496" y="267"/>
                  </a:lnTo>
                  <a:lnTo>
                    <a:pt x="482" y="266"/>
                  </a:lnTo>
                  <a:lnTo>
                    <a:pt x="466" y="268"/>
                  </a:lnTo>
                  <a:lnTo>
                    <a:pt x="450" y="274"/>
                  </a:lnTo>
                  <a:lnTo>
                    <a:pt x="437" y="284"/>
                  </a:lnTo>
                  <a:lnTo>
                    <a:pt x="277" y="444"/>
                  </a:lnTo>
                  <a:lnTo>
                    <a:pt x="267" y="459"/>
                  </a:lnTo>
                  <a:lnTo>
                    <a:pt x="260" y="477"/>
                  </a:lnTo>
                  <a:lnTo>
                    <a:pt x="259" y="494"/>
                  </a:lnTo>
                  <a:lnTo>
                    <a:pt x="263" y="513"/>
                  </a:lnTo>
                  <a:lnTo>
                    <a:pt x="273" y="529"/>
                  </a:lnTo>
                  <a:lnTo>
                    <a:pt x="373" y="656"/>
                  </a:lnTo>
                  <a:lnTo>
                    <a:pt x="362" y="674"/>
                  </a:lnTo>
                  <a:lnTo>
                    <a:pt x="332" y="736"/>
                  </a:lnTo>
                  <a:lnTo>
                    <a:pt x="307" y="801"/>
                  </a:lnTo>
                  <a:lnTo>
                    <a:pt x="287" y="866"/>
                  </a:lnTo>
                  <a:lnTo>
                    <a:pt x="282" y="888"/>
                  </a:lnTo>
                  <a:lnTo>
                    <a:pt x="121" y="907"/>
                  </a:lnTo>
                  <a:lnTo>
                    <a:pt x="102" y="912"/>
                  </a:lnTo>
                  <a:lnTo>
                    <a:pt x="87" y="922"/>
                  </a:lnTo>
                  <a:lnTo>
                    <a:pt x="75" y="935"/>
                  </a:lnTo>
                  <a:lnTo>
                    <a:pt x="67" y="952"/>
                  </a:lnTo>
                  <a:lnTo>
                    <a:pt x="64" y="970"/>
                  </a:lnTo>
                  <a:lnTo>
                    <a:pt x="64" y="1196"/>
                  </a:lnTo>
                  <a:lnTo>
                    <a:pt x="67" y="1215"/>
                  </a:lnTo>
                  <a:lnTo>
                    <a:pt x="75" y="1232"/>
                  </a:lnTo>
                  <a:lnTo>
                    <a:pt x="87" y="1245"/>
                  </a:lnTo>
                  <a:lnTo>
                    <a:pt x="102" y="1255"/>
                  </a:lnTo>
                  <a:lnTo>
                    <a:pt x="121" y="1259"/>
                  </a:lnTo>
                  <a:lnTo>
                    <a:pt x="288" y="1279"/>
                  </a:lnTo>
                  <a:lnTo>
                    <a:pt x="295" y="1300"/>
                  </a:lnTo>
                  <a:lnTo>
                    <a:pt x="314" y="1361"/>
                  </a:lnTo>
                  <a:lnTo>
                    <a:pt x="339" y="1419"/>
                  </a:lnTo>
                  <a:lnTo>
                    <a:pt x="368" y="1476"/>
                  </a:lnTo>
                  <a:lnTo>
                    <a:pt x="379" y="1494"/>
                  </a:lnTo>
                  <a:lnTo>
                    <a:pt x="273" y="1628"/>
                  </a:lnTo>
                  <a:lnTo>
                    <a:pt x="263" y="1645"/>
                  </a:lnTo>
                  <a:lnTo>
                    <a:pt x="259" y="1663"/>
                  </a:lnTo>
                  <a:lnTo>
                    <a:pt x="260" y="1681"/>
                  </a:lnTo>
                  <a:lnTo>
                    <a:pt x="267" y="1698"/>
                  </a:lnTo>
                  <a:lnTo>
                    <a:pt x="277" y="1714"/>
                  </a:lnTo>
                  <a:lnTo>
                    <a:pt x="437" y="1873"/>
                  </a:lnTo>
                  <a:lnTo>
                    <a:pt x="450" y="1884"/>
                  </a:lnTo>
                  <a:lnTo>
                    <a:pt x="466" y="1890"/>
                  </a:lnTo>
                  <a:lnTo>
                    <a:pt x="482" y="1893"/>
                  </a:lnTo>
                  <a:lnTo>
                    <a:pt x="496" y="1890"/>
                  </a:lnTo>
                  <a:lnTo>
                    <a:pt x="509" y="1886"/>
                  </a:lnTo>
                  <a:lnTo>
                    <a:pt x="521" y="1878"/>
                  </a:lnTo>
                  <a:lnTo>
                    <a:pt x="655" y="1773"/>
                  </a:lnTo>
                  <a:lnTo>
                    <a:pt x="673" y="1783"/>
                  </a:lnTo>
                  <a:lnTo>
                    <a:pt x="732" y="1814"/>
                  </a:lnTo>
                  <a:lnTo>
                    <a:pt x="793" y="1840"/>
                  </a:lnTo>
                  <a:lnTo>
                    <a:pt x="855" y="1861"/>
                  </a:lnTo>
                  <a:lnTo>
                    <a:pt x="876" y="1866"/>
                  </a:lnTo>
                  <a:lnTo>
                    <a:pt x="896" y="2038"/>
                  </a:lnTo>
                  <a:lnTo>
                    <a:pt x="901" y="2056"/>
                  </a:lnTo>
                  <a:lnTo>
                    <a:pt x="911" y="2072"/>
                  </a:lnTo>
                  <a:lnTo>
                    <a:pt x="924" y="2084"/>
                  </a:lnTo>
                  <a:lnTo>
                    <a:pt x="940" y="2091"/>
                  </a:lnTo>
                  <a:lnTo>
                    <a:pt x="958" y="2095"/>
                  </a:lnTo>
                  <a:lnTo>
                    <a:pt x="1185" y="2095"/>
                  </a:lnTo>
                  <a:lnTo>
                    <a:pt x="1203" y="2091"/>
                  </a:lnTo>
                  <a:lnTo>
                    <a:pt x="1220" y="2084"/>
                  </a:lnTo>
                  <a:lnTo>
                    <a:pt x="1233" y="2072"/>
                  </a:lnTo>
                  <a:lnTo>
                    <a:pt x="1242" y="2056"/>
                  </a:lnTo>
                  <a:lnTo>
                    <a:pt x="1248" y="2038"/>
                  </a:lnTo>
                  <a:lnTo>
                    <a:pt x="1266" y="1872"/>
                  </a:lnTo>
                  <a:lnTo>
                    <a:pt x="1288" y="1865"/>
                  </a:lnTo>
                  <a:lnTo>
                    <a:pt x="1354" y="1846"/>
                  </a:lnTo>
                  <a:lnTo>
                    <a:pt x="1420" y="1818"/>
                  </a:lnTo>
                  <a:lnTo>
                    <a:pt x="1483" y="1787"/>
                  </a:lnTo>
                  <a:lnTo>
                    <a:pt x="1502" y="1776"/>
                  </a:lnTo>
                  <a:lnTo>
                    <a:pt x="1631" y="1878"/>
                  </a:lnTo>
                  <a:lnTo>
                    <a:pt x="1643" y="1886"/>
                  </a:lnTo>
                  <a:lnTo>
                    <a:pt x="1657" y="1890"/>
                  </a:lnTo>
                  <a:lnTo>
                    <a:pt x="1670" y="1893"/>
                  </a:lnTo>
                  <a:lnTo>
                    <a:pt x="1687" y="1890"/>
                  </a:lnTo>
                  <a:lnTo>
                    <a:pt x="1703" y="1884"/>
                  </a:lnTo>
                  <a:lnTo>
                    <a:pt x="1716" y="1874"/>
                  </a:lnTo>
                  <a:lnTo>
                    <a:pt x="1874" y="1714"/>
                  </a:lnTo>
                  <a:lnTo>
                    <a:pt x="1886" y="1698"/>
                  </a:lnTo>
                  <a:lnTo>
                    <a:pt x="1892" y="1682"/>
                  </a:lnTo>
                  <a:lnTo>
                    <a:pt x="1893" y="1663"/>
                  </a:lnTo>
                  <a:lnTo>
                    <a:pt x="1889" y="1646"/>
                  </a:lnTo>
                  <a:lnTo>
                    <a:pt x="1880" y="1630"/>
                  </a:lnTo>
                  <a:lnTo>
                    <a:pt x="1779" y="1501"/>
                  </a:lnTo>
                  <a:lnTo>
                    <a:pt x="1790" y="1482"/>
                  </a:lnTo>
                  <a:lnTo>
                    <a:pt x="1822" y="1420"/>
                  </a:lnTo>
                  <a:lnTo>
                    <a:pt x="1849" y="1355"/>
                  </a:lnTo>
                  <a:lnTo>
                    <a:pt x="1870" y="1289"/>
                  </a:lnTo>
                  <a:lnTo>
                    <a:pt x="1876" y="1268"/>
                  </a:lnTo>
                  <a:lnTo>
                    <a:pt x="2032" y="1251"/>
                  </a:lnTo>
                  <a:lnTo>
                    <a:pt x="2050" y="1245"/>
                  </a:lnTo>
                  <a:lnTo>
                    <a:pt x="2066" y="1235"/>
                  </a:lnTo>
                  <a:lnTo>
                    <a:pt x="2078" y="1222"/>
                  </a:lnTo>
                  <a:lnTo>
                    <a:pt x="2085" y="1206"/>
                  </a:lnTo>
                  <a:lnTo>
                    <a:pt x="2088" y="1187"/>
                  </a:lnTo>
                  <a:lnTo>
                    <a:pt x="2088" y="960"/>
                  </a:lnTo>
                  <a:lnTo>
                    <a:pt x="2085" y="942"/>
                  </a:lnTo>
                  <a:lnTo>
                    <a:pt x="2078" y="925"/>
                  </a:lnTo>
                  <a:lnTo>
                    <a:pt x="2066" y="912"/>
                  </a:lnTo>
                  <a:lnTo>
                    <a:pt x="2050" y="902"/>
                  </a:lnTo>
                  <a:lnTo>
                    <a:pt x="2032" y="898"/>
                  </a:lnTo>
                  <a:lnTo>
                    <a:pt x="1878" y="879"/>
                  </a:lnTo>
                  <a:lnTo>
                    <a:pt x="1872" y="858"/>
                  </a:lnTo>
                  <a:lnTo>
                    <a:pt x="1852" y="793"/>
                  </a:lnTo>
                  <a:lnTo>
                    <a:pt x="1827" y="730"/>
                  </a:lnTo>
                  <a:lnTo>
                    <a:pt x="1794" y="668"/>
                  </a:lnTo>
                  <a:lnTo>
                    <a:pt x="1784" y="649"/>
                  </a:lnTo>
                  <a:lnTo>
                    <a:pt x="1879" y="528"/>
                  </a:lnTo>
                  <a:lnTo>
                    <a:pt x="1889" y="512"/>
                  </a:lnTo>
                  <a:lnTo>
                    <a:pt x="1893" y="494"/>
                  </a:lnTo>
                  <a:lnTo>
                    <a:pt x="1892" y="477"/>
                  </a:lnTo>
                  <a:lnTo>
                    <a:pt x="1885" y="459"/>
                  </a:lnTo>
                  <a:lnTo>
                    <a:pt x="1874" y="444"/>
                  </a:lnTo>
                  <a:lnTo>
                    <a:pt x="1716" y="284"/>
                  </a:lnTo>
                  <a:lnTo>
                    <a:pt x="1703" y="274"/>
                  </a:lnTo>
                  <a:lnTo>
                    <a:pt x="1687" y="268"/>
                  </a:lnTo>
                  <a:lnTo>
                    <a:pt x="1671" y="266"/>
                  </a:lnTo>
                  <a:lnTo>
                    <a:pt x="1657" y="267"/>
                  </a:lnTo>
                  <a:lnTo>
                    <a:pt x="1643" y="271"/>
                  </a:lnTo>
                  <a:lnTo>
                    <a:pt x="1631" y="279"/>
                  </a:lnTo>
                  <a:lnTo>
                    <a:pt x="1513" y="373"/>
                  </a:lnTo>
                  <a:lnTo>
                    <a:pt x="1495" y="362"/>
                  </a:lnTo>
                  <a:lnTo>
                    <a:pt x="1447" y="336"/>
                  </a:lnTo>
                  <a:lnTo>
                    <a:pt x="1398" y="313"/>
                  </a:lnTo>
                  <a:lnTo>
                    <a:pt x="1347" y="293"/>
                  </a:lnTo>
                  <a:lnTo>
                    <a:pt x="1296" y="278"/>
                  </a:lnTo>
                  <a:lnTo>
                    <a:pt x="1274" y="272"/>
                  </a:lnTo>
                  <a:lnTo>
                    <a:pt x="1257" y="120"/>
                  </a:lnTo>
                  <a:lnTo>
                    <a:pt x="1251" y="102"/>
                  </a:lnTo>
                  <a:lnTo>
                    <a:pt x="1242" y="87"/>
                  </a:lnTo>
                  <a:lnTo>
                    <a:pt x="1228" y="75"/>
                  </a:lnTo>
                  <a:lnTo>
                    <a:pt x="1212" y="66"/>
                  </a:lnTo>
                  <a:lnTo>
                    <a:pt x="1193" y="64"/>
                  </a:lnTo>
                  <a:lnTo>
                    <a:pt x="968" y="64"/>
                  </a:lnTo>
                  <a:close/>
                  <a:moveTo>
                    <a:pt x="968" y="0"/>
                  </a:moveTo>
                  <a:lnTo>
                    <a:pt x="1193" y="0"/>
                  </a:lnTo>
                  <a:lnTo>
                    <a:pt x="1221" y="2"/>
                  </a:lnTo>
                  <a:lnTo>
                    <a:pt x="1246" y="10"/>
                  </a:lnTo>
                  <a:lnTo>
                    <a:pt x="1268" y="24"/>
                  </a:lnTo>
                  <a:lnTo>
                    <a:pt x="1288" y="41"/>
                  </a:lnTo>
                  <a:lnTo>
                    <a:pt x="1303" y="62"/>
                  </a:lnTo>
                  <a:lnTo>
                    <a:pt x="1314" y="86"/>
                  </a:lnTo>
                  <a:lnTo>
                    <a:pt x="1321" y="113"/>
                  </a:lnTo>
                  <a:lnTo>
                    <a:pt x="1333" y="221"/>
                  </a:lnTo>
                  <a:lnTo>
                    <a:pt x="1394" y="242"/>
                  </a:lnTo>
                  <a:lnTo>
                    <a:pt x="1451" y="266"/>
                  </a:lnTo>
                  <a:lnTo>
                    <a:pt x="1508" y="295"/>
                  </a:lnTo>
                  <a:lnTo>
                    <a:pt x="1592" y="229"/>
                  </a:lnTo>
                  <a:lnTo>
                    <a:pt x="1609" y="217"/>
                  </a:lnTo>
                  <a:lnTo>
                    <a:pt x="1629" y="208"/>
                  </a:lnTo>
                  <a:lnTo>
                    <a:pt x="1649" y="203"/>
                  </a:lnTo>
                  <a:lnTo>
                    <a:pt x="1671" y="200"/>
                  </a:lnTo>
                  <a:lnTo>
                    <a:pt x="1696" y="204"/>
                  </a:lnTo>
                  <a:lnTo>
                    <a:pt x="1720" y="210"/>
                  </a:lnTo>
                  <a:lnTo>
                    <a:pt x="1742" y="222"/>
                  </a:lnTo>
                  <a:lnTo>
                    <a:pt x="1761" y="239"/>
                  </a:lnTo>
                  <a:lnTo>
                    <a:pt x="1920" y="398"/>
                  </a:lnTo>
                  <a:lnTo>
                    <a:pt x="1936" y="420"/>
                  </a:lnTo>
                  <a:lnTo>
                    <a:pt x="1948" y="443"/>
                  </a:lnTo>
                  <a:lnTo>
                    <a:pt x="1956" y="469"/>
                  </a:lnTo>
                  <a:lnTo>
                    <a:pt x="1957" y="495"/>
                  </a:lnTo>
                  <a:lnTo>
                    <a:pt x="1953" y="520"/>
                  </a:lnTo>
                  <a:lnTo>
                    <a:pt x="1944" y="545"/>
                  </a:lnTo>
                  <a:lnTo>
                    <a:pt x="1930" y="568"/>
                  </a:lnTo>
                  <a:lnTo>
                    <a:pt x="1861" y="656"/>
                  </a:lnTo>
                  <a:lnTo>
                    <a:pt x="1887" y="709"/>
                  </a:lnTo>
                  <a:lnTo>
                    <a:pt x="1909" y="764"/>
                  </a:lnTo>
                  <a:lnTo>
                    <a:pt x="1928" y="821"/>
                  </a:lnTo>
                  <a:lnTo>
                    <a:pt x="2040" y="834"/>
                  </a:lnTo>
                  <a:lnTo>
                    <a:pt x="2066" y="839"/>
                  </a:lnTo>
                  <a:lnTo>
                    <a:pt x="2090" y="851"/>
                  </a:lnTo>
                  <a:lnTo>
                    <a:pt x="2110" y="866"/>
                  </a:lnTo>
                  <a:lnTo>
                    <a:pt x="2128" y="886"/>
                  </a:lnTo>
                  <a:lnTo>
                    <a:pt x="2141" y="908"/>
                  </a:lnTo>
                  <a:lnTo>
                    <a:pt x="2150" y="934"/>
                  </a:lnTo>
                  <a:lnTo>
                    <a:pt x="2152" y="960"/>
                  </a:lnTo>
                  <a:lnTo>
                    <a:pt x="2152" y="1187"/>
                  </a:lnTo>
                  <a:lnTo>
                    <a:pt x="2150" y="1215"/>
                  </a:lnTo>
                  <a:lnTo>
                    <a:pt x="2141" y="1240"/>
                  </a:lnTo>
                  <a:lnTo>
                    <a:pt x="2128" y="1262"/>
                  </a:lnTo>
                  <a:lnTo>
                    <a:pt x="2110" y="1281"/>
                  </a:lnTo>
                  <a:lnTo>
                    <a:pt x="2090" y="1298"/>
                  </a:lnTo>
                  <a:lnTo>
                    <a:pt x="2066" y="1309"/>
                  </a:lnTo>
                  <a:lnTo>
                    <a:pt x="2040" y="1314"/>
                  </a:lnTo>
                  <a:lnTo>
                    <a:pt x="1926" y="1327"/>
                  </a:lnTo>
                  <a:lnTo>
                    <a:pt x="1907" y="1385"/>
                  </a:lnTo>
                  <a:lnTo>
                    <a:pt x="1883" y="1441"/>
                  </a:lnTo>
                  <a:lnTo>
                    <a:pt x="1856" y="1495"/>
                  </a:lnTo>
                  <a:lnTo>
                    <a:pt x="1930" y="1589"/>
                  </a:lnTo>
                  <a:lnTo>
                    <a:pt x="1944" y="1612"/>
                  </a:lnTo>
                  <a:lnTo>
                    <a:pt x="1954" y="1637"/>
                  </a:lnTo>
                  <a:lnTo>
                    <a:pt x="1957" y="1663"/>
                  </a:lnTo>
                  <a:lnTo>
                    <a:pt x="1956" y="1690"/>
                  </a:lnTo>
                  <a:lnTo>
                    <a:pt x="1949" y="1715"/>
                  </a:lnTo>
                  <a:lnTo>
                    <a:pt x="1938" y="1739"/>
                  </a:lnTo>
                  <a:lnTo>
                    <a:pt x="1920" y="1759"/>
                  </a:lnTo>
                  <a:lnTo>
                    <a:pt x="1761" y="1920"/>
                  </a:lnTo>
                  <a:lnTo>
                    <a:pt x="1742" y="1935"/>
                  </a:lnTo>
                  <a:lnTo>
                    <a:pt x="1719" y="1947"/>
                  </a:lnTo>
                  <a:lnTo>
                    <a:pt x="1696" y="1955"/>
                  </a:lnTo>
                  <a:lnTo>
                    <a:pt x="1670" y="1957"/>
                  </a:lnTo>
                  <a:lnTo>
                    <a:pt x="1649" y="1955"/>
                  </a:lnTo>
                  <a:lnTo>
                    <a:pt x="1629" y="1949"/>
                  </a:lnTo>
                  <a:lnTo>
                    <a:pt x="1609" y="1941"/>
                  </a:lnTo>
                  <a:lnTo>
                    <a:pt x="1592" y="1929"/>
                  </a:lnTo>
                  <a:lnTo>
                    <a:pt x="1496" y="1853"/>
                  </a:lnTo>
                  <a:lnTo>
                    <a:pt x="1440" y="1881"/>
                  </a:lnTo>
                  <a:lnTo>
                    <a:pt x="1384" y="1904"/>
                  </a:lnTo>
                  <a:lnTo>
                    <a:pt x="1325" y="1922"/>
                  </a:lnTo>
                  <a:lnTo>
                    <a:pt x="1311" y="2045"/>
                  </a:lnTo>
                  <a:lnTo>
                    <a:pt x="1305" y="2072"/>
                  </a:lnTo>
                  <a:lnTo>
                    <a:pt x="1295" y="2096"/>
                  </a:lnTo>
                  <a:lnTo>
                    <a:pt x="1278" y="2118"/>
                  </a:lnTo>
                  <a:lnTo>
                    <a:pt x="1259" y="2135"/>
                  </a:lnTo>
                  <a:lnTo>
                    <a:pt x="1237" y="2148"/>
                  </a:lnTo>
                  <a:lnTo>
                    <a:pt x="1212" y="2156"/>
                  </a:lnTo>
                  <a:lnTo>
                    <a:pt x="1185" y="2159"/>
                  </a:lnTo>
                  <a:lnTo>
                    <a:pt x="958" y="2159"/>
                  </a:lnTo>
                  <a:lnTo>
                    <a:pt x="932" y="2156"/>
                  </a:lnTo>
                  <a:lnTo>
                    <a:pt x="906" y="2148"/>
                  </a:lnTo>
                  <a:lnTo>
                    <a:pt x="884" y="2135"/>
                  </a:lnTo>
                  <a:lnTo>
                    <a:pt x="865" y="2118"/>
                  </a:lnTo>
                  <a:lnTo>
                    <a:pt x="850" y="2096"/>
                  </a:lnTo>
                  <a:lnTo>
                    <a:pt x="838" y="2072"/>
                  </a:lnTo>
                  <a:lnTo>
                    <a:pt x="832" y="2045"/>
                  </a:lnTo>
                  <a:lnTo>
                    <a:pt x="817" y="1917"/>
                  </a:lnTo>
                  <a:lnTo>
                    <a:pt x="764" y="1898"/>
                  </a:lnTo>
                  <a:lnTo>
                    <a:pt x="711" y="1875"/>
                  </a:lnTo>
                  <a:lnTo>
                    <a:pt x="660" y="1850"/>
                  </a:lnTo>
                  <a:lnTo>
                    <a:pt x="561" y="1929"/>
                  </a:lnTo>
                  <a:lnTo>
                    <a:pt x="543" y="1941"/>
                  </a:lnTo>
                  <a:lnTo>
                    <a:pt x="523" y="1949"/>
                  </a:lnTo>
                  <a:lnTo>
                    <a:pt x="503" y="1955"/>
                  </a:lnTo>
                  <a:lnTo>
                    <a:pt x="482" y="1957"/>
                  </a:lnTo>
                  <a:lnTo>
                    <a:pt x="482" y="1957"/>
                  </a:lnTo>
                  <a:lnTo>
                    <a:pt x="457" y="1954"/>
                  </a:lnTo>
                  <a:lnTo>
                    <a:pt x="433" y="1947"/>
                  </a:lnTo>
                  <a:lnTo>
                    <a:pt x="411" y="1935"/>
                  </a:lnTo>
                  <a:lnTo>
                    <a:pt x="392" y="1919"/>
                  </a:lnTo>
                  <a:lnTo>
                    <a:pt x="232" y="1759"/>
                  </a:lnTo>
                  <a:lnTo>
                    <a:pt x="215" y="1738"/>
                  </a:lnTo>
                  <a:lnTo>
                    <a:pt x="203" y="1714"/>
                  </a:lnTo>
                  <a:lnTo>
                    <a:pt x="197" y="1688"/>
                  </a:lnTo>
                  <a:lnTo>
                    <a:pt x="195" y="1662"/>
                  </a:lnTo>
                  <a:lnTo>
                    <a:pt x="199" y="1637"/>
                  </a:lnTo>
                  <a:lnTo>
                    <a:pt x="208" y="1612"/>
                  </a:lnTo>
                  <a:lnTo>
                    <a:pt x="222" y="1589"/>
                  </a:lnTo>
                  <a:lnTo>
                    <a:pt x="301" y="1489"/>
                  </a:lnTo>
                  <a:lnTo>
                    <a:pt x="277" y="1440"/>
                  </a:lnTo>
                  <a:lnTo>
                    <a:pt x="257" y="1389"/>
                  </a:lnTo>
                  <a:lnTo>
                    <a:pt x="239" y="1338"/>
                  </a:lnTo>
                  <a:lnTo>
                    <a:pt x="113" y="1324"/>
                  </a:lnTo>
                  <a:lnTo>
                    <a:pt x="87" y="1317"/>
                  </a:lnTo>
                  <a:lnTo>
                    <a:pt x="62" y="1306"/>
                  </a:lnTo>
                  <a:lnTo>
                    <a:pt x="41" y="1291"/>
                  </a:lnTo>
                  <a:lnTo>
                    <a:pt x="24" y="1271"/>
                  </a:lnTo>
                  <a:lnTo>
                    <a:pt x="11" y="1249"/>
                  </a:lnTo>
                  <a:lnTo>
                    <a:pt x="3" y="1223"/>
                  </a:lnTo>
                  <a:lnTo>
                    <a:pt x="0" y="1196"/>
                  </a:lnTo>
                  <a:lnTo>
                    <a:pt x="0" y="970"/>
                  </a:lnTo>
                  <a:lnTo>
                    <a:pt x="3" y="943"/>
                  </a:lnTo>
                  <a:lnTo>
                    <a:pt x="11" y="918"/>
                  </a:lnTo>
                  <a:lnTo>
                    <a:pt x="24" y="895"/>
                  </a:lnTo>
                  <a:lnTo>
                    <a:pt x="41" y="876"/>
                  </a:lnTo>
                  <a:lnTo>
                    <a:pt x="62" y="860"/>
                  </a:lnTo>
                  <a:lnTo>
                    <a:pt x="87" y="849"/>
                  </a:lnTo>
                  <a:lnTo>
                    <a:pt x="113" y="842"/>
                  </a:lnTo>
                  <a:lnTo>
                    <a:pt x="231" y="829"/>
                  </a:lnTo>
                  <a:lnTo>
                    <a:pt x="248" y="773"/>
                  </a:lnTo>
                  <a:lnTo>
                    <a:pt x="271" y="717"/>
                  </a:lnTo>
                  <a:lnTo>
                    <a:pt x="296" y="662"/>
                  </a:lnTo>
                  <a:lnTo>
                    <a:pt x="222" y="568"/>
                  </a:lnTo>
                  <a:lnTo>
                    <a:pt x="208" y="545"/>
                  </a:lnTo>
                  <a:lnTo>
                    <a:pt x="199" y="520"/>
                  </a:lnTo>
                  <a:lnTo>
                    <a:pt x="195" y="495"/>
                  </a:lnTo>
                  <a:lnTo>
                    <a:pt x="196" y="469"/>
                  </a:lnTo>
                  <a:lnTo>
                    <a:pt x="203" y="444"/>
                  </a:lnTo>
                  <a:lnTo>
                    <a:pt x="215" y="420"/>
                  </a:lnTo>
                  <a:lnTo>
                    <a:pt x="232" y="398"/>
                  </a:lnTo>
                  <a:lnTo>
                    <a:pt x="392" y="239"/>
                  </a:lnTo>
                  <a:lnTo>
                    <a:pt x="411" y="222"/>
                  </a:lnTo>
                  <a:lnTo>
                    <a:pt x="433" y="210"/>
                  </a:lnTo>
                  <a:lnTo>
                    <a:pt x="457" y="204"/>
                  </a:lnTo>
                  <a:lnTo>
                    <a:pt x="482" y="202"/>
                  </a:lnTo>
                  <a:lnTo>
                    <a:pt x="504" y="203"/>
                  </a:lnTo>
                  <a:lnTo>
                    <a:pt x="524" y="208"/>
                  </a:lnTo>
                  <a:lnTo>
                    <a:pt x="543" y="217"/>
                  </a:lnTo>
                  <a:lnTo>
                    <a:pt x="561" y="229"/>
                  </a:lnTo>
                  <a:lnTo>
                    <a:pt x="648" y="298"/>
                  </a:lnTo>
                  <a:lnTo>
                    <a:pt x="706" y="268"/>
                  </a:lnTo>
                  <a:lnTo>
                    <a:pt x="767" y="242"/>
                  </a:lnTo>
                  <a:lnTo>
                    <a:pt x="829" y="221"/>
                  </a:lnTo>
                  <a:lnTo>
                    <a:pt x="841" y="113"/>
                  </a:lnTo>
                  <a:lnTo>
                    <a:pt x="847" y="86"/>
                  </a:lnTo>
                  <a:lnTo>
                    <a:pt x="858" y="62"/>
                  </a:lnTo>
                  <a:lnTo>
                    <a:pt x="874" y="41"/>
                  </a:lnTo>
                  <a:lnTo>
                    <a:pt x="893" y="24"/>
                  </a:lnTo>
                  <a:lnTo>
                    <a:pt x="916" y="10"/>
                  </a:lnTo>
                  <a:lnTo>
                    <a:pt x="941" y="2"/>
                  </a:lnTo>
                  <a:lnTo>
                    <a:pt x="9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2" name="Freeform 39">
              <a:extLst>
                <a:ext uri="{FF2B5EF4-FFF2-40B4-BE49-F238E27FC236}">
                  <a16:creationId xmlns:a16="http://schemas.microsoft.com/office/drawing/2014/main" xmlns="" id="{C06EAA9A-3E61-419E-97CA-C4AF981725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1" y="1475"/>
              <a:ext cx="178" cy="179"/>
            </a:xfrm>
            <a:custGeom>
              <a:avLst/>
              <a:gdLst>
                <a:gd name="T0" fmla="*/ 702 w 1780"/>
                <a:gd name="T1" fmla="*/ 103 h 1789"/>
                <a:gd name="T2" fmla="*/ 609 w 1780"/>
                <a:gd name="T3" fmla="*/ 282 h 1789"/>
                <a:gd name="T4" fmla="*/ 374 w 1780"/>
                <a:gd name="T5" fmla="*/ 285 h 1789"/>
                <a:gd name="T6" fmla="*/ 209 w 1780"/>
                <a:gd name="T7" fmla="*/ 424 h 1789"/>
                <a:gd name="T8" fmla="*/ 211 w 1780"/>
                <a:gd name="T9" fmla="*/ 507 h 1789"/>
                <a:gd name="T10" fmla="*/ 237 w 1780"/>
                <a:gd name="T11" fmla="*/ 777 h 1789"/>
                <a:gd name="T12" fmla="*/ 72 w 1780"/>
                <a:gd name="T13" fmla="*/ 855 h 1789"/>
                <a:gd name="T14" fmla="*/ 90 w 1780"/>
                <a:gd name="T15" fmla="*/ 1079 h 1789"/>
                <a:gd name="T16" fmla="*/ 272 w 1780"/>
                <a:gd name="T17" fmla="*/ 1128 h 1789"/>
                <a:gd name="T18" fmla="*/ 285 w 1780"/>
                <a:gd name="T19" fmla="*/ 1391 h 1789"/>
                <a:gd name="T20" fmla="*/ 297 w 1780"/>
                <a:gd name="T21" fmla="*/ 1472 h 1789"/>
                <a:gd name="T22" fmla="*/ 471 w 1780"/>
                <a:gd name="T23" fmla="*/ 1586 h 1789"/>
                <a:gd name="T24" fmla="*/ 661 w 1780"/>
                <a:gd name="T25" fmla="*/ 1513 h 1789"/>
                <a:gd name="T26" fmla="*/ 817 w 1780"/>
                <a:gd name="T27" fmla="*/ 1692 h 1789"/>
                <a:gd name="T28" fmla="*/ 1032 w 1780"/>
                <a:gd name="T29" fmla="*/ 1712 h 1789"/>
                <a:gd name="T30" fmla="*/ 1090 w 1780"/>
                <a:gd name="T31" fmla="*/ 1652 h 1789"/>
                <a:gd name="T32" fmla="*/ 1267 w 1780"/>
                <a:gd name="T33" fmla="*/ 1440 h 1789"/>
                <a:gd name="T34" fmla="*/ 1423 w 1780"/>
                <a:gd name="T35" fmla="*/ 1506 h 1789"/>
                <a:gd name="T36" fmla="*/ 1581 w 1780"/>
                <a:gd name="T37" fmla="*/ 1349 h 1789"/>
                <a:gd name="T38" fmla="*/ 1485 w 1780"/>
                <a:gd name="T39" fmla="*/ 1192 h 1789"/>
                <a:gd name="T40" fmla="*/ 1550 w 1780"/>
                <a:gd name="T41" fmla="*/ 990 h 1789"/>
                <a:gd name="T42" fmla="*/ 1714 w 1780"/>
                <a:gd name="T43" fmla="*/ 918 h 1789"/>
                <a:gd name="T44" fmla="*/ 1676 w 1780"/>
                <a:gd name="T45" fmla="*/ 698 h 1789"/>
                <a:gd name="T46" fmla="*/ 1498 w 1780"/>
                <a:gd name="T47" fmla="*/ 610 h 1789"/>
                <a:gd name="T48" fmla="*/ 1502 w 1780"/>
                <a:gd name="T49" fmla="*/ 382 h 1789"/>
                <a:gd name="T50" fmla="*/ 1364 w 1780"/>
                <a:gd name="T51" fmla="*/ 216 h 1789"/>
                <a:gd name="T52" fmla="*/ 1295 w 1780"/>
                <a:gd name="T53" fmla="*/ 208 h 1789"/>
                <a:gd name="T54" fmla="*/ 1070 w 1780"/>
                <a:gd name="T55" fmla="*/ 244 h 1789"/>
                <a:gd name="T56" fmla="*/ 952 w 1780"/>
                <a:gd name="T57" fmla="*/ 83 h 1789"/>
                <a:gd name="T58" fmla="*/ 932 w 1780"/>
                <a:gd name="T59" fmla="*/ 2 h 1789"/>
                <a:gd name="T60" fmla="*/ 1025 w 1780"/>
                <a:gd name="T61" fmla="*/ 77 h 1789"/>
                <a:gd name="T62" fmla="*/ 1188 w 1780"/>
                <a:gd name="T63" fmla="*/ 217 h 1789"/>
                <a:gd name="T64" fmla="*/ 1325 w 1780"/>
                <a:gd name="T65" fmla="*/ 136 h 1789"/>
                <a:gd name="T66" fmla="*/ 1525 w 1780"/>
                <a:gd name="T67" fmla="*/ 267 h 1789"/>
                <a:gd name="T68" fmla="*/ 1568 w 1780"/>
                <a:gd name="T69" fmla="*/ 385 h 1789"/>
                <a:gd name="T70" fmla="*/ 1552 w 1780"/>
                <a:gd name="T71" fmla="*/ 576 h 1789"/>
                <a:gd name="T72" fmla="*/ 1718 w 1780"/>
                <a:gd name="T73" fmla="*/ 648 h 1789"/>
                <a:gd name="T74" fmla="*/ 1780 w 1780"/>
                <a:gd name="T75" fmla="*/ 894 h 1789"/>
                <a:gd name="T76" fmla="*/ 1728 w 1780"/>
                <a:gd name="T77" fmla="*/ 1009 h 1789"/>
                <a:gd name="T78" fmla="*/ 1580 w 1780"/>
                <a:gd name="T79" fmla="*/ 1135 h 1789"/>
                <a:gd name="T80" fmla="*/ 1649 w 1780"/>
                <a:gd name="T81" fmla="*/ 1309 h 1789"/>
                <a:gd name="T82" fmla="*/ 1520 w 1780"/>
                <a:gd name="T83" fmla="*/ 1526 h 1789"/>
                <a:gd name="T84" fmla="*/ 1423 w 1780"/>
                <a:gd name="T85" fmla="*/ 1571 h 1789"/>
                <a:gd name="T86" fmla="*/ 1285 w 1780"/>
                <a:gd name="T87" fmla="*/ 1505 h 1789"/>
                <a:gd name="T88" fmla="*/ 1150 w 1780"/>
                <a:gd name="T89" fmla="*/ 1680 h 1789"/>
                <a:gd name="T90" fmla="*/ 1065 w 1780"/>
                <a:gd name="T91" fmla="*/ 1771 h 1789"/>
                <a:gd name="T92" fmla="*/ 823 w 1780"/>
                <a:gd name="T93" fmla="*/ 1779 h 1789"/>
                <a:gd name="T94" fmla="*/ 748 w 1780"/>
                <a:gd name="T95" fmla="*/ 1688 h 1789"/>
                <a:gd name="T96" fmla="*/ 523 w 1780"/>
                <a:gd name="T97" fmla="*/ 1633 h 1789"/>
                <a:gd name="T98" fmla="*/ 412 w 1780"/>
                <a:gd name="T99" fmla="*/ 1645 h 1789"/>
                <a:gd name="T100" fmla="*/ 223 w 1780"/>
                <a:gd name="T101" fmla="*/ 1480 h 1789"/>
                <a:gd name="T102" fmla="*/ 232 w 1780"/>
                <a:gd name="T103" fmla="*/ 1355 h 1789"/>
                <a:gd name="T104" fmla="*/ 109 w 1780"/>
                <a:gd name="T105" fmla="*/ 1164 h 1789"/>
                <a:gd name="T106" fmla="*/ 18 w 1780"/>
                <a:gd name="T107" fmla="*/ 1077 h 1789"/>
                <a:gd name="T108" fmla="*/ 17 w 1780"/>
                <a:gd name="T109" fmla="*/ 819 h 1789"/>
                <a:gd name="T110" fmla="*/ 177 w 1780"/>
                <a:gd name="T111" fmla="*/ 744 h 1789"/>
                <a:gd name="T112" fmla="*/ 136 w 1780"/>
                <a:gd name="T113" fmla="*/ 506 h 1789"/>
                <a:gd name="T114" fmla="*/ 160 w 1780"/>
                <a:gd name="T115" fmla="*/ 383 h 1789"/>
                <a:gd name="T116" fmla="*/ 335 w 1780"/>
                <a:gd name="T117" fmla="*/ 219 h 1789"/>
                <a:gd name="T118" fmla="*/ 487 w 1780"/>
                <a:gd name="T119" fmla="*/ 279 h 1789"/>
                <a:gd name="T120" fmla="*/ 630 w 1780"/>
                <a:gd name="T121" fmla="*/ 109 h 1789"/>
                <a:gd name="T122" fmla="*/ 715 w 1780"/>
                <a:gd name="T123" fmla="*/ 18 h 1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0" h="1789">
                  <a:moveTo>
                    <a:pt x="902" y="64"/>
                  </a:moveTo>
                  <a:lnTo>
                    <a:pt x="747" y="77"/>
                  </a:lnTo>
                  <a:lnTo>
                    <a:pt x="729" y="82"/>
                  </a:lnTo>
                  <a:lnTo>
                    <a:pt x="714" y="91"/>
                  </a:lnTo>
                  <a:lnTo>
                    <a:pt x="702" y="103"/>
                  </a:lnTo>
                  <a:lnTo>
                    <a:pt x="693" y="120"/>
                  </a:lnTo>
                  <a:lnTo>
                    <a:pt x="690" y="138"/>
                  </a:lnTo>
                  <a:lnTo>
                    <a:pt x="686" y="252"/>
                  </a:lnTo>
                  <a:lnTo>
                    <a:pt x="666" y="260"/>
                  </a:lnTo>
                  <a:lnTo>
                    <a:pt x="609" y="282"/>
                  </a:lnTo>
                  <a:lnTo>
                    <a:pt x="556" y="311"/>
                  </a:lnTo>
                  <a:lnTo>
                    <a:pt x="506" y="344"/>
                  </a:lnTo>
                  <a:lnTo>
                    <a:pt x="488" y="357"/>
                  </a:lnTo>
                  <a:lnTo>
                    <a:pt x="391" y="292"/>
                  </a:lnTo>
                  <a:lnTo>
                    <a:pt x="374" y="285"/>
                  </a:lnTo>
                  <a:lnTo>
                    <a:pt x="357" y="281"/>
                  </a:lnTo>
                  <a:lnTo>
                    <a:pt x="338" y="285"/>
                  </a:lnTo>
                  <a:lnTo>
                    <a:pt x="323" y="292"/>
                  </a:lnTo>
                  <a:lnTo>
                    <a:pt x="309" y="304"/>
                  </a:lnTo>
                  <a:lnTo>
                    <a:pt x="209" y="424"/>
                  </a:lnTo>
                  <a:lnTo>
                    <a:pt x="199" y="440"/>
                  </a:lnTo>
                  <a:lnTo>
                    <a:pt x="195" y="457"/>
                  </a:lnTo>
                  <a:lnTo>
                    <a:pt x="195" y="475"/>
                  </a:lnTo>
                  <a:lnTo>
                    <a:pt x="200" y="492"/>
                  </a:lnTo>
                  <a:lnTo>
                    <a:pt x="211" y="507"/>
                  </a:lnTo>
                  <a:lnTo>
                    <a:pt x="294" y="597"/>
                  </a:lnTo>
                  <a:lnTo>
                    <a:pt x="285" y="617"/>
                  </a:lnTo>
                  <a:lnTo>
                    <a:pt x="265" y="668"/>
                  </a:lnTo>
                  <a:lnTo>
                    <a:pt x="249" y="721"/>
                  </a:lnTo>
                  <a:lnTo>
                    <a:pt x="237" y="777"/>
                  </a:lnTo>
                  <a:lnTo>
                    <a:pt x="234" y="799"/>
                  </a:lnTo>
                  <a:lnTo>
                    <a:pt x="113" y="823"/>
                  </a:lnTo>
                  <a:lnTo>
                    <a:pt x="97" y="829"/>
                  </a:lnTo>
                  <a:lnTo>
                    <a:pt x="82" y="840"/>
                  </a:lnTo>
                  <a:lnTo>
                    <a:pt x="72" y="855"/>
                  </a:lnTo>
                  <a:lnTo>
                    <a:pt x="65" y="871"/>
                  </a:lnTo>
                  <a:lnTo>
                    <a:pt x="64" y="890"/>
                  </a:lnTo>
                  <a:lnTo>
                    <a:pt x="77" y="1046"/>
                  </a:lnTo>
                  <a:lnTo>
                    <a:pt x="82" y="1063"/>
                  </a:lnTo>
                  <a:lnTo>
                    <a:pt x="90" y="1079"/>
                  </a:lnTo>
                  <a:lnTo>
                    <a:pt x="103" y="1091"/>
                  </a:lnTo>
                  <a:lnTo>
                    <a:pt x="119" y="1099"/>
                  </a:lnTo>
                  <a:lnTo>
                    <a:pt x="137" y="1102"/>
                  </a:lnTo>
                  <a:lnTo>
                    <a:pt x="264" y="1107"/>
                  </a:lnTo>
                  <a:lnTo>
                    <a:pt x="272" y="1128"/>
                  </a:lnTo>
                  <a:lnTo>
                    <a:pt x="293" y="1174"/>
                  </a:lnTo>
                  <a:lnTo>
                    <a:pt x="317" y="1220"/>
                  </a:lnTo>
                  <a:lnTo>
                    <a:pt x="344" y="1264"/>
                  </a:lnTo>
                  <a:lnTo>
                    <a:pt x="356" y="1283"/>
                  </a:lnTo>
                  <a:lnTo>
                    <a:pt x="285" y="1391"/>
                  </a:lnTo>
                  <a:lnTo>
                    <a:pt x="277" y="1407"/>
                  </a:lnTo>
                  <a:lnTo>
                    <a:pt x="274" y="1424"/>
                  </a:lnTo>
                  <a:lnTo>
                    <a:pt x="277" y="1442"/>
                  </a:lnTo>
                  <a:lnTo>
                    <a:pt x="284" y="1458"/>
                  </a:lnTo>
                  <a:lnTo>
                    <a:pt x="297" y="1472"/>
                  </a:lnTo>
                  <a:lnTo>
                    <a:pt x="416" y="1574"/>
                  </a:lnTo>
                  <a:lnTo>
                    <a:pt x="428" y="1582"/>
                  </a:lnTo>
                  <a:lnTo>
                    <a:pt x="442" y="1586"/>
                  </a:lnTo>
                  <a:lnTo>
                    <a:pt x="456" y="1588"/>
                  </a:lnTo>
                  <a:lnTo>
                    <a:pt x="471" y="1586"/>
                  </a:lnTo>
                  <a:lnTo>
                    <a:pt x="485" y="1581"/>
                  </a:lnTo>
                  <a:lnTo>
                    <a:pt x="498" y="1572"/>
                  </a:lnTo>
                  <a:lnTo>
                    <a:pt x="592" y="1483"/>
                  </a:lnTo>
                  <a:lnTo>
                    <a:pt x="611" y="1492"/>
                  </a:lnTo>
                  <a:lnTo>
                    <a:pt x="661" y="1513"/>
                  </a:lnTo>
                  <a:lnTo>
                    <a:pt x="713" y="1530"/>
                  </a:lnTo>
                  <a:lnTo>
                    <a:pt x="764" y="1542"/>
                  </a:lnTo>
                  <a:lnTo>
                    <a:pt x="785" y="1547"/>
                  </a:lnTo>
                  <a:lnTo>
                    <a:pt x="812" y="1674"/>
                  </a:lnTo>
                  <a:lnTo>
                    <a:pt x="817" y="1692"/>
                  </a:lnTo>
                  <a:lnTo>
                    <a:pt x="828" y="1706"/>
                  </a:lnTo>
                  <a:lnTo>
                    <a:pt x="842" y="1717"/>
                  </a:lnTo>
                  <a:lnTo>
                    <a:pt x="859" y="1724"/>
                  </a:lnTo>
                  <a:lnTo>
                    <a:pt x="878" y="1725"/>
                  </a:lnTo>
                  <a:lnTo>
                    <a:pt x="1032" y="1712"/>
                  </a:lnTo>
                  <a:lnTo>
                    <a:pt x="1051" y="1707"/>
                  </a:lnTo>
                  <a:lnTo>
                    <a:pt x="1066" y="1698"/>
                  </a:lnTo>
                  <a:lnTo>
                    <a:pt x="1078" y="1685"/>
                  </a:lnTo>
                  <a:lnTo>
                    <a:pt x="1087" y="1669"/>
                  </a:lnTo>
                  <a:lnTo>
                    <a:pt x="1090" y="1652"/>
                  </a:lnTo>
                  <a:lnTo>
                    <a:pt x="1094" y="1524"/>
                  </a:lnTo>
                  <a:lnTo>
                    <a:pt x="1115" y="1517"/>
                  </a:lnTo>
                  <a:lnTo>
                    <a:pt x="1167" y="1495"/>
                  </a:lnTo>
                  <a:lnTo>
                    <a:pt x="1218" y="1469"/>
                  </a:lnTo>
                  <a:lnTo>
                    <a:pt x="1267" y="1440"/>
                  </a:lnTo>
                  <a:lnTo>
                    <a:pt x="1285" y="1428"/>
                  </a:lnTo>
                  <a:lnTo>
                    <a:pt x="1389" y="1497"/>
                  </a:lnTo>
                  <a:lnTo>
                    <a:pt x="1406" y="1504"/>
                  </a:lnTo>
                  <a:lnTo>
                    <a:pt x="1423" y="1506"/>
                  </a:lnTo>
                  <a:lnTo>
                    <a:pt x="1423" y="1506"/>
                  </a:lnTo>
                  <a:lnTo>
                    <a:pt x="1441" y="1504"/>
                  </a:lnTo>
                  <a:lnTo>
                    <a:pt x="1458" y="1497"/>
                  </a:lnTo>
                  <a:lnTo>
                    <a:pt x="1471" y="1485"/>
                  </a:lnTo>
                  <a:lnTo>
                    <a:pt x="1571" y="1366"/>
                  </a:lnTo>
                  <a:lnTo>
                    <a:pt x="1581" y="1349"/>
                  </a:lnTo>
                  <a:lnTo>
                    <a:pt x="1586" y="1332"/>
                  </a:lnTo>
                  <a:lnTo>
                    <a:pt x="1585" y="1314"/>
                  </a:lnTo>
                  <a:lnTo>
                    <a:pt x="1580" y="1297"/>
                  </a:lnTo>
                  <a:lnTo>
                    <a:pt x="1569" y="1283"/>
                  </a:lnTo>
                  <a:lnTo>
                    <a:pt x="1485" y="1192"/>
                  </a:lnTo>
                  <a:lnTo>
                    <a:pt x="1495" y="1172"/>
                  </a:lnTo>
                  <a:lnTo>
                    <a:pt x="1516" y="1120"/>
                  </a:lnTo>
                  <a:lnTo>
                    <a:pt x="1534" y="1066"/>
                  </a:lnTo>
                  <a:lnTo>
                    <a:pt x="1546" y="1012"/>
                  </a:lnTo>
                  <a:lnTo>
                    <a:pt x="1550" y="990"/>
                  </a:lnTo>
                  <a:lnTo>
                    <a:pt x="1666" y="966"/>
                  </a:lnTo>
                  <a:lnTo>
                    <a:pt x="1683" y="959"/>
                  </a:lnTo>
                  <a:lnTo>
                    <a:pt x="1697" y="950"/>
                  </a:lnTo>
                  <a:lnTo>
                    <a:pt x="1708" y="935"/>
                  </a:lnTo>
                  <a:lnTo>
                    <a:pt x="1714" y="918"/>
                  </a:lnTo>
                  <a:lnTo>
                    <a:pt x="1716" y="899"/>
                  </a:lnTo>
                  <a:lnTo>
                    <a:pt x="1702" y="743"/>
                  </a:lnTo>
                  <a:lnTo>
                    <a:pt x="1698" y="726"/>
                  </a:lnTo>
                  <a:lnTo>
                    <a:pt x="1689" y="710"/>
                  </a:lnTo>
                  <a:lnTo>
                    <a:pt x="1676" y="698"/>
                  </a:lnTo>
                  <a:lnTo>
                    <a:pt x="1660" y="690"/>
                  </a:lnTo>
                  <a:lnTo>
                    <a:pt x="1643" y="686"/>
                  </a:lnTo>
                  <a:lnTo>
                    <a:pt x="1525" y="683"/>
                  </a:lnTo>
                  <a:lnTo>
                    <a:pt x="1519" y="662"/>
                  </a:lnTo>
                  <a:lnTo>
                    <a:pt x="1498" y="610"/>
                  </a:lnTo>
                  <a:lnTo>
                    <a:pt x="1472" y="561"/>
                  </a:lnTo>
                  <a:lnTo>
                    <a:pt x="1442" y="513"/>
                  </a:lnTo>
                  <a:lnTo>
                    <a:pt x="1431" y="495"/>
                  </a:lnTo>
                  <a:lnTo>
                    <a:pt x="1495" y="399"/>
                  </a:lnTo>
                  <a:lnTo>
                    <a:pt x="1502" y="382"/>
                  </a:lnTo>
                  <a:lnTo>
                    <a:pt x="1506" y="364"/>
                  </a:lnTo>
                  <a:lnTo>
                    <a:pt x="1503" y="347"/>
                  </a:lnTo>
                  <a:lnTo>
                    <a:pt x="1496" y="331"/>
                  </a:lnTo>
                  <a:lnTo>
                    <a:pt x="1484" y="316"/>
                  </a:lnTo>
                  <a:lnTo>
                    <a:pt x="1364" y="216"/>
                  </a:lnTo>
                  <a:lnTo>
                    <a:pt x="1352" y="207"/>
                  </a:lnTo>
                  <a:lnTo>
                    <a:pt x="1339" y="203"/>
                  </a:lnTo>
                  <a:lnTo>
                    <a:pt x="1325" y="201"/>
                  </a:lnTo>
                  <a:lnTo>
                    <a:pt x="1309" y="203"/>
                  </a:lnTo>
                  <a:lnTo>
                    <a:pt x="1295" y="208"/>
                  </a:lnTo>
                  <a:lnTo>
                    <a:pt x="1281" y="218"/>
                  </a:lnTo>
                  <a:lnTo>
                    <a:pt x="1200" y="295"/>
                  </a:lnTo>
                  <a:lnTo>
                    <a:pt x="1180" y="285"/>
                  </a:lnTo>
                  <a:lnTo>
                    <a:pt x="1127" y="262"/>
                  </a:lnTo>
                  <a:lnTo>
                    <a:pt x="1070" y="244"/>
                  </a:lnTo>
                  <a:lnTo>
                    <a:pt x="1013" y="231"/>
                  </a:lnTo>
                  <a:lnTo>
                    <a:pt x="992" y="227"/>
                  </a:lnTo>
                  <a:lnTo>
                    <a:pt x="969" y="114"/>
                  </a:lnTo>
                  <a:lnTo>
                    <a:pt x="963" y="97"/>
                  </a:lnTo>
                  <a:lnTo>
                    <a:pt x="952" y="83"/>
                  </a:lnTo>
                  <a:lnTo>
                    <a:pt x="938" y="72"/>
                  </a:lnTo>
                  <a:lnTo>
                    <a:pt x="920" y="65"/>
                  </a:lnTo>
                  <a:lnTo>
                    <a:pt x="902" y="64"/>
                  </a:lnTo>
                  <a:close/>
                  <a:moveTo>
                    <a:pt x="907" y="0"/>
                  </a:moveTo>
                  <a:lnTo>
                    <a:pt x="932" y="2"/>
                  </a:lnTo>
                  <a:lnTo>
                    <a:pt x="956" y="10"/>
                  </a:lnTo>
                  <a:lnTo>
                    <a:pt x="978" y="22"/>
                  </a:lnTo>
                  <a:lnTo>
                    <a:pt x="996" y="37"/>
                  </a:lnTo>
                  <a:lnTo>
                    <a:pt x="1013" y="55"/>
                  </a:lnTo>
                  <a:lnTo>
                    <a:pt x="1025" y="77"/>
                  </a:lnTo>
                  <a:lnTo>
                    <a:pt x="1031" y="101"/>
                  </a:lnTo>
                  <a:lnTo>
                    <a:pt x="1047" y="171"/>
                  </a:lnTo>
                  <a:lnTo>
                    <a:pt x="1094" y="183"/>
                  </a:lnTo>
                  <a:lnTo>
                    <a:pt x="1142" y="198"/>
                  </a:lnTo>
                  <a:lnTo>
                    <a:pt x="1188" y="217"/>
                  </a:lnTo>
                  <a:lnTo>
                    <a:pt x="1238" y="170"/>
                  </a:lnTo>
                  <a:lnTo>
                    <a:pt x="1256" y="156"/>
                  </a:lnTo>
                  <a:lnTo>
                    <a:pt x="1278" y="145"/>
                  </a:lnTo>
                  <a:lnTo>
                    <a:pt x="1301" y="138"/>
                  </a:lnTo>
                  <a:lnTo>
                    <a:pt x="1325" y="136"/>
                  </a:lnTo>
                  <a:lnTo>
                    <a:pt x="1347" y="138"/>
                  </a:lnTo>
                  <a:lnTo>
                    <a:pt x="1367" y="144"/>
                  </a:lnTo>
                  <a:lnTo>
                    <a:pt x="1388" y="154"/>
                  </a:lnTo>
                  <a:lnTo>
                    <a:pt x="1407" y="166"/>
                  </a:lnTo>
                  <a:lnTo>
                    <a:pt x="1525" y="267"/>
                  </a:lnTo>
                  <a:lnTo>
                    <a:pt x="1544" y="287"/>
                  </a:lnTo>
                  <a:lnTo>
                    <a:pt x="1558" y="309"/>
                  </a:lnTo>
                  <a:lnTo>
                    <a:pt x="1567" y="334"/>
                  </a:lnTo>
                  <a:lnTo>
                    <a:pt x="1570" y="359"/>
                  </a:lnTo>
                  <a:lnTo>
                    <a:pt x="1568" y="385"/>
                  </a:lnTo>
                  <a:lnTo>
                    <a:pt x="1561" y="411"/>
                  </a:lnTo>
                  <a:lnTo>
                    <a:pt x="1548" y="435"/>
                  </a:lnTo>
                  <a:lnTo>
                    <a:pt x="1508" y="495"/>
                  </a:lnTo>
                  <a:lnTo>
                    <a:pt x="1532" y="535"/>
                  </a:lnTo>
                  <a:lnTo>
                    <a:pt x="1552" y="576"/>
                  </a:lnTo>
                  <a:lnTo>
                    <a:pt x="1571" y="620"/>
                  </a:lnTo>
                  <a:lnTo>
                    <a:pt x="1645" y="622"/>
                  </a:lnTo>
                  <a:lnTo>
                    <a:pt x="1671" y="625"/>
                  </a:lnTo>
                  <a:lnTo>
                    <a:pt x="1696" y="635"/>
                  </a:lnTo>
                  <a:lnTo>
                    <a:pt x="1718" y="648"/>
                  </a:lnTo>
                  <a:lnTo>
                    <a:pt x="1736" y="666"/>
                  </a:lnTo>
                  <a:lnTo>
                    <a:pt x="1751" y="688"/>
                  </a:lnTo>
                  <a:lnTo>
                    <a:pt x="1761" y="712"/>
                  </a:lnTo>
                  <a:lnTo>
                    <a:pt x="1767" y="738"/>
                  </a:lnTo>
                  <a:lnTo>
                    <a:pt x="1780" y="894"/>
                  </a:lnTo>
                  <a:lnTo>
                    <a:pt x="1779" y="921"/>
                  </a:lnTo>
                  <a:lnTo>
                    <a:pt x="1773" y="947"/>
                  </a:lnTo>
                  <a:lnTo>
                    <a:pt x="1762" y="970"/>
                  </a:lnTo>
                  <a:lnTo>
                    <a:pt x="1746" y="991"/>
                  </a:lnTo>
                  <a:lnTo>
                    <a:pt x="1728" y="1009"/>
                  </a:lnTo>
                  <a:lnTo>
                    <a:pt x="1705" y="1022"/>
                  </a:lnTo>
                  <a:lnTo>
                    <a:pt x="1679" y="1029"/>
                  </a:lnTo>
                  <a:lnTo>
                    <a:pt x="1605" y="1045"/>
                  </a:lnTo>
                  <a:lnTo>
                    <a:pt x="1594" y="1090"/>
                  </a:lnTo>
                  <a:lnTo>
                    <a:pt x="1580" y="1135"/>
                  </a:lnTo>
                  <a:lnTo>
                    <a:pt x="1561" y="1180"/>
                  </a:lnTo>
                  <a:lnTo>
                    <a:pt x="1615" y="1238"/>
                  </a:lnTo>
                  <a:lnTo>
                    <a:pt x="1632" y="1260"/>
                  </a:lnTo>
                  <a:lnTo>
                    <a:pt x="1644" y="1283"/>
                  </a:lnTo>
                  <a:lnTo>
                    <a:pt x="1649" y="1309"/>
                  </a:lnTo>
                  <a:lnTo>
                    <a:pt x="1650" y="1334"/>
                  </a:lnTo>
                  <a:lnTo>
                    <a:pt x="1646" y="1360"/>
                  </a:lnTo>
                  <a:lnTo>
                    <a:pt x="1635" y="1384"/>
                  </a:lnTo>
                  <a:lnTo>
                    <a:pt x="1621" y="1407"/>
                  </a:lnTo>
                  <a:lnTo>
                    <a:pt x="1520" y="1526"/>
                  </a:lnTo>
                  <a:lnTo>
                    <a:pt x="1505" y="1541"/>
                  </a:lnTo>
                  <a:lnTo>
                    <a:pt x="1486" y="1554"/>
                  </a:lnTo>
                  <a:lnTo>
                    <a:pt x="1466" y="1563"/>
                  </a:lnTo>
                  <a:lnTo>
                    <a:pt x="1446" y="1570"/>
                  </a:lnTo>
                  <a:lnTo>
                    <a:pt x="1423" y="1571"/>
                  </a:lnTo>
                  <a:lnTo>
                    <a:pt x="1423" y="1571"/>
                  </a:lnTo>
                  <a:lnTo>
                    <a:pt x="1399" y="1569"/>
                  </a:lnTo>
                  <a:lnTo>
                    <a:pt x="1375" y="1562"/>
                  </a:lnTo>
                  <a:lnTo>
                    <a:pt x="1353" y="1550"/>
                  </a:lnTo>
                  <a:lnTo>
                    <a:pt x="1285" y="1505"/>
                  </a:lnTo>
                  <a:lnTo>
                    <a:pt x="1243" y="1529"/>
                  </a:lnTo>
                  <a:lnTo>
                    <a:pt x="1201" y="1551"/>
                  </a:lnTo>
                  <a:lnTo>
                    <a:pt x="1156" y="1570"/>
                  </a:lnTo>
                  <a:lnTo>
                    <a:pt x="1154" y="1653"/>
                  </a:lnTo>
                  <a:lnTo>
                    <a:pt x="1150" y="1680"/>
                  </a:lnTo>
                  <a:lnTo>
                    <a:pt x="1141" y="1704"/>
                  </a:lnTo>
                  <a:lnTo>
                    <a:pt x="1128" y="1727"/>
                  </a:lnTo>
                  <a:lnTo>
                    <a:pt x="1110" y="1745"/>
                  </a:lnTo>
                  <a:lnTo>
                    <a:pt x="1089" y="1760"/>
                  </a:lnTo>
                  <a:lnTo>
                    <a:pt x="1065" y="1771"/>
                  </a:lnTo>
                  <a:lnTo>
                    <a:pt x="1038" y="1776"/>
                  </a:lnTo>
                  <a:lnTo>
                    <a:pt x="883" y="1789"/>
                  </a:lnTo>
                  <a:lnTo>
                    <a:pt x="872" y="1789"/>
                  </a:lnTo>
                  <a:lnTo>
                    <a:pt x="847" y="1787"/>
                  </a:lnTo>
                  <a:lnTo>
                    <a:pt x="823" y="1779"/>
                  </a:lnTo>
                  <a:lnTo>
                    <a:pt x="802" y="1767"/>
                  </a:lnTo>
                  <a:lnTo>
                    <a:pt x="783" y="1752"/>
                  </a:lnTo>
                  <a:lnTo>
                    <a:pt x="767" y="1733"/>
                  </a:lnTo>
                  <a:lnTo>
                    <a:pt x="755" y="1712"/>
                  </a:lnTo>
                  <a:lnTo>
                    <a:pt x="748" y="1688"/>
                  </a:lnTo>
                  <a:lnTo>
                    <a:pt x="731" y="1601"/>
                  </a:lnTo>
                  <a:lnTo>
                    <a:pt x="667" y="1584"/>
                  </a:lnTo>
                  <a:lnTo>
                    <a:pt x="605" y="1560"/>
                  </a:lnTo>
                  <a:lnTo>
                    <a:pt x="542" y="1619"/>
                  </a:lnTo>
                  <a:lnTo>
                    <a:pt x="523" y="1633"/>
                  </a:lnTo>
                  <a:lnTo>
                    <a:pt x="503" y="1644"/>
                  </a:lnTo>
                  <a:lnTo>
                    <a:pt x="480" y="1650"/>
                  </a:lnTo>
                  <a:lnTo>
                    <a:pt x="456" y="1653"/>
                  </a:lnTo>
                  <a:lnTo>
                    <a:pt x="434" y="1650"/>
                  </a:lnTo>
                  <a:lnTo>
                    <a:pt x="412" y="1645"/>
                  </a:lnTo>
                  <a:lnTo>
                    <a:pt x="393" y="1635"/>
                  </a:lnTo>
                  <a:lnTo>
                    <a:pt x="374" y="1623"/>
                  </a:lnTo>
                  <a:lnTo>
                    <a:pt x="255" y="1522"/>
                  </a:lnTo>
                  <a:lnTo>
                    <a:pt x="236" y="1502"/>
                  </a:lnTo>
                  <a:lnTo>
                    <a:pt x="223" y="1480"/>
                  </a:lnTo>
                  <a:lnTo>
                    <a:pt x="214" y="1456"/>
                  </a:lnTo>
                  <a:lnTo>
                    <a:pt x="210" y="1430"/>
                  </a:lnTo>
                  <a:lnTo>
                    <a:pt x="212" y="1404"/>
                  </a:lnTo>
                  <a:lnTo>
                    <a:pt x="219" y="1379"/>
                  </a:lnTo>
                  <a:lnTo>
                    <a:pt x="232" y="1355"/>
                  </a:lnTo>
                  <a:lnTo>
                    <a:pt x="278" y="1283"/>
                  </a:lnTo>
                  <a:lnTo>
                    <a:pt x="247" y="1227"/>
                  </a:lnTo>
                  <a:lnTo>
                    <a:pt x="220" y="1170"/>
                  </a:lnTo>
                  <a:lnTo>
                    <a:pt x="135" y="1167"/>
                  </a:lnTo>
                  <a:lnTo>
                    <a:pt x="109" y="1164"/>
                  </a:lnTo>
                  <a:lnTo>
                    <a:pt x="84" y="1155"/>
                  </a:lnTo>
                  <a:lnTo>
                    <a:pt x="62" y="1141"/>
                  </a:lnTo>
                  <a:lnTo>
                    <a:pt x="43" y="1123"/>
                  </a:lnTo>
                  <a:lnTo>
                    <a:pt x="28" y="1102"/>
                  </a:lnTo>
                  <a:lnTo>
                    <a:pt x="18" y="1077"/>
                  </a:lnTo>
                  <a:lnTo>
                    <a:pt x="13" y="1051"/>
                  </a:lnTo>
                  <a:lnTo>
                    <a:pt x="0" y="895"/>
                  </a:lnTo>
                  <a:lnTo>
                    <a:pt x="0" y="868"/>
                  </a:lnTo>
                  <a:lnTo>
                    <a:pt x="6" y="843"/>
                  </a:lnTo>
                  <a:lnTo>
                    <a:pt x="17" y="819"/>
                  </a:lnTo>
                  <a:lnTo>
                    <a:pt x="33" y="798"/>
                  </a:lnTo>
                  <a:lnTo>
                    <a:pt x="52" y="781"/>
                  </a:lnTo>
                  <a:lnTo>
                    <a:pt x="75" y="768"/>
                  </a:lnTo>
                  <a:lnTo>
                    <a:pt x="101" y="760"/>
                  </a:lnTo>
                  <a:lnTo>
                    <a:pt x="177" y="744"/>
                  </a:lnTo>
                  <a:lnTo>
                    <a:pt x="195" y="676"/>
                  </a:lnTo>
                  <a:lnTo>
                    <a:pt x="219" y="610"/>
                  </a:lnTo>
                  <a:lnTo>
                    <a:pt x="164" y="551"/>
                  </a:lnTo>
                  <a:lnTo>
                    <a:pt x="148" y="530"/>
                  </a:lnTo>
                  <a:lnTo>
                    <a:pt x="136" y="506"/>
                  </a:lnTo>
                  <a:lnTo>
                    <a:pt x="131" y="481"/>
                  </a:lnTo>
                  <a:lnTo>
                    <a:pt x="129" y="455"/>
                  </a:lnTo>
                  <a:lnTo>
                    <a:pt x="135" y="430"/>
                  </a:lnTo>
                  <a:lnTo>
                    <a:pt x="145" y="405"/>
                  </a:lnTo>
                  <a:lnTo>
                    <a:pt x="160" y="383"/>
                  </a:lnTo>
                  <a:lnTo>
                    <a:pt x="260" y="263"/>
                  </a:lnTo>
                  <a:lnTo>
                    <a:pt x="275" y="246"/>
                  </a:lnTo>
                  <a:lnTo>
                    <a:pt x="294" y="234"/>
                  </a:lnTo>
                  <a:lnTo>
                    <a:pt x="313" y="225"/>
                  </a:lnTo>
                  <a:lnTo>
                    <a:pt x="335" y="219"/>
                  </a:lnTo>
                  <a:lnTo>
                    <a:pt x="357" y="217"/>
                  </a:lnTo>
                  <a:lnTo>
                    <a:pt x="381" y="220"/>
                  </a:lnTo>
                  <a:lnTo>
                    <a:pt x="405" y="227"/>
                  </a:lnTo>
                  <a:lnTo>
                    <a:pt x="426" y="239"/>
                  </a:lnTo>
                  <a:lnTo>
                    <a:pt x="487" y="279"/>
                  </a:lnTo>
                  <a:lnTo>
                    <a:pt x="531" y="252"/>
                  </a:lnTo>
                  <a:lnTo>
                    <a:pt x="577" y="228"/>
                  </a:lnTo>
                  <a:lnTo>
                    <a:pt x="623" y="207"/>
                  </a:lnTo>
                  <a:lnTo>
                    <a:pt x="625" y="136"/>
                  </a:lnTo>
                  <a:lnTo>
                    <a:pt x="630" y="109"/>
                  </a:lnTo>
                  <a:lnTo>
                    <a:pt x="639" y="85"/>
                  </a:lnTo>
                  <a:lnTo>
                    <a:pt x="652" y="62"/>
                  </a:lnTo>
                  <a:lnTo>
                    <a:pt x="670" y="43"/>
                  </a:lnTo>
                  <a:lnTo>
                    <a:pt x="691" y="29"/>
                  </a:lnTo>
                  <a:lnTo>
                    <a:pt x="715" y="18"/>
                  </a:lnTo>
                  <a:lnTo>
                    <a:pt x="742" y="13"/>
                  </a:lnTo>
                  <a:lnTo>
                    <a:pt x="897" y="0"/>
                  </a:lnTo>
                  <a:lnTo>
                    <a:pt x="902" y="0"/>
                  </a:lnTo>
                  <a:lnTo>
                    <a:pt x="9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3" name="Freeform 40">
              <a:extLst>
                <a:ext uri="{FF2B5EF4-FFF2-40B4-BE49-F238E27FC236}">
                  <a16:creationId xmlns:a16="http://schemas.microsoft.com/office/drawing/2014/main" xmlns="" id="{F5694718-F8B6-4CB2-AC7C-55E89925D8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6" y="1530"/>
              <a:ext cx="68" cy="68"/>
            </a:xfrm>
            <a:custGeom>
              <a:avLst/>
              <a:gdLst>
                <a:gd name="T0" fmla="*/ 314 w 674"/>
                <a:gd name="T1" fmla="*/ 65 h 677"/>
                <a:gd name="T2" fmla="*/ 245 w 674"/>
                <a:gd name="T3" fmla="*/ 81 h 677"/>
                <a:gd name="T4" fmla="*/ 182 w 674"/>
                <a:gd name="T5" fmla="*/ 113 h 677"/>
                <a:gd name="T6" fmla="*/ 128 w 674"/>
                <a:gd name="T7" fmla="*/ 161 h 677"/>
                <a:gd name="T8" fmla="*/ 90 w 674"/>
                <a:gd name="T9" fmla="*/ 223 h 677"/>
                <a:gd name="T10" fmla="*/ 68 w 674"/>
                <a:gd name="T11" fmla="*/ 289 h 677"/>
                <a:gd name="T12" fmla="*/ 65 w 674"/>
                <a:gd name="T13" fmla="*/ 361 h 677"/>
                <a:gd name="T14" fmla="*/ 85 w 674"/>
                <a:gd name="T15" fmla="*/ 442 h 677"/>
                <a:gd name="T16" fmla="*/ 125 w 674"/>
                <a:gd name="T17" fmla="*/ 511 h 677"/>
                <a:gd name="T18" fmla="*/ 184 w 674"/>
                <a:gd name="T19" fmla="*/ 564 h 677"/>
                <a:gd name="T20" fmla="*/ 256 w 674"/>
                <a:gd name="T21" fmla="*/ 600 h 677"/>
                <a:gd name="T22" fmla="*/ 337 w 674"/>
                <a:gd name="T23" fmla="*/ 612 h 677"/>
                <a:gd name="T24" fmla="*/ 396 w 674"/>
                <a:gd name="T25" fmla="*/ 606 h 677"/>
                <a:gd name="T26" fmla="*/ 462 w 674"/>
                <a:gd name="T27" fmla="*/ 582 h 677"/>
                <a:gd name="T28" fmla="*/ 521 w 674"/>
                <a:gd name="T29" fmla="*/ 541 h 677"/>
                <a:gd name="T30" fmla="*/ 568 w 674"/>
                <a:gd name="T31" fmla="*/ 486 h 677"/>
                <a:gd name="T32" fmla="*/ 598 w 674"/>
                <a:gd name="T33" fmla="*/ 421 h 677"/>
                <a:gd name="T34" fmla="*/ 610 w 674"/>
                <a:gd name="T35" fmla="*/ 351 h 677"/>
                <a:gd name="T36" fmla="*/ 603 w 674"/>
                <a:gd name="T37" fmla="*/ 274 h 677"/>
                <a:gd name="T38" fmla="*/ 572 w 674"/>
                <a:gd name="T39" fmla="*/ 199 h 677"/>
                <a:gd name="T40" fmla="*/ 522 w 674"/>
                <a:gd name="T41" fmla="*/ 137 h 677"/>
                <a:gd name="T42" fmla="*/ 457 w 674"/>
                <a:gd name="T43" fmla="*/ 92 h 677"/>
                <a:gd name="T44" fmla="*/ 380 w 674"/>
                <a:gd name="T45" fmla="*/ 68 h 677"/>
                <a:gd name="T46" fmla="*/ 338 w 674"/>
                <a:gd name="T47" fmla="*/ 0 h 677"/>
                <a:gd name="T48" fmla="*/ 430 w 674"/>
                <a:gd name="T49" fmla="*/ 13 h 677"/>
                <a:gd name="T50" fmla="*/ 512 w 674"/>
                <a:gd name="T51" fmla="*/ 49 h 677"/>
                <a:gd name="T52" fmla="*/ 582 w 674"/>
                <a:gd name="T53" fmla="*/ 106 h 677"/>
                <a:gd name="T54" fmla="*/ 634 w 674"/>
                <a:gd name="T55" fmla="*/ 178 h 677"/>
                <a:gd name="T56" fmla="*/ 667 w 674"/>
                <a:gd name="T57" fmla="*/ 263 h 677"/>
                <a:gd name="T58" fmla="*/ 674 w 674"/>
                <a:gd name="T59" fmla="*/ 355 h 677"/>
                <a:gd name="T60" fmla="*/ 659 w 674"/>
                <a:gd name="T61" fmla="*/ 441 h 677"/>
                <a:gd name="T62" fmla="*/ 622 w 674"/>
                <a:gd name="T63" fmla="*/ 521 h 677"/>
                <a:gd name="T64" fmla="*/ 564 w 674"/>
                <a:gd name="T65" fmla="*/ 589 h 677"/>
                <a:gd name="T66" fmla="*/ 493 w 674"/>
                <a:gd name="T67" fmla="*/ 640 h 677"/>
                <a:gd name="T68" fmla="*/ 410 w 674"/>
                <a:gd name="T69" fmla="*/ 669 h 677"/>
                <a:gd name="T70" fmla="*/ 337 w 674"/>
                <a:gd name="T71" fmla="*/ 677 h 677"/>
                <a:gd name="T72" fmla="*/ 246 w 674"/>
                <a:gd name="T73" fmla="*/ 664 h 677"/>
                <a:gd name="T74" fmla="*/ 163 w 674"/>
                <a:gd name="T75" fmla="*/ 628 h 677"/>
                <a:gd name="T76" fmla="*/ 93 w 674"/>
                <a:gd name="T77" fmla="*/ 572 h 677"/>
                <a:gd name="T78" fmla="*/ 40 w 674"/>
                <a:gd name="T79" fmla="*/ 499 h 677"/>
                <a:gd name="T80" fmla="*/ 9 w 674"/>
                <a:gd name="T81" fmla="*/ 414 h 677"/>
                <a:gd name="T82" fmla="*/ 0 w 674"/>
                <a:gd name="T83" fmla="*/ 322 h 677"/>
                <a:gd name="T84" fmla="*/ 15 w 674"/>
                <a:gd name="T85" fmla="*/ 236 h 677"/>
                <a:gd name="T86" fmla="*/ 53 w 674"/>
                <a:gd name="T87" fmla="*/ 156 h 677"/>
                <a:gd name="T88" fmla="*/ 111 w 674"/>
                <a:gd name="T89" fmla="*/ 87 h 677"/>
                <a:gd name="T90" fmla="*/ 183 w 674"/>
                <a:gd name="T91" fmla="*/ 37 h 677"/>
                <a:gd name="T92" fmla="*/ 265 w 674"/>
                <a:gd name="T93" fmla="*/ 8 h 677"/>
                <a:gd name="T94" fmla="*/ 338 w 674"/>
                <a:gd name="T95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74" h="677">
                  <a:moveTo>
                    <a:pt x="338" y="64"/>
                  </a:moveTo>
                  <a:lnTo>
                    <a:pt x="314" y="65"/>
                  </a:lnTo>
                  <a:lnTo>
                    <a:pt x="278" y="71"/>
                  </a:lnTo>
                  <a:lnTo>
                    <a:pt x="245" y="81"/>
                  </a:lnTo>
                  <a:lnTo>
                    <a:pt x="212" y="95"/>
                  </a:lnTo>
                  <a:lnTo>
                    <a:pt x="182" y="113"/>
                  </a:lnTo>
                  <a:lnTo>
                    <a:pt x="153" y="135"/>
                  </a:lnTo>
                  <a:lnTo>
                    <a:pt x="128" y="161"/>
                  </a:lnTo>
                  <a:lnTo>
                    <a:pt x="108" y="191"/>
                  </a:lnTo>
                  <a:lnTo>
                    <a:pt x="90" y="223"/>
                  </a:lnTo>
                  <a:lnTo>
                    <a:pt x="77" y="255"/>
                  </a:lnTo>
                  <a:lnTo>
                    <a:pt x="68" y="289"/>
                  </a:lnTo>
                  <a:lnTo>
                    <a:pt x="64" y="325"/>
                  </a:lnTo>
                  <a:lnTo>
                    <a:pt x="65" y="361"/>
                  </a:lnTo>
                  <a:lnTo>
                    <a:pt x="72" y="403"/>
                  </a:lnTo>
                  <a:lnTo>
                    <a:pt x="85" y="442"/>
                  </a:lnTo>
                  <a:lnTo>
                    <a:pt x="102" y="478"/>
                  </a:lnTo>
                  <a:lnTo>
                    <a:pt x="125" y="511"/>
                  </a:lnTo>
                  <a:lnTo>
                    <a:pt x="152" y="540"/>
                  </a:lnTo>
                  <a:lnTo>
                    <a:pt x="184" y="564"/>
                  </a:lnTo>
                  <a:lnTo>
                    <a:pt x="219" y="585"/>
                  </a:lnTo>
                  <a:lnTo>
                    <a:pt x="256" y="600"/>
                  </a:lnTo>
                  <a:lnTo>
                    <a:pt x="296" y="609"/>
                  </a:lnTo>
                  <a:lnTo>
                    <a:pt x="337" y="612"/>
                  </a:lnTo>
                  <a:lnTo>
                    <a:pt x="360" y="611"/>
                  </a:lnTo>
                  <a:lnTo>
                    <a:pt x="396" y="606"/>
                  </a:lnTo>
                  <a:lnTo>
                    <a:pt x="431" y="596"/>
                  </a:lnTo>
                  <a:lnTo>
                    <a:pt x="462" y="582"/>
                  </a:lnTo>
                  <a:lnTo>
                    <a:pt x="493" y="564"/>
                  </a:lnTo>
                  <a:lnTo>
                    <a:pt x="521" y="541"/>
                  </a:lnTo>
                  <a:lnTo>
                    <a:pt x="546" y="515"/>
                  </a:lnTo>
                  <a:lnTo>
                    <a:pt x="568" y="486"/>
                  </a:lnTo>
                  <a:lnTo>
                    <a:pt x="585" y="455"/>
                  </a:lnTo>
                  <a:lnTo>
                    <a:pt x="598" y="421"/>
                  </a:lnTo>
                  <a:lnTo>
                    <a:pt x="606" y="387"/>
                  </a:lnTo>
                  <a:lnTo>
                    <a:pt x="610" y="351"/>
                  </a:lnTo>
                  <a:lnTo>
                    <a:pt x="609" y="315"/>
                  </a:lnTo>
                  <a:lnTo>
                    <a:pt x="603" y="274"/>
                  </a:lnTo>
                  <a:lnTo>
                    <a:pt x="591" y="236"/>
                  </a:lnTo>
                  <a:lnTo>
                    <a:pt x="572" y="199"/>
                  </a:lnTo>
                  <a:lnTo>
                    <a:pt x="549" y="166"/>
                  </a:lnTo>
                  <a:lnTo>
                    <a:pt x="522" y="137"/>
                  </a:lnTo>
                  <a:lnTo>
                    <a:pt x="491" y="112"/>
                  </a:lnTo>
                  <a:lnTo>
                    <a:pt x="457" y="92"/>
                  </a:lnTo>
                  <a:lnTo>
                    <a:pt x="419" y="77"/>
                  </a:lnTo>
                  <a:lnTo>
                    <a:pt x="380" y="68"/>
                  </a:lnTo>
                  <a:lnTo>
                    <a:pt x="338" y="64"/>
                  </a:lnTo>
                  <a:close/>
                  <a:moveTo>
                    <a:pt x="338" y="0"/>
                  </a:moveTo>
                  <a:lnTo>
                    <a:pt x="385" y="3"/>
                  </a:lnTo>
                  <a:lnTo>
                    <a:pt x="430" y="13"/>
                  </a:lnTo>
                  <a:lnTo>
                    <a:pt x="472" y="28"/>
                  </a:lnTo>
                  <a:lnTo>
                    <a:pt x="512" y="49"/>
                  </a:lnTo>
                  <a:lnTo>
                    <a:pt x="548" y="75"/>
                  </a:lnTo>
                  <a:lnTo>
                    <a:pt x="582" y="106"/>
                  </a:lnTo>
                  <a:lnTo>
                    <a:pt x="610" y="140"/>
                  </a:lnTo>
                  <a:lnTo>
                    <a:pt x="634" y="178"/>
                  </a:lnTo>
                  <a:lnTo>
                    <a:pt x="653" y="219"/>
                  </a:lnTo>
                  <a:lnTo>
                    <a:pt x="667" y="263"/>
                  </a:lnTo>
                  <a:lnTo>
                    <a:pt x="673" y="310"/>
                  </a:lnTo>
                  <a:lnTo>
                    <a:pt x="674" y="355"/>
                  </a:lnTo>
                  <a:lnTo>
                    <a:pt x="670" y="398"/>
                  </a:lnTo>
                  <a:lnTo>
                    <a:pt x="659" y="441"/>
                  </a:lnTo>
                  <a:lnTo>
                    <a:pt x="643" y="482"/>
                  </a:lnTo>
                  <a:lnTo>
                    <a:pt x="622" y="521"/>
                  </a:lnTo>
                  <a:lnTo>
                    <a:pt x="595" y="557"/>
                  </a:lnTo>
                  <a:lnTo>
                    <a:pt x="564" y="589"/>
                  </a:lnTo>
                  <a:lnTo>
                    <a:pt x="530" y="617"/>
                  </a:lnTo>
                  <a:lnTo>
                    <a:pt x="493" y="640"/>
                  </a:lnTo>
                  <a:lnTo>
                    <a:pt x="452" y="657"/>
                  </a:lnTo>
                  <a:lnTo>
                    <a:pt x="410" y="669"/>
                  </a:lnTo>
                  <a:lnTo>
                    <a:pt x="365" y="676"/>
                  </a:lnTo>
                  <a:lnTo>
                    <a:pt x="337" y="677"/>
                  </a:lnTo>
                  <a:lnTo>
                    <a:pt x="290" y="673"/>
                  </a:lnTo>
                  <a:lnTo>
                    <a:pt x="246" y="664"/>
                  </a:lnTo>
                  <a:lnTo>
                    <a:pt x="202" y="648"/>
                  </a:lnTo>
                  <a:lnTo>
                    <a:pt x="163" y="628"/>
                  </a:lnTo>
                  <a:lnTo>
                    <a:pt x="126" y="601"/>
                  </a:lnTo>
                  <a:lnTo>
                    <a:pt x="93" y="572"/>
                  </a:lnTo>
                  <a:lnTo>
                    <a:pt x="64" y="537"/>
                  </a:lnTo>
                  <a:lnTo>
                    <a:pt x="40" y="499"/>
                  </a:lnTo>
                  <a:lnTo>
                    <a:pt x="22" y="457"/>
                  </a:lnTo>
                  <a:lnTo>
                    <a:pt x="9" y="414"/>
                  </a:lnTo>
                  <a:lnTo>
                    <a:pt x="1" y="367"/>
                  </a:lnTo>
                  <a:lnTo>
                    <a:pt x="0" y="322"/>
                  </a:lnTo>
                  <a:lnTo>
                    <a:pt x="5" y="278"/>
                  </a:lnTo>
                  <a:lnTo>
                    <a:pt x="15" y="236"/>
                  </a:lnTo>
                  <a:lnTo>
                    <a:pt x="31" y="195"/>
                  </a:lnTo>
                  <a:lnTo>
                    <a:pt x="53" y="156"/>
                  </a:lnTo>
                  <a:lnTo>
                    <a:pt x="79" y="120"/>
                  </a:lnTo>
                  <a:lnTo>
                    <a:pt x="111" y="87"/>
                  </a:lnTo>
                  <a:lnTo>
                    <a:pt x="145" y="60"/>
                  </a:lnTo>
                  <a:lnTo>
                    <a:pt x="183" y="37"/>
                  </a:lnTo>
                  <a:lnTo>
                    <a:pt x="223" y="20"/>
                  </a:lnTo>
                  <a:lnTo>
                    <a:pt x="265" y="8"/>
                  </a:lnTo>
                  <a:lnTo>
                    <a:pt x="309" y="1"/>
                  </a:lnTo>
                  <a:lnTo>
                    <a:pt x="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Freeform 41">
              <a:extLst>
                <a:ext uri="{FF2B5EF4-FFF2-40B4-BE49-F238E27FC236}">
                  <a16:creationId xmlns:a16="http://schemas.microsoft.com/office/drawing/2014/main" xmlns="" id="{2DB87D47-C454-4919-AA4A-CA9E1D437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0" y="1622"/>
              <a:ext cx="56" cy="56"/>
            </a:xfrm>
            <a:custGeom>
              <a:avLst/>
              <a:gdLst>
                <a:gd name="T0" fmla="*/ 246 w 561"/>
                <a:gd name="T1" fmla="*/ 68 h 564"/>
                <a:gd name="T2" fmla="*/ 183 w 561"/>
                <a:gd name="T3" fmla="*/ 89 h 564"/>
                <a:gd name="T4" fmla="*/ 130 w 561"/>
                <a:gd name="T5" fmla="*/ 128 h 564"/>
                <a:gd name="T6" fmla="*/ 89 w 561"/>
                <a:gd name="T7" fmla="*/ 181 h 564"/>
                <a:gd name="T8" fmla="*/ 68 w 561"/>
                <a:gd name="T9" fmla="*/ 245 h 564"/>
                <a:gd name="T10" fmla="*/ 66 w 561"/>
                <a:gd name="T11" fmla="*/ 315 h 564"/>
                <a:gd name="T12" fmla="*/ 87 w 561"/>
                <a:gd name="T13" fmla="*/ 379 h 564"/>
                <a:gd name="T14" fmla="*/ 126 w 561"/>
                <a:gd name="T15" fmla="*/ 434 h 564"/>
                <a:gd name="T16" fmla="*/ 180 w 561"/>
                <a:gd name="T17" fmla="*/ 474 h 564"/>
                <a:gd name="T18" fmla="*/ 244 w 561"/>
                <a:gd name="T19" fmla="*/ 496 h 564"/>
                <a:gd name="T20" fmla="*/ 281 w 561"/>
                <a:gd name="T21" fmla="*/ 499 h 564"/>
                <a:gd name="T22" fmla="*/ 348 w 561"/>
                <a:gd name="T23" fmla="*/ 488 h 564"/>
                <a:gd name="T24" fmla="*/ 408 w 561"/>
                <a:gd name="T25" fmla="*/ 458 h 564"/>
                <a:gd name="T26" fmla="*/ 455 w 561"/>
                <a:gd name="T27" fmla="*/ 412 h 564"/>
                <a:gd name="T28" fmla="*/ 486 w 561"/>
                <a:gd name="T29" fmla="*/ 353 h 564"/>
                <a:gd name="T30" fmla="*/ 497 w 561"/>
                <a:gd name="T31" fmla="*/ 285 h 564"/>
                <a:gd name="T32" fmla="*/ 487 w 561"/>
                <a:gd name="T33" fmla="*/ 218 h 564"/>
                <a:gd name="T34" fmla="*/ 458 w 561"/>
                <a:gd name="T35" fmla="*/ 157 h 564"/>
                <a:gd name="T36" fmla="*/ 410 w 561"/>
                <a:gd name="T37" fmla="*/ 107 h 564"/>
                <a:gd name="T38" fmla="*/ 350 w 561"/>
                <a:gd name="T39" fmla="*/ 77 h 564"/>
                <a:gd name="T40" fmla="*/ 284 w 561"/>
                <a:gd name="T41" fmla="*/ 65 h 564"/>
                <a:gd name="T42" fmla="*/ 281 w 561"/>
                <a:gd name="T43" fmla="*/ 0 h 564"/>
                <a:gd name="T44" fmla="*/ 321 w 561"/>
                <a:gd name="T45" fmla="*/ 4 h 564"/>
                <a:gd name="T46" fmla="*/ 392 w 561"/>
                <a:gd name="T47" fmla="*/ 23 h 564"/>
                <a:gd name="T48" fmla="*/ 454 w 561"/>
                <a:gd name="T49" fmla="*/ 60 h 564"/>
                <a:gd name="T50" fmla="*/ 506 w 561"/>
                <a:gd name="T51" fmla="*/ 114 h 564"/>
                <a:gd name="T52" fmla="*/ 542 w 561"/>
                <a:gd name="T53" fmla="*/ 177 h 564"/>
                <a:gd name="T54" fmla="*/ 560 w 561"/>
                <a:gd name="T55" fmla="*/ 248 h 564"/>
                <a:gd name="T56" fmla="*/ 558 w 561"/>
                <a:gd name="T57" fmla="*/ 327 h 564"/>
                <a:gd name="T58" fmla="*/ 534 w 561"/>
                <a:gd name="T59" fmla="*/ 403 h 564"/>
                <a:gd name="T60" fmla="*/ 492 w 561"/>
                <a:gd name="T61" fmla="*/ 469 h 564"/>
                <a:gd name="T62" fmla="*/ 433 w 561"/>
                <a:gd name="T63" fmla="*/ 519 h 564"/>
                <a:gd name="T64" fmla="*/ 361 w 561"/>
                <a:gd name="T65" fmla="*/ 553 h 564"/>
                <a:gd name="T66" fmla="*/ 281 w 561"/>
                <a:gd name="T67" fmla="*/ 564 h 564"/>
                <a:gd name="T68" fmla="*/ 236 w 561"/>
                <a:gd name="T69" fmla="*/ 560 h 564"/>
                <a:gd name="T70" fmla="*/ 160 w 561"/>
                <a:gd name="T71" fmla="*/ 536 h 564"/>
                <a:gd name="T72" fmla="*/ 95 w 561"/>
                <a:gd name="T73" fmla="*/ 493 h 564"/>
                <a:gd name="T74" fmla="*/ 44 w 561"/>
                <a:gd name="T75" fmla="*/ 433 h 564"/>
                <a:gd name="T76" fmla="*/ 11 w 561"/>
                <a:gd name="T77" fmla="*/ 361 h 564"/>
                <a:gd name="T78" fmla="*/ 0 w 561"/>
                <a:gd name="T79" fmla="*/ 279 h 564"/>
                <a:gd name="T80" fmla="*/ 13 w 561"/>
                <a:gd name="T81" fmla="*/ 199 h 564"/>
                <a:gd name="T82" fmla="*/ 47 w 561"/>
                <a:gd name="T83" fmla="*/ 127 h 564"/>
                <a:gd name="T84" fmla="*/ 98 w 561"/>
                <a:gd name="T85" fmla="*/ 69 h 564"/>
                <a:gd name="T86" fmla="*/ 164 w 561"/>
                <a:gd name="T87" fmla="*/ 27 h 564"/>
                <a:gd name="T88" fmla="*/ 241 w 561"/>
                <a:gd name="T89" fmla="*/ 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1" h="564">
                  <a:moveTo>
                    <a:pt x="281" y="65"/>
                  </a:moveTo>
                  <a:lnTo>
                    <a:pt x="246" y="68"/>
                  </a:lnTo>
                  <a:lnTo>
                    <a:pt x="213" y="76"/>
                  </a:lnTo>
                  <a:lnTo>
                    <a:pt x="183" y="89"/>
                  </a:lnTo>
                  <a:lnTo>
                    <a:pt x="155" y="106"/>
                  </a:lnTo>
                  <a:lnTo>
                    <a:pt x="130" y="128"/>
                  </a:lnTo>
                  <a:lnTo>
                    <a:pt x="108" y="153"/>
                  </a:lnTo>
                  <a:lnTo>
                    <a:pt x="89" y="181"/>
                  </a:lnTo>
                  <a:lnTo>
                    <a:pt x="76" y="212"/>
                  </a:lnTo>
                  <a:lnTo>
                    <a:pt x="68" y="245"/>
                  </a:lnTo>
                  <a:lnTo>
                    <a:pt x="64" y="280"/>
                  </a:lnTo>
                  <a:lnTo>
                    <a:pt x="66" y="315"/>
                  </a:lnTo>
                  <a:lnTo>
                    <a:pt x="75" y="349"/>
                  </a:lnTo>
                  <a:lnTo>
                    <a:pt x="87" y="379"/>
                  </a:lnTo>
                  <a:lnTo>
                    <a:pt x="105" y="409"/>
                  </a:lnTo>
                  <a:lnTo>
                    <a:pt x="126" y="434"/>
                  </a:lnTo>
                  <a:lnTo>
                    <a:pt x="151" y="456"/>
                  </a:lnTo>
                  <a:lnTo>
                    <a:pt x="180" y="474"/>
                  </a:lnTo>
                  <a:lnTo>
                    <a:pt x="210" y="487"/>
                  </a:lnTo>
                  <a:lnTo>
                    <a:pt x="244" y="496"/>
                  </a:lnTo>
                  <a:lnTo>
                    <a:pt x="279" y="499"/>
                  </a:lnTo>
                  <a:lnTo>
                    <a:pt x="281" y="499"/>
                  </a:lnTo>
                  <a:lnTo>
                    <a:pt x="316" y="497"/>
                  </a:lnTo>
                  <a:lnTo>
                    <a:pt x="348" y="488"/>
                  </a:lnTo>
                  <a:lnTo>
                    <a:pt x="380" y="475"/>
                  </a:lnTo>
                  <a:lnTo>
                    <a:pt x="408" y="458"/>
                  </a:lnTo>
                  <a:lnTo>
                    <a:pt x="433" y="437"/>
                  </a:lnTo>
                  <a:lnTo>
                    <a:pt x="455" y="412"/>
                  </a:lnTo>
                  <a:lnTo>
                    <a:pt x="472" y="384"/>
                  </a:lnTo>
                  <a:lnTo>
                    <a:pt x="486" y="353"/>
                  </a:lnTo>
                  <a:lnTo>
                    <a:pt x="494" y="319"/>
                  </a:lnTo>
                  <a:lnTo>
                    <a:pt x="497" y="285"/>
                  </a:lnTo>
                  <a:lnTo>
                    <a:pt x="495" y="250"/>
                  </a:lnTo>
                  <a:lnTo>
                    <a:pt x="487" y="218"/>
                  </a:lnTo>
                  <a:lnTo>
                    <a:pt x="476" y="186"/>
                  </a:lnTo>
                  <a:lnTo>
                    <a:pt x="458" y="157"/>
                  </a:lnTo>
                  <a:lnTo>
                    <a:pt x="436" y="130"/>
                  </a:lnTo>
                  <a:lnTo>
                    <a:pt x="410" y="107"/>
                  </a:lnTo>
                  <a:lnTo>
                    <a:pt x="382" y="90"/>
                  </a:lnTo>
                  <a:lnTo>
                    <a:pt x="350" y="77"/>
                  </a:lnTo>
                  <a:lnTo>
                    <a:pt x="318" y="68"/>
                  </a:lnTo>
                  <a:lnTo>
                    <a:pt x="284" y="65"/>
                  </a:lnTo>
                  <a:lnTo>
                    <a:pt x="281" y="65"/>
                  </a:lnTo>
                  <a:close/>
                  <a:moveTo>
                    <a:pt x="281" y="0"/>
                  </a:moveTo>
                  <a:lnTo>
                    <a:pt x="284" y="0"/>
                  </a:lnTo>
                  <a:lnTo>
                    <a:pt x="321" y="4"/>
                  </a:lnTo>
                  <a:lnTo>
                    <a:pt x="357" y="11"/>
                  </a:lnTo>
                  <a:lnTo>
                    <a:pt x="392" y="23"/>
                  </a:lnTo>
                  <a:lnTo>
                    <a:pt x="424" y="40"/>
                  </a:lnTo>
                  <a:lnTo>
                    <a:pt x="454" y="60"/>
                  </a:lnTo>
                  <a:lnTo>
                    <a:pt x="482" y="86"/>
                  </a:lnTo>
                  <a:lnTo>
                    <a:pt x="506" y="114"/>
                  </a:lnTo>
                  <a:lnTo>
                    <a:pt x="527" y="145"/>
                  </a:lnTo>
                  <a:lnTo>
                    <a:pt x="542" y="177"/>
                  </a:lnTo>
                  <a:lnTo>
                    <a:pt x="553" y="212"/>
                  </a:lnTo>
                  <a:lnTo>
                    <a:pt x="560" y="248"/>
                  </a:lnTo>
                  <a:lnTo>
                    <a:pt x="561" y="285"/>
                  </a:lnTo>
                  <a:lnTo>
                    <a:pt x="558" y="327"/>
                  </a:lnTo>
                  <a:lnTo>
                    <a:pt x="549" y="366"/>
                  </a:lnTo>
                  <a:lnTo>
                    <a:pt x="534" y="403"/>
                  </a:lnTo>
                  <a:lnTo>
                    <a:pt x="516" y="437"/>
                  </a:lnTo>
                  <a:lnTo>
                    <a:pt x="492" y="469"/>
                  </a:lnTo>
                  <a:lnTo>
                    <a:pt x="464" y="496"/>
                  </a:lnTo>
                  <a:lnTo>
                    <a:pt x="433" y="519"/>
                  </a:lnTo>
                  <a:lnTo>
                    <a:pt x="398" y="539"/>
                  </a:lnTo>
                  <a:lnTo>
                    <a:pt x="361" y="553"/>
                  </a:lnTo>
                  <a:lnTo>
                    <a:pt x="322" y="562"/>
                  </a:lnTo>
                  <a:lnTo>
                    <a:pt x="281" y="564"/>
                  </a:lnTo>
                  <a:lnTo>
                    <a:pt x="278" y="564"/>
                  </a:lnTo>
                  <a:lnTo>
                    <a:pt x="236" y="560"/>
                  </a:lnTo>
                  <a:lnTo>
                    <a:pt x="197" y="552"/>
                  </a:lnTo>
                  <a:lnTo>
                    <a:pt x="160" y="536"/>
                  </a:lnTo>
                  <a:lnTo>
                    <a:pt x="125" y="517"/>
                  </a:lnTo>
                  <a:lnTo>
                    <a:pt x="95" y="493"/>
                  </a:lnTo>
                  <a:lnTo>
                    <a:pt x="68" y="464"/>
                  </a:lnTo>
                  <a:lnTo>
                    <a:pt x="44" y="433"/>
                  </a:lnTo>
                  <a:lnTo>
                    <a:pt x="25" y="398"/>
                  </a:lnTo>
                  <a:lnTo>
                    <a:pt x="11" y="361"/>
                  </a:lnTo>
                  <a:lnTo>
                    <a:pt x="2" y="320"/>
                  </a:lnTo>
                  <a:lnTo>
                    <a:pt x="0" y="279"/>
                  </a:lnTo>
                  <a:lnTo>
                    <a:pt x="3" y="237"/>
                  </a:lnTo>
                  <a:lnTo>
                    <a:pt x="13" y="199"/>
                  </a:lnTo>
                  <a:lnTo>
                    <a:pt x="27" y="162"/>
                  </a:lnTo>
                  <a:lnTo>
                    <a:pt x="47" y="127"/>
                  </a:lnTo>
                  <a:lnTo>
                    <a:pt x="71" y="96"/>
                  </a:lnTo>
                  <a:lnTo>
                    <a:pt x="98" y="69"/>
                  </a:lnTo>
                  <a:lnTo>
                    <a:pt x="130" y="45"/>
                  </a:lnTo>
                  <a:lnTo>
                    <a:pt x="164" y="27"/>
                  </a:lnTo>
                  <a:lnTo>
                    <a:pt x="201" y="12"/>
                  </a:lnTo>
                  <a:lnTo>
                    <a:pt x="241" y="4"/>
                  </a:lnTo>
                  <a:lnTo>
                    <a:pt x="2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Freeform 42">
              <a:extLst>
                <a:ext uri="{FF2B5EF4-FFF2-40B4-BE49-F238E27FC236}">
                  <a16:creationId xmlns:a16="http://schemas.microsoft.com/office/drawing/2014/main" xmlns="" id="{96111E94-6EDA-4FCF-89BD-A953C770C6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5" y="1578"/>
              <a:ext cx="146" cy="146"/>
            </a:xfrm>
            <a:custGeom>
              <a:avLst/>
              <a:gdLst>
                <a:gd name="T0" fmla="*/ 635 w 1458"/>
                <a:gd name="T1" fmla="*/ 102 h 1463"/>
                <a:gd name="T2" fmla="*/ 507 w 1458"/>
                <a:gd name="T3" fmla="*/ 238 h 1463"/>
                <a:gd name="T4" fmla="*/ 355 w 1458"/>
                <a:gd name="T5" fmla="*/ 206 h 1463"/>
                <a:gd name="T6" fmla="*/ 229 w 1458"/>
                <a:gd name="T7" fmla="*/ 290 h 1463"/>
                <a:gd name="T8" fmla="*/ 223 w 1458"/>
                <a:gd name="T9" fmla="*/ 373 h 1463"/>
                <a:gd name="T10" fmla="*/ 215 w 1458"/>
                <a:gd name="T11" fmla="*/ 586 h 1463"/>
                <a:gd name="T12" fmla="*/ 76 w 1458"/>
                <a:gd name="T13" fmla="*/ 644 h 1463"/>
                <a:gd name="T14" fmla="*/ 74 w 1458"/>
                <a:gd name="T15" fmla="*/ 809 h 1463"/>
                <a:gd name="T16" fmla="*/ 216 w 1458"/>
                <a:gd name="T17" fmla="*/ 870 h 1463"/>
                <a:gd name="T18" fmla="*/ 214 w 1458"/>
                <a:gd name="T19" fmla="*/ 1078 h 1463"/>
                <a:gd name="T20" fmla="*/ 218 w 1458"/>
                <a:gd name="T21" fmla="*/ 1161 h 1463"/>
                <a:gd name="T22" fmla="*/ 343 w 1458"/>
                <a:gd name="T23" fmla="*/ 1247 h 1463"/>
                <a:gd name="T24" fmla="*/ 499 w 1458"/>
                <a:gd name="T25" fmla="*/ 1210 h 1463"/>
                <a:gd name="T26" fmla="*/ 613 w 1458"/>
                <a:gd name="T27" fmla="*/ 1359 h 1463"/>
                <a:gd name="T28" fmla="*/ 767 w 1458"/>
                <a:gd name="T29" fmla="*/ 1399 h 1463"/>
                <a:gd name="T30" fmla="*/ 829 w 1458"/>
                <a:gd name="T31" fmla="*/ 1344 h 1463"/>
                <a:gd name="T32" fmla="*/ 990 w 1458"/>
                <a:gd name="T33" fmla="*/ 1198 h 1463"/>
                <a:gd name="T34" fmla="*/ 1118 w 1458"/>
                <a:gd name="T35" fmla="*/ 1258 h 1463"/>
                <a:gd name="T36" fmla="*/ 1240 w 1458"/>
                <a:gd name="T37" fmla="*/ 1158 h 1463"/>
                <a:gd name="T38" fmla="*/ 1181 w 1458"/>
                <a:gd name="T39" fmla="*/ 1020 h 1463"/>
                <a:gd name="T40" fmla="*/ 1253 w 1458"/>
                <a:gd name="T41" fmla="*/ 855 h 1463"/>
                <a:gd name="T42" fmla="*/ 1390 w 1458"/>
                <a:gd name="T43" fmla="*/ 804 h 1463"/>
                <a:gd name="T44" fmla="*/ 1373 w 1458"/>
                <a:gd name="T45" fmla="*/ 641 h 1463"/>
                <a:gd name="T46" fmla="*/ 1239 w 1458"/>
                <a:gd name="T47" fmla="*/ 550 h 1463"/>
                <a:gd name="T48" fmla="*/ 1253 w 1458"/>
                <a:gd name="T49" fmla="*/ 370 h 1463"/>
                <a:gd name="T50" fmla="*/ 1173 w 1458"/>
                <a:gd name="T51" fmla="*/ 234 h 1463"/>
                <a:gd name="T52" fmla="*/ 1102 w 1458"/>
                <a:gd name="T53" fmla="*/ 222 h 1463"/>
                <a:gd name="T54" fmla="*/ 923 w 1458"/>
                <a:gd name="T55" fmla="*/ 224 h 1463"/>
                <a:gd name="T56" fmla="*/ 835 w 1458"/>
                <a:gd name="T57" fmla="*/ 88 h 1463"/>
                <a:gd name="T58" fmla="*/ 692 w 1458"/>
                <a:gd name="T59" fmla="*/ 0 h 1463"/>
                <a:gd name="T60" fmla="*/ 862 w 1458"/>
                <a:gd name="T61" fmla="*/ 26 h 1463"/>
                <a:gd name="T62" fmla="*/ 917 w 1458"/>
                <a:gd name="T63" fmla="*/ 154 h 1463"/>
                <a:gd name="T64" fmla="*/ 1101 w 1458"/>
                <a:gd name="T65" fmla="*/ 154 h 1463"/>
                <a:gd name="T66" fmla="*/ 1219 w 1458"/>
                <a:gd name="T67" fmla="*/ 189 h 1463"/>
                <a:gd name="T68" fmla="*/ 1321 w 1458"/>
                <a:gd name="T69" fmla="*/ 354 h 1463"/>
                <a:gd name="T70" fmla="*/ 1290 w 1458"/>
                <a:gd name="T71" fmla="*/ 506 h 1463"/>
                <a:gd name="T72" fmla="*/ 1418 w 1458"/>
                <a:gd name="T73" fmla="*/ 595 h 1463"/>
                <a:gd name="T74" fmla="*/ 1457 w 1458"/>
                <a:gd name="T75" fmla="*/ 785 h 1463"/>
                <a:gd name="T76" fmla="*/ 1394 w 1458"/>
                <a:gd name="T77" fmla="*/ 894 h 1463"/>
                <a:gd name="T78" fmla="*/ 1258 w 1458"/>
                <a:gd name="T79" fmla="*/ 1015 h 1463"/>
                <a:gd name="T80" fmla="*/ 1311 w 1458"/>
                <a:gd name="T81" fmla="*/ 1150 h 1463"/>
                <a:gd name="T82" fmla="*/ 1187 w 1458"/>
                <a:gd name="T83" fmla="*/ 1301 h 1463"/>
                <a:gd name="T84" fmla="*/ 1076 w 1458"/>
                <a:gd name="T85" fmla="*/ 1316 h 1463"/>
                <a:gd name="T86" fmla="*/ 898 w 1458"/>
                <a:gd name="T87" fmla="*/ 1305 h 1463"/>
                <a:gd name="T88" fmla="*/ 841 w 1458"/>
                <a:gd name="T89" fmla="*/ 1439 h 1463"/>
                <a:gd name="T90" fmla="*/ 670 w 1458"/>
                <a:gd name="T91" fmla="*/ 1462 h 1463"/>
                <a:gd name="T92" fmla="*/ 561 w 1458"/>
                <a:gd name="T93" fmla="*/ 1399 h 1463"/>
                <a:gd name="T94" fmla="*/ 447 w 1458"/>
                <a:gd name="T95" fmla="*/ 1256 h 1463"/>
                <a:gd name="T96" fmla="*/ 329 w 1458"/>
                <a:gd name="T97" fmla="*/ 1312 h 1463"/>
                <a:gd name="T98" fmla="*/ 172 w 1458"/>
                <a:gd name="T99" fmla="*/ 1205 h 1463"/>
                <a:gd name="T100" fmla="*/ 140 w 1458"/>
                <a:gd name="T101" fmla="*/ 1084 h 1463"/>
                <a:gd name="T102" fmla="*/ 160 w 1458"/>
                <a:gd name="T103" fmla="*/ 908 h 1463"/>
                <a:gd name="T104" fmla="*/ 22 w 1458"/>
                <a:gd name="T105" fmla="*/ 848 h 1463"/>
                <a:gd name="T106" fmla="*/ 4 w 1458"/>
                <a:gd name="T107" fmla="*/ 651 h 1463"/>
                <a:gd name="T108" fmla="*/ 88 w 1458"/>
                <a:gd name="T109" fmla="*/ 559 h 1463"/>
                <a:gd name="T110" fmla="*/ 173 w 1458"/>
                <a:gd name="T111" fmla="*/ 413 h 1463"/>
                <a:gd name="T112" fmla="*/ 154 w 1458"/>
                <a:gd name="T113" fmla="*/ 288 h 1463"/>
                <a:gd name="T114" fmla="*/ 293 w 1458"/>
                <a:gd name="T115" fmla="*/ 150 h 1463"/>
                <a:gd name="T116" fmla="*/ 403 w 1458"/>
                <a:gd name="T117" fmla="*/ 157 h 1463"/>
                <a:gd name="T118" fmla="*/ 566 w 1458"/>
                <a:gd name="T119" fmla="*/ 111 h 1463"/>
                <a:gd name="T120" fmla="*/ 640 w 1458"/>
                <a:gd name="T121" fmla="*/ 11 h 1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58" h="1463">
                  <a:moveTo>
                    <a:pt x="692" y="64"/>
                  </a:moveTo>
                  <a:lnTo>
                    <a:pt x="673" y="68"/>
                  </a:lnTo>
                  <a:lnTo>
                    <a:pt x="658" y="75"/>
                  </a:lnTo>
                  <a:lnTo>
                    <a:pt x="644" y="86"/>
                  </a:lnTo>
                  <a:lnTo>
                    <a:pt x="635" y="102"/>
                  </a:lnTo>
                  <a:lnTo>
                    <a:pt x="630" y="119"/>
                  </a:lnTo>
                  <a:lnTo>
                    <a:pt x="620" y="200"/>
                  </a:lnTo>
                  <a:lnTo>
                    <a:pt x="598" y="205"/>
                  </a:lnTo>
                  <a:lnTo>
                    <a:pt x="552" y="220"/>
                  </a:lnTo>
                  <a:lnTo>
                    <a:pt x="507" y="238"/>
                  </a:lnTo>
                  <a:lnTo>
                    <a:pt x="464" y="261"/>
                  </a:lnTo>
                  <a:lnTo>
                    <a:pt x="445" y="272"/>
                  </a:lnTo>
                  <a:lnTo>
                    <a:pt x="380" y="220"/>
                  </a:lnTo>
                  <a:lnTo>
                    <a:pt x="368" y="212"/>
                  </a:lnTo>
                  <a:lnTo>
                    <a:pt x="355" y="206"/>
                  </a:lnTo>
                  <a:lnTo>
                    <a:pt x="341" y="205"/>
                  </a:lnTo>
                  <a:lnTo>
                    <a:pt x="325" y="207"/>
                  </a:lnTo>
                  <a:lnTo>
                    <a:pt x="311" y="213"/>
                  </a:lnTo>
                  <a:lnTo>
                    <a:pt x="298" y="223"/>
                  </a:lnTo>
                  <a:lnTo>
                    <a:pt x="229" y="290"/>
                  </a:lnTo>
                  <a:lnTo>
                    <a:pt x="217" y="305"/>
                  </a:lnTo>
                  <a:lnTo>
                    <a:pt x="212" y="322"/>
                  </a:lnTo>
                  <a:lnTo>
                    <a:pt x="211" y="340"/>
                  </a:lnTo>
                  <a:lnTo>
                    <a:pt x="214" y="357"/>
                  </a:lnTo>
                  <a:lnTo>
                    <a:pt x="223" y="373"/>
                  </a:lnTo>
                  <a:lnTo>
                    <a:pt x="277" y="443"/>
                  </a:lnTo>
                  <a:lnTo>
                    <a:pt x="266" y="462"/>
                  </a:lnTo>
                  <a:lnTo>
                    <a:pt x="245" y="502"/>
                  </a:lnTo>
                  <a:lnTo>
                    <a:pt x="228" y="545"/>
                  </a:lnTo>
                  <a:lnTo>
                    <a:pt x="215" y="586"/>
                  </a:lnTo>
                  <a:lnTo>
                    <a:pt x="210" y="608"/>
                  </a:lnTo>
                  <a:lnTo>
                    <a:pt x="121" y="617"/>
                  </a:lnTo>
                  <a:lnTo>
                    <a:pt x="103" y="622"/>
                  </a:lnTo>
                  <a:lnTo>
                    <a:pt x="88" y="631"/>
                  </a:lnTo>
                  <a:lnTo>
                    <a:pt x="76" y="644"/>
                  </a:lnTo>
                  <a:lnTo>
                    <a:pt x="68" y="661"/>
                  </a:lnTo>
                  <a:lnTo>
                    <a:pt x="65" y="679"/>
                  </a:lnTo>
                  <a:lnTo>
                    <a:pt x="64" y="775"/>
                  </a:lnTo>
                  <a:lnTo>
                    <a:pt x="67" y="793"/>
                  </a:lnTo>
                  <a:lnTo>
                    <a:pt x="74" y="809"/>
                  </a:lnTo>
                  <a:lnTo>
                    <a:pt x="86" y="823"/>
                  </a:lnTo>
                  <a:lnTo>
                    <a:pt x="101" y="833"/>
                  </a:lnTo>
                  <a:lnTo>
                    <a:pt x="118" y="837"/>
                  </a:lnTo>
                  <a:lnTo>
                    <a:pt x="210" y="849"/>
                  </a:lnTo>
                  <a:lnTo>
                    <a:pt x="216" y="870"/>
                  </a:lnTo>
                  <a:lnTo>
                    <a:pt x="228" y="909"/>
                  </a:lnTo>
                  <a:lnTo>
                    <a:pt x="244" y="949"/>
                  </a:lnTo>
                  <a:lnTo>
                    <a:pt x="263" y="986"/>
                  </a:lnTo>
                  <a:lnTo>
                    <a:pt x="274" y="1004"/>
                  </a:lnTo>
                  <a:lnTo>
                    <a:pt x="214" y="1078"/>
                  </a:lnTo>
                  <a:lnTo>
                    <a:pt x="205" y="1094"/>
                  </a:lnTo>
                  <a:lnTo>
                    <a:pt x="201" y="1111"/>
                  </a:lnTo>
                  <a:lnTo>
                    <a:pt x="202" y="1129"/>
                  </a:lnTo>
                  <a:lnTo>
                    <a:pt x="207" y="1145"/>
                  </a:lnTo>
                  <a:lnTo>
                    <a:pt x="218" y="1161"/>
                  </a:lnTo>
                  <a:lnTo>
                    <a:pt x="285" y="1229"/>
                  </a:lnTo>
                  <a:lnTo>
                    <a:pt x="298" y="1239"/>
                  </a:lnTo>
                  <a:lnTo>
                    <a:pt x="313" y="1246"/>
                  </a:lnTo>
                  <a:lnTo>
                    <a:pt x="329" y="1248"/>
                  </a:lnTo>
                  <a:lnTo>
                    <a:pt x="343" y="1247"/>
                  </a:lnTo>
                  <a:lnTo>
                    <a:pt x="356" y="1242"/>
                  </a:lnTo>
                  <a:lnTo>
                    <a:pt x="367" y="1235"/>
                  </a:lnTo>
                  <a:lnTo>
                    <a:pt x="441" y="1178"/>
                  </a:lnTo>
                  <a:lnTo>
                    <a:pt x="460" y="1189"/>
                  </a:lnTo>
                  <a:lnTo>
                    <a:pt x="499" y="1210"/>
                  </a:lnTo>
                  <a:lnTo>
                    <a:pt x="538" y="1227"/>
                  </a:lnTo>
                  <a:lnTo>
                    <a:pt x="578" y="1241"/>
                  </a:lnTo>
                  <a:lnTo>
                    <a:pt x="599" y="1247"/>
                  </a:lnTo>
                  <a:lnTo>
                    <a:pt x="609" y="1342"/>
                  </a:lnTo>
                  <a:lnTo>
                    <a:pt x="613" y="1359"/>
                  </a:lnTo>
                  <a:lnTo>
                    <a:pt x="623" y="1375"/>
                  </a:lnTo>
                  <a:lnTo>
                    <a:pt x="636" y="1387"/>
                  </a:lnTo>
                  <a:lnTo>
                    <a:pt x="651" y="1394"/>
                  </a:lnTo>
                  <a:lnTo>
                    <a:pt x="670" y="1397"/>
                  </a:lnTo>
                  <a:lnTo>
                    <a:pt x="767" y="1399"/>
                  </a:lnTo>
                  <a:lnTo>
                    <a:pt x="785" y="1396"/>
                  </a:lnTo>
                  <a:lnTo>
                    <a:pt x="800" y="1389"/>
                  </a:lnTo>
                  <a:lnTo>
                    <a:pt x="813" y="1377"/>
                  </a:lnTo>
                  <a:lnTo>
                    <a:pt x="823" y="1361"/>
                  </a:lnTo>
                  <a:lnTo>
                    <a:pt x="829" y="1344"/>
                  </a:lnTo>
                  <a:lnTo>
                    <a:pt x="839" y="1253"/>
                  </a:lnTo>
                  <a:lnTo>
                    <a:pt x="861" y="1248"/>
                  </a:lnTo>
                  <a:lnTo>
                    <a:pt x="905" y="1235"/>
                  </a:lnTo>
                  <a:lnTo>
                    <a:pt x="948" y="1218"/>
                  </a:lnTo>
                  <a:lnTo>
                    <a:pt x="990" y="1198"/>
                  </a:lnTo>
                  <a:lnTo>
                    <a:pt x="1008" y="1188"/>
                  </a:lnTo>
                  <a:lnTo>
                    <a:pt x="1078" y="1244"/>
                  </a:lnTo>
                  <a:lnTo>
                    <a:pt x="1090" y="1251"/>
                  </a:lnTo>
                  <a:lnTo>
                    <a:pt x="1104" y="1257"/>
                  </a:lnTo>
                  <a:lnTo>
                    <a:pt x="1118" y="1258"/>
                  </a:lnTo>
                  <a:lnTo>
                    <a:pt x="1133" y="1256"/>
                  </a:lnTo>
                  <a:lnTo>
                    <a:pt x="1148" y="1250"/>
                  </a:lnTo>
                  <a:lnTo>
                    <a:pt x="1160" y="1240"/>
                  </a:lnTo>
                  <a:lnTo>
                    <a:pt x="1229" y="1173"/>
                  </a:lnTo>
                  <a:lnTo>
                    <a:pt x="1240" y="1158"/>
                  </a:lnTo>
                  <a:lnTo>
                    <a:pt x="1246" y="1142"/>
                  </a:lnTo>
                  <a:lnTo>
                    <a:pt x="1247" y="1123"/>
                  </a:lnTo>
                  <a:lnTo>
                    <a:pt x="1244" y="1106"/>
                  </a:lnTo>
                  <a:lnTo>
                    <a:pt x="1234" y="1090"/>
                  </a:lnTo>
                  <a:lnTo>
                    <a:pt x="1181" y="1020"/>
                  </a:lnTo>
                  <a:lnTo>
                    <a:pt x="1192" y="1001"/>
                  </a:lnTo>
                  <a:lnTo>
                    <a:pt x="1214" y="961"/>
                  </a:lnTo>
                  <a:lnTo>
                    <a:pt x="1232" y="919"/>
                  </a:lnTo>
                  <a:lnTo>
                    <a:pt x="1246" y="876"/>
                  </a:lnTo>
                  <a:lnTo>
                    <a:pt x="1253" y="855"/>
                  </a:lnTo>
                  <a:lnTo>
                    <a:pt x="1337" y="846"/>
                  </a:lnTo>
                  <a:lnTo>
                    <a:pt x="1355" y="842"/>
                  </a:lnTo>
                  <a:lnTo>
                    <a:pt x="1370" y="832"/>
                  </a:lnTo>
                  <a:lnTo>
                    <a:pt x="1382" y="819"/>
                  </a:lnTo>
                  <a:lnTo>
                    <a:pt x="1390" y="804"/>
                  </a:lnTo>
                  <a:lnTo>
                    <a:pt x="1392" y="785"/>
                  </a:lnTo>
                  <a:lnTo>
                    <a:pt x="1393" y="689"/>
                  </a:lnTo>
                  <a:lnTo>
                    <a:pt x="1391" y="670"/>
                  </a:lnTo>
                  <a:lnTo>
                    <a:pt x="1383" y="654"/>
                  </a:lnTo>
                  <a:lnTo>
                    <a:pt x="1373" y="641"/>
                  </a:lnTo>
                  <a:lnTo>
                    <a:pt x="1357" y="631"/>
                  </a:lnTo>
                  <a:lnTo>
                    <a:pt x="1340" y="626"/>
                  </a:lnTo>
                  <a:lnTo>
                    <a:pt x="1256" y="615"/>
                  </a:lnTo>
                  <a:lnTo>
                    <a:pt x="1251" y="594"/>
                  </a:lnTo>
                  <a:lnTo>
                    <a:pt x="1239" y="550"/>
                  </a:lnTo>
                  <a:lnTo>
                    <a:pt x="1222" y="509"/>
                  </a:lnTo>
                  <a:lnTo>
                    <a:pt x="1202" y="468"/>
                  </a:lnTo>
                  <a:lnTo>
                    <a:pt x="1192" y="450"/>
                  </a:lnTo>
                  <a:lnTo>
                    <a:pt x="1244" y="385"/>
                  </a:lnTo>
                  <a:lnTo>
                    <a:pt x="1253" y="370"/>
                  </a:lnTo>
                  <a:lnTo>
                    <a:pt x="1257" y="353"/>
                  </a:lnTo>
                  <a:lnTo>
                    <a:pt x="1256" y="335"/>
                  </a:lnTo>
                  <a:lnTo>
                    <a:pt x="1251" y="318"/>
                  </a:lnTo>
                  <a:lnTo>
                    <a:pt x="1240" y="302"/>
                  </a:lnTo>
                  <a:lnTo>
                    <a:pt x="1173" y="234"/>
                  </a:lnTo>
                  <a:lnTo>
                    <a:pt x="1160" y="224"/>
                  </a:lnTo>
                  <a:lnTo>
                    <a:pt x="1145" y="217"/>
                  </a:lnTo>
                  <a:lnTo>
                    <a:pt x="1129" y="215"/>
                  </a:lnTo>
                  <a:lnTo>
                    <a:pt x="1115" y="216"/>
                  </a:lnTo>
                  <a:lnTo>
                    <a:pt x="1102" y="222"/>
                  </a:lnTo>
                  <a:lnTo>
                    <a:pt x="1091" y="228"/>
                  </a:lnTo>
                  <a:lnTo>
                    <a:pt x="1027" y="277"/>
                  </a:lnTo>
                  <a:lnTo>
                    <a:pt x="1008" y="265"/>
                  </a:lnTo>
                  <a:lnTo>
                    <a:pt x="967" y="244"/>
                  </a:lnTo>
                  <a:lnTo>
                    <a:pt x="923" y="224"/>
                  </a:lnTo>
                  <a:lnTo>
                    <a:pt x="879" y="210"/>
                  </a:lnTo>
                  <a:lnTo>
                    <a:pt x="858" y="203"/>
                  </a:lnTo>
                  <a:lnTo>
                    <a:pt x="849" y="122"/>
                  </a:lnTo>
                  <a:lnTo>
                    <a:pt x="845" y="104"/>
                  </a:lnTo>
                  <a:lnTo>
                    <a:pt x="835" y="88"/>
                  </a:lnTo>
                  <a:lnTo>
                    <a:pt x="822" y="76"/>
                  </a:lnTo>
                  <a:lnTo>
                    <a:pt x="807" y="69"/>
                  </a:lnTo>
                  <a:lnTo>
                    <a:pt x="788" y="66"/>
                  </a:lnTo>
                  <a:lnTo>
                    <a:pt x="692" y="64"/>
                  </a:lnTo>
                  <a:close/>
                  <a:moveTo>
                    <a:pt x="692" y="0"/>
                  </a:moveTo>
                  <a:lnTo>
                    <a:pt x="694" y="0"/>
                  </a:lnTo>
                  <a:lnTo>
                    <a:pt x="788" y="1"/>
                  </a:lnTo>
                  <a:lnTo>
                    <a:pt x="816" y="4"/>
                  </a:lnTo>
                  <a:lnTo>
                    <a:pt x="841" y="13"/>
                  </a:lnTo>
                  <a:lnTo>
                    <a:pt x="862" y="26"/>
                  </a:lnTo>
                  <a:lnTo>
                    <a:pt x="882" y="44"/>
                  </a:lnTo>
                  <a:lnTo>
                    <a:pt x="897" y="64"/>
                  </a:lnTo>
                  <a:lnTo>
                    <a:pt x="908" y="88"/>
                  </a:lnTo>
                  <a:lnTo>
                    <a:pt x="913" y="116"/>
                  </a:lnTo>
                  <a:lnTo>
                    <a:pt x="917" y="154"/>
                  </a:lnTo>
                  <a:lnTo>
                    <a:pt x="971" y="174"/>
                  </a:lnTo>
                  <a:lnTo>
                    <a:pt x="1022" y="200"/>
                  </a:lnTo>
                  <a:lnTo>
                    <a:pt x="1051" y="177"/>
                  </a:lnTo>
                  <a:lnTo>
                    <a:pt x="1074" y="163"/>
                  </a:lnTo>
                  <a:lnTo>
                    <a:pt x="1101" y="154"/>
                  </a:lnTo>
                  <a:lnTo>
                    <a:pt x="1129" y="151"/>
                  </a:lnTo>
                  <a:lnTo>
                    <a:pt x="1154" y="153"/>
                  </a:lnTo>
                  <a:lnTo>
                    <a:pt x="1178" y="161"/>
                  </a:lnTo>
                  <a:lnTo>
                    <a:pt x="1200" y="173"/>
                  </a:lnTo>
                  <a:lnTo>
                    <a:pt x="1219" y="189"/>
                  </a:lnTo>
                  <a:lnTo>
                    <a:pt x="1286" y="258"/>
                  </a:lnTo>
                  <a:lnTo>
                    <a:pt x="1303" y="278"/>
                  </a:lnTo>
                  <a:lnTo>
                    <a:pt x="1314" y="302"/>
                  </a:lnTo>
                  <a:lnTo>
                    <a:pt x="1320" y="328"/>
                  </a:lnTo>
                  <a:lnTo>
                    <a:pt x="1321" y="354"/>
                  </a:lnTo>
                  <a:lnTo>
                    <a:pt x="1318" y="379"/>
                  </a:lnTo>
                  <a:lnTo>
                    <a:pt x="1308" y="404"/>
                  </a:lnTo>
                  <a:lnTo>
                    <a:pt x="1294" y="427"/>
                  </a:lnTo>
                  <a:lnTo>
                    <a:pt x="1269" y="458"/>
                  </a:lnTo>
                  <a:lnTo>
                    <a:pt x="1290" y="506"/>
                  </a:lnTo>
                  <a:lnTo>
                    <a:pt x="1307" y="557"/>
                  </a:lnTo>
                  <a:lnTo>
                    <a:pt x="1348" y="562"/>
                  </a:lnTo>
                  <a:lnTo>
                    <a:pt x="1374" y="568"/>
                  </a:lnTo>
                  <a:lnTo>
                    <a:pt x="1398" y="580"/>
                  </a:lnTo>
                  <a:lnTo>
                    <a:pt x="1418" y="595"/>
                  </a:lnTo>
                  <a:lnTo>
                    <a:pt x="1436" y="615"/>
                  </a:lnTo>
                  <a:lnTo>
                    <a:pt x="1448" y="638"/>
                  </a:lnTo>
                  <a:lnTo>
                    <a:pt x="1455" y="663"/>
                  </a:lnTo>
                  <a:lnTo>
                    <a:pt x="1458" y="690"/>
                  </a:lnTo>
                  <a:lnTo>
                    <a:pt x="1457" y="785"/>
                  </a:lnTo>
                  <a:lnTo>
                    <a:pt x="1454" y="812"/>
                  </a:lnTo>
                  <a:lnTo>
                    <a:pt x="1445" y="837"/>
                  </a:lnTo>
                  <a:lnTo>
                    <a:pt x="1432" y="859"/>
                  </a:lnTo>
                  <a:lnTo>
                    <a:pt x="1415" y="879"/>
                  </a:lnTo>
                  <a:lnTo>
                    <a:pt x="1394" y="894"/>
                  </a:lnTo>
                  <a:lnTo>
                    <a:pt x="1370" y="905"/>
                  </a:lnTo>
                  <a:lnTo>
                    <a:pt x="1343" y="911"/>
                  </a:lnTo>
                  <a:lnTo>
                    <a:pt x="1302" y="915"/>
                  </a:lnTo>
                  <a:lnTo>
                    <a:pt x="1282" y="966"/>
                  </a:lnTo>
                  <a:lnTo>
                    <a:pt x="1258" y="1015"/>
                  </a:lnTo>
                  <a:lnTo>
                    <a:pt x="1286" y="1050"/>
                  </a:lnTo>
                  <a:lnTo>
                    <a:pt x="1300" y="1073"/>
                  </a:lnTo>
                  <a:lnTo>
                    <a:pt x="1308" y="1098"/>
                  </a:lnTo>
                  <a:lnTo>
                    <a:pt x="1313" y="1125"/>
                  </a:lnTo>
                  <a:lnTo>
                    <a:pt x="1311" y="1150"/>
                  </a:lnTo>
                  <a:lnTo>
                    <a:pt x="1303" y="1175"/>
                  </a:lnTo>
                  <a:lnTo>
                    <a:pt x="1291" y="1199"/>
                  </a:lnTo>
                  <a:lnTo>
                    <a:pt x="1275" y="1220"/>
                  </a:lnTo>
                  <a:lnTo>
                    <a:pt x="1206" y="1286"/>
                  </a:lnTo>
                  <a:lnTo>
                    <a:pt x="1187" y="1301"/>
                  </a:lnTo>
                  <a:lnTo>
                    <a:pt x="1165" y="1313"/>
                  </a:lnTo>
                  <a:lnTo>
                    <a:pt x="1142" y="1320"/>
                  </a:lnTo>
                  <a:lnTo>
                    <a:pt x="1118" y="1322"/>
                  </a:lnTo>
                  <a:lnTo>
                    <a:pt x="1096" y="1321"/>
                  </a:lnTo>
                  <a:lnTo>
                    <a:pt x="1076" y="1316"/>
                  </a:lnTo>
                  <a:lnTo>
                    <a:pt x="1056" y="1306"/>
                  </a:lnTo>
                  <a:lnTo>
                    <a:pt x="1037" y="1294"/>
                  </a:lnTo>
                  <a:lnTo>
                    <a:pt x="1002" y="1264"/>
                  </a:lnTo>
                  <a:lnTo>
                    <a:pt x="950" y="1287"/>
                  </a:lnTo>
                  <a:lnTo>
                    <a:pt x="898" y="1305"/>
                  </a:lnTo>
                  <a:lnTo>
                    <a:pt x="892" y="1353"/>
                  </a:lnTo>
                  <a:lnTo>
                    <a:pt x="886" y="1378"/>
                  </a:lnTo>
                  <a:lnTo>
                    <a:pt x="874" y="1402"/>
                  </a:lnTo>
                  <a:lnTo>
                    <a:pt x="859" y="1423"/>
                  </a:lnTo>
                  <a:lnTo>
                    <a:pt x="841" y="1439"/>
                  </a:lnTo>
                  <a:lnTo>
                    <a:pt x="818" y="1452"/>
                  </a:lnTo>
                  <a:lnTo>
                    <a:pt x="794" y="1461"/>
                  </a:lnTo>
                  <a:lnTo>
                    <a:pt x="767" y="1463"/>
                  </a:lnTo>
                  <a:lnTo>
                    <a:pt x="764" y="1463"/>
                  </a:lnTo>
                  <a:lnTo>
                    <a:pt x="670" y="1462"/>
                  </a:lnTo>
                  <a:lnTo>
                    <a:pt x="643" y="1459"/>
                  </a:lnTo>
                  <a:lnTo>
                    <a:pt x="618" y="1451"/>
                  </a:lnTo>
                  <a:lnTo>
                    <a:pt x="596" y="1437"/>
                  </a:lnTo>
                  <a:lnTo>
                    <a:pt x="576" y="1420"/>
                  </a:lnTo>
                  <a:lnTo>
                    <a:pt x="561" y="1399"/>
                  </a:lnTo>
                  <a:lnTo>
                    <a:pt x="550" y="1375"/>
                  </a:lnTo>
                  <a:lnTo>
                    <a:pt x="545" y="1348"/>
                  </a:lnTo>
                  <a:lnTo>
                    <a:pt x="539" y="1296"/>
                  </a:lnTo>
                  <a:lnTo>
                    <a:pt x="492" y="1278"/>
                  </a:lnTo>
                  <a:lnTo>
                    <a:pt x="447" y="1256"/>
                  </a:lnTo>
                  <a:lnTo>
                    <a:pt x="406" y="1286"/>
                  </a:lnTo>
                  <a:lnTo>
                    <a:pt x="384" y="1300"/>
                  </a:lnTo>
                  <a:lnTo>
                    <a:pt x="358" y="1310"/>
                  </a:lnTo>
                  <a:lnTo>
                    <a:pt x="329" y="1312"/>
                  </a:lnTo>
                  <a:lnTo>
                    <a:pt x="329" y="1312"/>
                  </a:lnTo>
                  <a:lnTo>
                    <a:pt x="304" y="1310"/>
                  </a:lnTo>
                  <a:lnTo>
                    <a:pt x="280" y="1303"/>
                  </a:lnTo>
                  <a:lnTo>
                    <a:pt x="259" y="1291"/>
                  </a:lnTo>
                  <a:lnTo>
                    <a:pt x="239" y="1274"/>
                  </a:lnTo>
                  <a:lnTo>
                    <a:pt x="172" y="1205"/>
                  </a:lnTo>
                  <a:lnTo>
                    <a:pt x="155" y="1185"/>
                  </a:lnTo>
                  <a:lnTo>
                    <a:pt x="144" y="1161"/>
                  </a:lnTo>
                  <a:lnTo>
                    <a:pt x="138" y="1135"/>
                  </a:lnTo>
                  <a:lnTo>
                    <a:pt x="137" y="1110"/>
                  </a:lnTo>
                  <a:lnTo>
                    <a:pt x="140" y="1084"/>
                  </a:lnTo>
                  <a:lnTo>
                    <a:pt x="150" y="1060"/>
                  </a:lnTo>
                  <a:lnTo>
                    <a:pt x="164" y="1037"/>
                  </a:lnTo>
                  <a:lnTo>
                    <a:pt x="197" y="998"/>
                  </a:lnTo>
                  <a:lnTo>
                    <a:pt x="176" y="953"/>
                  </a:lnTo>
                  <a:lnTo>
                    <a:pt x="160" y="908"/>
                  </a:lnTo>
                  <a:lnTo>
                    <a:pt x="111" y="902"/>
                  </a:lnTo>
                  <a:lnTo>
                    <a:pt x="84" y="895"/>
                  </a:lnTo>
                  <a:lnTo>
                    <a:pt x="61" y="884"/>
                  </a:lnTo>
                  <a:lnTo>
                    <a:pt x="40" y="868"/>
                  </a:lnTo>
                  <a:lnTo>
                    <a:pt x="22" y="848"/>
                  </a:lnTo>
                  <a:lnTo>
                    <a:pt x="11" y="827"/>
                  </a:lnTo>
                  <a:lnTo>
                    <a:pt x="3" y="801"/>
                  </a:lnTo>
                  <a:lnTo>
                    <a:pt x="0" y="774"/>
                  </a:lnTo>
                  <a:lnTo>
                    <a:pt x="1" y="678"/>
                  </a:lnTo>
                  <a:lnTo>
                    <a:pt x="4" y="651"/>
                  </a:lnTo>
                  <a:lnTo>
                    <a:pt x="13" y="627"/>
                  </a:lnTo>
                  <a:lnTo>
                    <a:pt x="26" y="604"/>
                  </a:lnTo>
                  <a:lnTo>
                    <a:pt x="43" y="585"/>
                  </a:lnTo>
                  <a:lnTo>
                    <a:pt x="64" y="570"/>
                  </a:lnTo>
                  <a:lnTo>
                    <a:pt x="88" y="559"/>
                  </a:lnTo>
                  <a:lnTo>
                    <a:pt x="115" y="554"/>
                  </a:lnTo>
                  <a:lnTo>
                    <a:pt x="160" y="548"/>
                  </a:lnTo>
                  <a:lnTo>
                    <a:pt x="177" y="498"/>
                  </a:lnTo>
                  <a:lnTo>
                    <a:pt x="200" y="449"/>
                  </a:lnTo>
                  <a:lnTo>
                    <a:pt x="173" y="413"/>
                  </a:lnTo>
                  <a:lnTo>
                    <a:pt x="158" y="390"/>
                  </a:lnTo>
                  <a:lnTo>
                    <a:pt x="150" y="365"/>
                  </a:lnTo>
                  <a:lnTo>
                    <a:pt x="145" y="340"/>
                  </a:lnTo>
                  <a:lnTo>
                    <a:pt x="148" y="313"/>
                  </a:lnTo>
                  <a:lnTo>
                    <a:pt x="154" y="288"/>
                  </a:lnTo>
                  <a:lnTo>
                    <a:pt x="167" y="265"/>
                  </a:lnTo>
                  <a:lnTo>
                    <a:pt x="183" y="245"/>
                  </a:lnTo>
                  <a:lnTo>
                    <a:pt x="253" y="177"/>
                  </a:lnTo>
                  <a:lnTo>
                    <a:pt x="272" y="162"/>
                  </a:lnTo>
                  <a:lnTo>
                    <a:pt x="293" y="150"/>
                  </a:lnTo>
                  <a:lnTo>
                    <a:pt x="316" y="143"/>
                  </a:lnTo>
                  <a:lnTo>
                    <a:pt x="341" y="141"/>
                  </a:lnTo>
                  <a:lnTo>
                    <a:pt x="362" y="142"/>
                  </a:lnTo>
                  <a:lnTo>
                    <a:pt x="384" y="147"/>
                  </a:lnTo>
                  <a:lnTo>
                    <a:pt x="403" y="157"/>
                  </a:lnTo>
                  <a:lnTo>
                    <a:pt x="421" y="169"/>
                  </a:lnTo>
                  <a:lnTo>
                    <a:pt x="451" y="194"/>
                  </a:lnTo>
                  <a:lnTo>
                    <a:pt x="505" y="169"/>
                  </a:lnTo>
                  <a:lnTo>
                    <a:pt x="561" y="150"/>
                  </a:lnTo>
                  <a:lnTo>
                    <a:pt x="566" y="111"/>
                  </a:lnTo>
                  <a:lnTo>
                    <a:pt x="572" y="85"/>
                  </a:lnTo>
                  <a:lnTo>
                    <a:pt x="583" y="61"/>
                  </a:lnTo>
                  <a:lnTo>
                    <a:pt x="599" y="42"/>
                  </a:lnTo>
                  <a:lnTo>
                    <a:pt x="618" y="24"/>
                  </a:lnTo>
                  <a:lnTo>
                    <a:pt x="640" y="11"/>
                  </a:lnTo>
                  <a:lnTo>
                    <a:pt x="664" y="3"/>
                  </a:lnTo>
                  <a:lnTo>
                    <a:pt x="6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sp>
        <p:nvSpPr>
          <p:cNvPr id="30" name="RbNavigator">
            <a:extLst>
              <a:ext uri="{FF2B5EF4-FFF2-40B4-BE49-F238E27FC236}">
                <a16:creationId xmlns:a16="http://schemas.microsoft.com/office/drawing/2014/main" xmlns="" id="{D22ECD5E-C872-42D7-A3B5-A4A9D53654E9}"/>
              </a:ext>
            </a:extLst>
          </p:cNvPr>
          <p:cNvSpPr txBox="1"/>
          <p:nvPr/>
        </p:nvSpPr>
        <p:spPr>
          <a:xfrm>
            <a:off x="2820927" y="1"/>
            <a:ext cx="288000" cy="288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+mn-lt"/>
                <a:sym typeface="+mn-lt"/>
              </a:rPr>
              <a:t>1</a:t>
            </a:r>
          </a:p>
        </p:txBody>
      </p:sp>
      <p:sp>
        <p:nvSpPr>
          <p:cNvPr id="31" name="RbSticker">
            <a:extLst>
              <a:ext uri="{FF2B5EF4-FFF2-40B4-BE49-F238E27FC236}">
                <a16:creationId xmlns:a16="http://schemas.microsoft.com/office/drawing/2014/main" xmlns="" id="{210F15BF-9297-4283-A67A-AF0ECB86A7BE}"/>
              </a:ext>
            </a:extLst>
          </p:cNvPr>
          <p:cNvSpPr txBox="1"/>
          <p:nvPr/>
        </p:nvSpPr>
        <p:spPr>
          <a:xfrm>
            <a:off x="3188804" y="53111"/>
            <a:ext cx="1916422" cy="23544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Visión</a:t>
            </a:r>
            <a:r>
              <a:rPr lang="en-GB" sz="17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&amp; </a:t>
            </a: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Ambición</a:t>
            </a:r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9718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xmlns="" id="{EB2886F9-DD5D-4539-A3DF-196A61CF7B2A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26802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Taller </a:t>
            </a: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de Visión y Ambición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5FCDEC4-E185-4ACC-A53D-B84C1E26FFC6}"/>
              </a:ext>
            </a:extLst>
          </p:cNvPr>
          <p:cNvSpPr/>
          <p:nvPr/>
        </p:nvSpPr>
        <p:spPr>
          <a:xfrm>
            <a:off x="2820927" y="1544731"/>
            <a:ext cx="3642196" cy="399546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endParaRPr lang="en-GB" sz="1500" b="0" dirty="0">
              <a:highlight>
                <a:srgbClr val="CEEAB0"/>
              </a:highlight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ListLeanHorizontalTextTopic1">
            <a:extLst>
              <a:ext uri="{FF2B5EF4-FFF2-40B4-BE49-F238E27FC236}">
                <a16:creationId xmlns:a16="http://schemas.microsoft.com/office/drawing/2014/main" xmlns="" id="{E1514C44-CF39-4EB3-903E-3135FD89E26E}"/>
              </a:ext>
            </a:extLst>
          </p:cNvPr>
          <p:cNvSpPr txBox="1">
            <a:spLocks/>
          </p:cNvSpPr>
          <p:nvPr/>
        </p:nvSpPr>
        <p:spPr bwMode="auto">
          <a:xfrm>
            <a:off x="7540083" y="1773674"/>
            <a:ext cx="4704333" cy="2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ma de </a:t>
            </a: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bajar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3" name="ListLeanHorizontalTextTopic1">
            <a:extLst>
              <a:ext uri="{FF2B5EF4-FFF2-40B4-BE49-F238E27FC236}">
                <a16:creationId xmlns:a16="http://schemas.microsoft.com/office/drawing/2014/main" xmlns="" id="{7F0596CC-B5F6-46A4-87B5-E4D13CF1526B}"/>
              </a:ext>
            </a:extLst>
          </p:cNvPr>
          <p:cNvSpPr txBox="1">
            <a:spLocks/>
          </p:cNvSpPr>
          <p:nvPr/>
        </p:nvSpPr>
        <p:spPr bwMode="auto">
          <a:xfrm>
            <a:off x="7540083" y="4735341"/>
            <a:ext cx="4704333" cy="2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tregas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Textframe 23">
            <a:extLst>
              <a:ext uri="{FF2B5EF4-FFF2-40B4-BE49-F238E27FC236}">
                <a16:creationId xmlns:a16="http://schemas.microsoft.com/office/drawing/2014/main" xmlns="" id="{6D7AAF0D-8DC9-425A-8265-53B6768AA5D4}"/>
              </a:ext>
            </a:extLst>
          </p:cNvPr>
          <p:cNvSpPr txBox="1">
            <a:spLocks/>
          </p:cNvSpPr>
          <p:nvPr/>
        </p:nvSpPr>
        <p:spPr>
          <a:xfrm>
            <a:off x="7435308" y="5118209"/>
            <a:ext cx="4704333" cy="46166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marL="201784" lvl="1" indent="-201784" defTabSz="1269968">
              <a:spcBef>
                <a:spcPts val="267"/>
              </a:spcBef>
              <a:buSzPct val="100000"/>
              <a:buFont typeface="Arial"/>
              <a:buChar char="•"/>
              <a:defRPr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Visión y ambición comunes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para la transformación digital de la ciudad </a:t>
            </a:r>
            <a:endParaRPr lang="en-GB" sz="15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RBContent15">
            <a:extLst>
              <a:ext uri="{FF2B5EF4-FFF2-40B4-BE49-F238E27FC236}">
                <a16:creationId xmlns:a16="http://schemas.microsoft.com/office/drawing/2014/main" xmlns="" id="{D3042F9E-0107-4FCC-BE15-02FB89E89A57}"/>
              </a:ext>
            </a:extLst>
          </p:cNvPr>
          <p:cNvSpPr txBox="1">
            <a:spLocks/>
          </p:cNvSpPr>
          <p:nvPr/>
        </p:nvSpPr>
        <p:spPr>
          <a:xfrm>
            <a:off x="2917883" y="2255874"/>
            <a:ext cx="3477739" cy="261610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25920" lvl="1" indent="-125920">
              <a:spcBef>
                <a:spcPts val="3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Validación de los resultados presentados en el informe de evaluación</a:t>
            </a:r>
          </a:p>
          <a:p>
            <a:pPr marL="125920" lvl="1" indent="-125920">
              <a:spcBef>
                <a:spcPts val="3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Introducción del concepto de visión y ambición, con el apoyo de buenas prácticas y políticas urbanas existentes.</a:t>
            </a:r>
          </a:p>
          <a:p>
            <a:pPr marL="125920" lvl="1" indent="-125920">
              <a:spcBef>
                <a:spcPts val="3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Debate sobre la identificación de una visión y ambición digital común para la ciudad entre todas las partes interesadas.</a:t>
            </a:r>
            <a:endParaRPr lang="en-GB" sz="15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AFD6643C-5ED3-4AC4-96A1-13DBD3EA85CB}"/>
              </a:ext>
            </a:extLst>
          </p:cNvPr>
          <p:cNvCxnSpPr>
            <a:cxnSpLocks/>
          </p:cNvCxnSpPr>
          <p:nvPr/>
        </p:nvCxnSpPr>
        <p:spPr>
          <a:xfrm>
            <a:off x="4762500" y="1905248"/>
            <a:ext cx="1980959" cy="0"/>
          </a:xfrm>
          <a:prstGeom prst="line">
            <a:avLst/>
          </a:prstGeom>
          <a:ln w="28575" cmpd="sng">
            <a:solidFill>
              <a:schemeClr val="accent3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A2EF059C-65B5-4E13-A8B7-E6BD9707F6E1}"/>
              </a:ext>
            </a:extLst>
          </p:cNvPr>
          <p:cNvGrpSpPr>
            <a:grpSpLocks noChangeAspect="1"/>
          </p:cNvGrpSpPr>
          <p:nvPr/>
        </p:nvGrpSpPr>
        <p:grpSpPr>
          <a:xfrm>
            <a:off x="2942204" y="1648237"/>
            <a:ext cx="732116" cy="505625"/>
            <a:chOff x="1720851" y="1301751"/>
            <a:chExt cx="3576638" cy="2470150"/>
          </a:xfrm>
          <a:solidFill>
            <a:schemeClr val="accent5"/>
          </a:solidFill>
        </p:grpSpPr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xmlns="" id="{38B7FB9D-D7BA-4C60-A632-FD5863EB4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088" y="1301751"/>
              <a:ext cx="2389188" cy="2395538"/>
            </a:xfrm>
            <a:custGeom>
              <a:avLst/>
              <a:gdLst>
                <a:gd name="T0" fmla="*/ 1992 w 2074"/>
                <a:gd name="T1" fmla="*/ 1162 h 2080"/>
                <a:gd name="T2" fmla="*/ 1040 w 2074"/>
                <a:gd name="T3" fmla="*/ 2000 h 2080"/>
                <a:gd name="T4" fmla="*/ 80 w 2074"/>
                <a:gd name="T5" fmla="*/ 1040 h 2080"/>
                <a:gd name="T6" fmla="*/ 1040 w 2074"/>
                <a:gd name="T7" fmla="*/ 80 h 2080"/>
                <a:gd name="T8" fmla="*/ 1993 w 2074"/>
                <a:gd name="T9" fmla="*/ 925 h 2080"/>
                <a:gd name="T10" fmla="*/ 2074 w 2074"/>
                <a:gd name="T11" fmla="*/ 925 h 2080"/>
                <a:gd name="T12" fmla="*/ 1040 w 2074"/>
                <a:gd name="T13" fmla="*/ 0 h 2080"/>
                <a:gd name="T14" fmla="*/ 0 w 2074"/>
                <a:gd name="T15" fmla="*/ 1040 h 2080"/>
                <a:gd name="T16" fmla="*/ 1040 w 2074"/>
                <a:gd name="T17" fmla="*/ 2080 h 2080"/>
                <a:gd name="T18" fmla="*/ 2073 w 2074"/>
                <a:gd name="T19" fmla="*/ 1162 h 2080"/>
                <a:gd name="T20" fmla="*/ 1992 w 2074"/>
                <a:gd name="T21" fmla="*/ 1162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4" h="2080">
                  <a:moveTo>
                    <a:pt x="1992" y="1162"/>
                  </a:moveTo>
                  <a:cubicBezTo>
                    <a:pt x="1933" y="1635"/>
                    <a:pt x="1529" y="2000"/>
                    <a:pt x="1040" y="2000"/>
                  </a:cubicBezTo>
                  <a:cubicBezTo>
                    <a:pt x="510" y="2000"/>
                    <a:pt x="80" y="1571"/>
                    <a:pt x="80" y="1040"/>
                  </a:cubicBezTo>
                  <a:cubicBezTo>
                    <a:pt x="80" y="510"/>
                    <a:pt x="510" y="80"/>
                    <a:pt x="1040" y="80"/>
                  </a:cubicBezTo>
                  <a:cubicBezTo>
                    <a:pt x="1531" y="80"/>
                    <a:pt x="1936" y="449"/>
                    <a:pt x="1993" y="925"/>
                  </a:cubicBezTo>
                  <a:cubicBezTo>
                    <a:pt x="2074" y="925"/>
                    <a:pt x="2074" y="925"/>
                    <a:pt x="2074" y="925"/>
                  </a:cubicBezTo>
                  <a:cubicBezTo>
                    <a:pt x="2016" y="405"/>
                    <a:pt x="1575" y="0"/>
                    <a:pt x="1040" y="0"/>
                  </a:cubicBezTo>
                  <a:cubicBezTo>
                    <a:pt x="466" y="0"/>
                    <a:pt x="0" y="466"/>
                    <a:pt x="0" y="1040"/>
                  </a:cubicBezTo>
                  <a:cubicBezTo>
                    <a:pt x="0" y="1615"/>
                    <a:pt x="466" y="2080"/>
                    <a:pt x="1040" y="2080"/>
                  </a:cubicBezTo>
                  <a:cubicBezTo>
                    <a:pt x="1573" y="2080"/>
                    <a:pt x="2013" y="1679"/>
                    <a:pt x="2073" y="1162"/>
                  </a:cubicBezTo>
                  <a:lnTo>
                    <a:pt x="1992" y="1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xmlns="" id="{1B8AFA3D-66A5-4FC8-B43F-38FD8918D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2225676"/>
              <a:ext cx="514350" cy="547688"/>
            </a:xfrm>
            <a:custGeom>
              <a:avLst/>
              <a:gdLst>
                <a:gd name="T0" fmla="*/ 238 w 446"/>
                <a:gd name="T1" fmla="*/ 80 h 475"/>
                <a:gd name="T2" fmla="*/ 346 w 446"/>
                <a:gd name="T3" fmla="*/ 122 h 475"/>
                <a:gd name="T4" fmla="*/ 446 w 446"/>
                <a:gd name="T5" fmla="*/ 122 h 475"/>
                <a:gd name="T6" fmla="*/ 238 w 446"/>
                <a:gd name="T7" fmla="*/ 0 h 475"/>
                <a:gd name="T8" fmla="*/ 0 w 446"/>
                <a:gd name="T9" fmla="*/ 237 h 475"/>
                <a:gd name="T10" fmla="*/ 238 w 446"/>
                <a:gd name="T11" fmla="*/ 475 h 475"/>
                <a:gd name="T12" fmla="*/ 443 w 446"/>
                <a:gd name="T13" fmla="*/ 359 h 475"/>
                <a:gd name="T14" fmla="*/ 339 w 446"/>
                <a:gd name="T15" fmla="*/ 359 h 475"/>
                <a:gd name="T16" fmla="*/ 238 w 446"/>
                <a:gd name="T17" fmla="*/ 395 h 475"/>
                <a:gd name="T18" fmla="*/ 80 w 446"/>
                <a:gd name="T19" fmla="*/ 237 h 475"/>
                <a:gd name="T20" fmla="*/ 238 w 446"/>
                <a:gd name="T21" fmla="*/ 8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6" h="475">
                  <a:moveTo>
                    <a:pt x="238" y="80"/>
                  </a:moveTo>
                  <a:cubicBezTo>
                    <a:pt x="280" y="80"/>
                    <a:pt x="318" y="96"/>
                    <a:pt x="346" y="122"/>
                  </a:cubicBezTo>
                  <a:cubicBezTo>
                    <a:pt x="446" y="122"/>
                    <a:pt x="446" y="122"/>
                    <a:pt x="446" y="122"/>
                  </a:cubicBezTo>
                  <a:cubicBezTo>
                    <a:pt x="406" y="49"/>
                    <a:pt x="328" y="0"/>
                    <a:pt x="238" y="0"/>
                  </a:cubicBezTo>
                  <a:cubicBezTo>
                    <a:pt x="107" y="0"/>
                    <a:pt x="0" y="106"/>
                    <a:pt x="0" y="237"/>
                  </a:cubicBezTo>
                  <a:cubicBezTo>
                    <a:pt x="0" y="369"/>
                    <a:pt x="107" y="475"/>
                    <a:pt x="238" y="475"/>
                  </a:cubicBezTo>
                  <a:cubicBezTo>
                    <a:pt x="325" y="475"/>
                    <a:pt x="401" y="428"/>
                    <a:pt x="443" y="359"/>
                  </a:cubicBezTo>
                  <a:cubicBezTo>
                    <a:pt x="339" y="359"/>
                    <a:pt x="339" y="359"/>
                    <a:pt x="339" y="359"/>
                  </a:cubicBezTo>
                  <a:cubicBezTo>
                    <a:pt x="312" y="381"/>
                    <a:pt x="277" y="395"/>
                    <a:pt x="238" y="395"/>
                  </a:cubicBezTo>
                  <a:cubicBezTo>
                    <a:pt x="151" y="395"/>
                    <a:pt x="80" y="325"/>
                    <a:pt x="80" y="237"/>
                  </a:cubicBezTo>
                  <a:cubicBezTo>
                    <a:pt x="80" y="150"/>
                    <a:pt x="151" y="80"/>
                    <a:pt x="23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xmlns="" id="{A0FB8A26-862C-45DA-BB7E-E5B6A0940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8226" y="1765301"/>
              <a:ext cx="1458913" cy="1468438"/>
            </a:xfrm>
            <a:custGeom>
              <a:avLst/>
              <a:gdLst>
                <a:gd name="T0" fmla="*/ 1184 w 1266"/>
                <a:gd name="T1" fmla="*/ 522 h 1275"/>
                <a:gd name="T2" fmla="*/ 1266 w 1266"/>
                <a:gd name="T3" fmla="*/ 522 h 1275"/>
                <a:gd name="T4" fmla="*/ 638 w 1266"/>
                <a:gd name="T5" fmla="*/ 0 h 1275"/>
                <a:gd name="T6" fmla="*/ 0 w 1266"/>
                <a:gd name="T7" fmla="*/ 637 h 1275"/>
                <a:gd name="T8" fmla="*/ 638 w 1266"/>
                <a:gd name="T9" fmla="*/ 1275 h 1275"/>
                <a:gd name="T10" fmla="*/ 1264 w 1266"/>
                <a:gd name="T11" fmla="*/ 759 h 1275"/>
                <a:gd name="T12" fmla="*/ 1183 w 1266"/>
                <a:gd name="T13" fmla="*/ 759 h 1275"/>
                <a:gd name="T14" fmla="*/ 638 w 1266"/>
                <a:gd name="T15" fmla="*/ 1195 h 1275"/>
                <a:gd name="T16" fmla="*/ 80 w 1266"/>
                <a:gd name="T17" fmla="*/ 637 h 1275"/>
                <a:gd name="T18" fmla="*/ 638 w 1266"/>
                <a:gd name="T19" fmla="*/ 80 h 1275"/>
                <a:gd name="T20" fmla="*/ 1184 w 1266"/>
                <a:gd name="T21" fmla="*/ 522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1275">
                  <a:moveTo>
                    <a:pt x="1184" y="522"/>
                  </a:moveTo>
                  <a:cubicBezTo>
                    <a:pt x="1266" y="522"/>
                    <a:pt x="1266" y="522"/>
                    <a:pt x="1266" y="522"/>
                  </a:cubicBezTo>
                  <a:cubicBezTo>
                    <a:pt x="1211" y="225"/>
                    <a:pt x="951" y="0"/>
                    <a:pt x="638" y="0"/>
                  </a:cubicBezTo>
                  <a:cubicBezTo>
                    <a:pt x="286" y="0"/>
                    <a:pt x="0" y="285"/>
                    <a:pt x="0" y="637"/>
                  </a:cubicBezTo>
                  <a:cubicBezTo>
                    <a:pt x="0" y="990"/>
                    <a:pt x="286" y="1275"/>
                    <a:pt x="638" y="1275"/>
                  </a:cubicBezTo>
                  <a:cubicBezTo>
                    <a:pt x="949" y="1275"/>
                    <a:pt x="1208" y="1053"/>
                    <a:pt x="1264" y="759"/>
                  </a:cubicBezTo>
                  <a:cubicBezTo>
                    <a:pt x="1183" y="759"/>
                    <a:pt x="1183" y="759"/>
                    <a:pt x="1183" y="759"/>
                  </a:cubicBezTo>
                  <a:cubicBezTo>
                    <a:pt x="1127" y="1008"/>
                    <a:pt x="905" y="1195"/>
                    <a:pt x="638" y="1195"/>
                  </a:cubicBezTo>
                  <a:cubicBezTo>
                    <a:pt x="330" y="1195"/>
                    <a:pt x="80" y="945"/>
                    <a:pt x="80" y="637"/>
                  </a:cubicBezTo>
                  <a:cubicBezTo>
                    <a:pt x="80" y="329"/>
                    <a:pt x="330" y="80"/>
                    <a:pt x="638" y="80"/>
                  </a:cubicBezTo>
                  <a:cubicBezTo>
                    <a:pt x="907" y="80"/>
                    <a:pt x="1131" y="269"/>
                    <a:pt x="1184" y="5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xmlns="" id="{475A5465-BAB3-4E3B-9A7C-3210569DD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351" y="2109788"/>
              <a:ext cx="2243138" cy="785813"/>
            </a:xfrm>
            <a:custGeom>
              <a:avLst/>
              <a:gdLst>
                <a:gd name="T0" fmla="*/ 1209 w 1413"/>
                <a:gd name="T1" fmla="*/ 245 h 495"/>
                <a:gd name="T2" fmla="*/ 1413 w 1413"/>
                <a:gd name="T3" fmla="*/ 41 h 495"/>
                <a:gd name="T4" fmla="*/ 1372 w 1413"/>
                <a:gd name="T5" fmla="*/ 0 h 495"/>
                <a:gd name="T6" fmla="*/ 1155 w 1413"/>
                <a:gd name="T7" fmla="*/ 218 h 495"/>
                <a:gd name="T8" fmla="*/ 967 w 1413"/>
                <a:gd name="T9" fmla="*/ 218 h 495"/>
                <a:gd name="T10" fmla="*/ 1143 w 1413"/>
                <a:gd name="T11" fmla="*/ 41 h 495"/>
                <a:gd name="T12" fmla="*/ 1103 w 1413"/>
                <a:gd name="T13" fmla="*/ 0 h 495"/>
                <a:gd name="T14" fmla="*/ 885 w 1413"/>
                <a:gd name="T15" fmla="*/ 218 h 495"/>
                <a:gd name="T16" fmla="*/ 0 w 1413"/>
                <a:gd name="T17" fmla="*/ 218 h 495"/>
                <a:gd name="T18" fmla="*/ 0 w 1413"/>
                <a:gd name="T19" fmla="*/ 276 h 495"/>
                <a:gd name="T20" fmla="*/ 883 w 1413"/>
                <a:gd name="T21" fmla="*/ 276 h 495"/>
                <a:gd name="T22" fmla="*/ 1103 w 1413"/>
                <a:gd name="T23" fmla="*/ 495 h 495"/>
                <a:gd name="T24" fmla="*/ 1143 w 1413"/>
                <a:gd name="T25" fmla="*/ 454 h 495"/>
                <a:gd name="T26" fmla="*/ 965 w 1413"/>
                <a:gd name="T27" fmla="*/ 276 h 495"/>
                <a:gd name="T28" fmla="*/ 1153 w 1413"/>
                <a:gd name="T29" fmla="*/ 276 h 495"/>
                <a:gd name="T30" fmla="*/ 1372 w 1413"/>
                <a:gd name="T31" fmla="*/ 495 h 495"/>
                <a:gd name="T32" fmla="*/ 1413 w 1413"/>
                <a:gd name="T33" fmla="*/ 454 h 495"/>
                <a:gd name="T34" fmla="*/ 1209 w 1413"/>
                <a:gd name="T35" fmla="*/ 250 h 495"/>
                <a:gd name="T36" fmla="*/ 1209 w 1413"/>
                <a:gd name="T37" fmla="*/ 24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13" h="495">
                  <a:moveTo>
                    <a:pt x="1209" y="245"/>
                  </a:moveTo>
                  <a:lnTo>
                    <a:pt x="1413" y="41"/>
                  </a:lnTo>
                  <a:lnTo>
                    <a:pt x="1372" y="0"/>
                  </a:lnTo>
                  <a:lnTo>
                    <a:pt x="1155" y="218"/>
                  </a:lnTo>
                  <a:lnTo>
                    <a:pt x="967" y="218"/>
                  </a:lnTo>
                  <a:lnTo>
                    <a:pt x="1143" y="41"/>
                  </a:lnTo>
                  <a:lnTo>
                    <a:pt x="1103" y="0"/>
                  </a:lnTo>
                  <a:lnTo>
                    <a:pt x="885" y="218"/>
                  </a:lnTo>
                  <a:lnTo>
                    <a:pt x="0" y="218"/>
                  </a:lnTo>
                  <a:lnTo>
                    <a:pt x="0" y="276"/>
                  </a:lnTo>
                  <a:lnTo>
                    <a:pt x="883" y="276"/>
                  </a:lnTo>
                  <a:lnTo>
                    <a:pt x="1103" y="495"/>
                  </a:lnTo>
                  <a:lnTo>
                    <a:pt x="1143" y="454"/>
                  </a:lnTo>
                  <a:lnTo>
                    <a:pt x="965" y="276"/>
                  </a:lnTo>
                  <a:lnTo>
                    <a:pt x="1153" y="276"/>
                  </a:lnTo>
                  <a:lnTo>
                    <a:pt x="1372" y="495"/>
                  </a:lnTo>
                  <a:lnTo>
                    <a:pt x="1413" y="454"/>
                  </a:lnTo>
                  <a:lnTo>
                    <a:pt x="1209" y="250"/>
                  </a:lnTo>
                  <a:lnTo>
                    <a:pt x="1209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xmlns="" id="{1E3A1EB7-AEC5-43BE-9C8A-3CB930AE2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3351213"/>
              <a:ext cx="415925" cy="417513"/>
            </a:xfrm>
            <a:custGeom>
              <a:avLst/>
              <a:gdLst>
                <a:gd name="T0" fmla="*/ 0 w 262"/>
                <a:gd name="T1" fmla="*/ 41 h 263"/>
                <a:gd name="T2" fmla="*/ 222 w 262"/>
                <a:gd name="T3" fmla="*/ 263 h 263"/>
                <a:gd name="T4" fmla="*/ 262 w 262"/>
                <a:gd name="T5" fmla="*/ 221 h 263"/>
                <a:gd name="T6" fmla="*/ 41 w 262"/>
                <a:gd name="T7" fmla="*/ 0 h 263"/>
                <a:gd name="T8" fmla="*/ 0 w 262"/>
                <a:gd name="T9" fmla="*/ 4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3">
                  <a:moveTo>
                    <a:pt x="0" y="41"/>
                  </a:moveTo>
                  <a:lnTo>
                    <a:pt x="222" y="263"/>
                  </a:lnTo>
                  <a:lnTo>
                    <a:pt x="262" y="221"/>
                  </a:lnTo>
                  <a:lnTo>
                    <a:pt x="41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xmlns="" id="{CAC74DC6-B63A-40A9-BF11-2DC29EB18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851" y="3352801"/>
              <a:ext cx="417513" cy="419100"/>
            </a:xfrm>
            <a:custGeom>
              <a:avLst/>
              <a:gdLst>
                <a:gd name="T0" fmla="*/ 0 w 263"/>
                <a:gd name="T1" fmla="*/ 222 h 264"/>
                <a:gd name="T2" fmla="*/ 41 w 263"/>
                <a:gd name="T3" fmla="*/ 264 h 264"/>
                <a:gd name="T4" fmla="*/ 263 w 263"/>
                <a:gd name="T5" fmla="*/ 42 h 264"/>
                <a:gd name="T6" fmla="*/ 222 w 263"/>
                <a:gd name="T7" fmla="*/ 0 h 264"/>
                <a:gd name="T8" fmla="*/ 0 w 263"/>
                <a:gd name="T9" fmla="*/ 22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264">
                  <a:moveTo>
                    <a:pt x="0" y="222"/>
                  </a:moveTo>
                  <a:lnTo>
                    <a:pt x="41" y="264"/>
                  </a:lnTo>
                  <a:lnTo>
                    <a:pt x="263" y="42"/>
                  </a:lnTo>
                  <a:lnTo>
                    <a:pt x="222" y="0"/>
                  </a:lnTo>
                  <a:lnTo>
                    <a:pt x="0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</p:grpSp>
      <p:sp>
        <p:nvSpPr>
          <p:cNvPr id="18" name="ListLeanHorizontalTextTopic1">
            <a:extLst>
              <a:ext uri="{FF2B5EF4-FFF2-40B4-BE49-F238E27FC236}">
                <a16:creationId xmlns:a16="http://schemas.microsoft.com/office/drawing/2014/main" xmlns="" id="{5D2402EE-EA34-4322-86A0-1F27931531E5}"/>
              </a:ext>
            </a:extLst>
          </p:cNvPr>
          <p:cNvSpPr txBox="1">
            <a:spLocks/>
          </p:cNvSpPr>
          <p:nvPr/>
        </p:nvSpPr>
        <p:spPr bwMode="auto">
          <a:xfrm>
            <a:off x="3774792" y="1773674"/>
            <a:ext cx="1017907" cy="26314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bjetivos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B415F6A1-00C1-43BE-8885-0DE7143AE2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22872" y="1595924"/>
            <a:ext cx="612262" cy="605460"/>
            <a:chOff x="1826" y="1368"/>
            <a:chExt cx="363" cy="356"/>
          </a:xfrm>
          <a:solidFill>
            <a:schemeClr val="accent5"/>
          </a:solidFill>
        </p:grpSpPr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xmlns="" id="{755AA74C-F4F1-412A-B036-F2CF58D07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4" y="1434"/>
              <a:ext cx="81" cy="81"/>
            </a:xfrm>
            <a:custGeom>
              <a:avLst/>
              <a:gdLst>
                <a:gd name="T0" fmla="*/ 359 w 810"/>
                <a:gd name="T1" fmla="*/ 68 h 814"/>
                <a:gd name="T2" fmla="*/ 273 w 810"/>
                <a:gd name="T3" fmla="*/ 91 h 814"/>
                <a:gd name="T4" fmla="*/ 196 w 810"/>
                <a:gd name="T5" fmla="*/ 136 h 814"/>
                <a:gd name="T6" fmla="*/ 136 w 810"/>
                <a:gd name="T7" fmla="*/ 198 h 814"/>
                <a:gd name="T8" fmla="*/ 91 w 810"/>
                <a:gd name="T9" fmla="*/ 273 h 814"/>
                <a:gd name="T10" fmla="*/ 67 w 810"/>
                <a:gd name="T11" fmla="*/ 361 h 814"/>
                <a:gd name="T12" fmla="*/ 67 w 810"/>
                <a:gd name="T13" fmla="*/ 453 h 814"/>
                <a:gd name="T14" fmla="*/ 91 w 810"/>
                <a:gd name="T15" fmla="*/ 540 h 814"/>
                <a:gd name="T16" fmla="*/ 136 w 810"/>
                <a:gd name="T17" fmla="*/ 615 h 814"/>
                <a:gd name="T18" fmla="*/ 196 w 810"/>
                <a:gd name="T19" fmla="*/ 677 h 814"/>
                <a:gd name="T20" fmla="*/ 273 w 810"/>
                <a:gd name="T21" fmla="*/ 722 h 814"/>
                <a:gd name="T22" fmla="*/ 359 w 810"/>
                <a:gd name="T23" fmla="*/ 746 h 814"/>
                <a:gd name="T24" fmla="*/ 451 w 810"/>
                <a:gd name="T25" fmla="*/ 746 h 814"/>
                <a:gd name="T26" fmla="*/ 537 w 810"/>
                <a:gd name="T27" fmla="*/ 722 h 814"/>
                <a:gd name="T28" fmla="*/ 613 w 810"/>
                <a:gd name="T29" fmla="*/ 677 h 814"/>
                <a:gd name="T30" fmla="*/ 675 w 810"/>
                <a:gd name="T31" fmla="*/ 615 h 814"/>
                <a:gd name="T32" fmla="*/ 719 w 810"/>
                <a:gd name="T33" fmla="*/ 540 h 814"/>
                <a:gd name="T34" fmla="*/ 743 w 810"/>
                <a:gd name="T35" fmla="*/ 453 h 814"/>
                <a:gd name="T36" fmla="*/ 743 w 810"/>
                <a:gd name="T37" fmla="*/ 361 h 814"/>
                <a:gd name="T38" fmla="*/ 719 w 810"/>
                <a:gd name="T39" fmla="*/ 273 h 814"/>
                <a:gd name="T40" fmla="*/ 675 w 810"/>
                <a:gd name="T41" fmla="*/ 198 h 814"/>
                <a:gd name="T42" fmla="*/ 613 w 810"/>
                <a:gd name="T43" fmla="*/ 136 h 814"/>
                <a:gd name="T44" fmla="*/ 537 w 810"/>
                <a:gd name="T45" fmla="*/ 91 h 814"/>
                <a:gd name="T46" fmla="*/ 451 w 810"/>
                <a:gd name="T47" fmla="*/ 68 h 814"/>
                <a:gd name="T48" fmla="*/ 405 w 810"/>
                <a:gd name="T49" fmla="*/ 0 h 814"/>
                <a:gd name="T50" fmla="*/ 504 w 810"/>
                <a:gd name="T51" fmla="*/ 12 h 814"/>
                <a:gd name="T52" fmla="*/ 596 w 810"/>
                <a:gd name="T53" fmla="*/ 47 h 814"/>
                <a:gd name="T54" fmla="*/ 674 w 810"/>
                <a:gd name="T55" fmla="*/ 103 h 814"/>
                <a:gd name="T56" fmla="*/ 737 w 810"/>
                <a:gd name="T57" fmla="*/ 174 h 814"/>
                <a:gd name="T58" fmla="*/ 783 w 810"/>
                <a:gd name="T59" fmla="*/ 260 h 814"/>
                <a:gd name="T60" fmla="*/ 807 w 810"/>
                <a:gd name="T61" fmla="*/ 355 h 814"/>
                <a:gd name="T62" fmla="*/ 807 w 810"/>
                <a:gd name="T63" fmla="*/ 458 h 814"/>
                <a:gd name="T64" fmla="*/ 783 w 810"/>
                <a:gd name="T65" fmla="*/ 554 h 814"/>
                <a:gd name="T66" fmla="*/ 737 w 810"/>
                <a:gd name="T67" fmla="*/ 639 h 814"/>
                <a:gd name="T68" fmla="*/ 674 w 810"/>
                <a:gd name="T69" fmla="*/ 710 h 814"/>
                <a:gd name="T70" fmla="*/ 596 w 810"/>
                <a:gd name="T71" fmla="*/ 766 h 814"/>
                <a:gd name="T72" fmla="*/ 504 w 810"/>
                <a:gd name="T73" fmla="*/ 801 h 814"/>
                <a:gd name="T74" fmla="*/ 405 w 810"/>
                <a:gd name="T75" fmla="*/ 814 h 814"/>
                <a:gd name="T76" fmla="*/ 305 w 810"/>
                <a:gd name="T77" fmla="*/ 801 h 814"/>
                <a:gd name="T78" fmla="*/ 215 w 810"/>
                <a:gd name="T79" fmla="*/ 766 h 814"/>
                <a:gd name="T80" fmla="*/ 136 w 810"/>
                <a:gd name="T81" fmla="*/ 710 h 814"/>
                <a:gd name="T82" fmla="*/ 72 w 810"/>
                <a:gd name="T83" fmla="*/ 639 h 814"/>
                <a:gd name="T84" fmla="*/ 27 w 810"/>
                <a:gd name="T85" fmla="*/ 554 h 814"/>
                <a:gd name="T86" fmla="*/ 3 w 810"/>
                <a:gd name="T87" fmla="*/ 458 h 814"/>
                <a:gd name="T88" fmla="*/ 3 w 810"/>
                <a:gd name="T89" fmla="*/ 355 h 814"/>
                <a:gd name="T90" fmla="*/ 27 w 810"/>
                <a:gd name="T91" fmla="*/ 260 h 814"/>
                <a:gd name="T92" fmla="*/ 72 w 810"/>
                <a:gd name="T93" fmla="*/ 174 h 814"/>
                <a:gd name="T94" fmla="*/ 136 w 810"/>
                <a:gd name="T95" fmla="*/ 103 h 814"/>
                <a:gd name="T96" fmla="*/ 215 w 810"/>
                <a:gd name="T97" fmla="*/ 47 h 814"/>
                <a:gd name="T98" fmla="*/ 305 w 810"/>
                <a:gd name="T99" fmla="*/ 12 h 814"/>
                <a:gd name="T100" fmla="*/ 405 w 810"/>
                <a:gd name="T10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10" h="814">
                  <a:moveTo>
                    <a:pt x="405" y="65"/>
                  </a:moveTo>
                  <a:lnTo>
                    <a:pt x="359" y="68"/>
                  </a:lnTo>
                  <a:lnTo>
                    <a:pt x="314" y="77"/>
                  </a:lnTo>
                  <a:lnTo>
                    <a:pt x="273" y="91"/>
                  </a:lnTo>
                  <a:lnTo>
                    <a:pt x="233" y="112"/>
                  </a:lnTo>
                  <a:lnTo>
                    <a:pt x="196" y="136"/>
                  </a:lnTo>
                  <a:lnTo>
                    <a:pt x="164" y="165"/>
                  </a:lnTo>
                  <a:lnTo>
                    <a:pt x="136" y="198"/>
                  </a:lnTo>
                  <a:lnTo>
                    <a:pt x="111" y="234"/>
                  </a:lnTo>
                  <a:lnTo>
                    <a:pt x="91" y="273"/>
                  </a:lnTo>
                  <a:lnTo>
                    <a:pt x="76" y="316"/>
                  </a:lnTo>
                  <a:lnTo>
                    <a:pt x="67" y="361"/>
                  </a:lnTo>
                  <a:lnTo>
                    <a:pt x="64" y="407"/>
                  </a:lnTo>
                  <a:lnTo>
                    <a:pt x="67" y="453"/>
                  </a:lnTo>
                  <a:lnTo>
                    <a:pt x="76" y="497"/>
                  </a:lnTo>
                  <a:lnTo>
                    <a:pt x="91" y="540"/>
                  </a:lnTo>
                  <a:lnTo>
                    <a:pt x="111" y="579"/>
                  </a:lnTo>
                  <a:lnTo>
                    <a:pt x="136" y="615"/>
                  </a:lnTo>
                  <a:lnTo>
                    <a:pt x="164" y="649"/>
                  </a:lnTo>
                  <a:lnTo>
                    <a:pt x="196" y="677"/>
                  </a:lnTo>
                  <a:lnTo>
                    <a:pt x="233" y="702"/>
                  </a:lnTo>
                  <a:lnTo>
                    <a:pt x="273" y="722"/>
                  </a:lnTo>
                  <a:lnTo>
                    <a:pt x="314" y="736"/>
                  </a:lnTo>
                  <a:lnTo>
                    <a:pt x="359" y="746"/>
                  </a:lnTo>
                  <a:lnTo>
                    <a:pt x="405" y="748"/>
                  </a:lnTo>
                  <a:lnTo>
                    <a:pt x="451" y="746"/>
                  </a:lnTo>
                  <a:lnTo>
                    <a:pt x="496" y="736"/>
                  </a:lnTo>
                  <a:lnTo>
                    <a:pt x="537" y="722"/>
                  </a:lnTo>
                  <a:lnTo>
                    <a:pt x="577" y="702"/>
                  </a:lnTo>
                  <a:lnTo>
                    <a:pt x="613" y="677"/>
                  </a:lnTo>
                  <a:lnTo>
                    <a:pt x="646" y="649"/>
                  </a:lnTo>
                  <a:lnTo>
                    <a:pt x="675" y="615"/>
                  </a:lnTo>
                  <a:lnTo>
                    <a:pt x="699" y="579"/>
                  </a:lnTo>
                  <a:lnTo>
                    <a:pt x="719" y="540"/>
                  </a:lnTo>
                  <a:lnTo>
                    <a:pt x="734" y="497"/>
                  </a:lnTo>
                  <a:lnTo>
                    <a:pt x="743" y="453"/>
                  </a:lnTo>
                  <a:lnTo>
                    <a:pt x="746" y="407"/>
                  </a:lnTo>
                  <a:lnTo>
                    <a:pt x="743" y="361"/>
                  </a:lnTo>
                  <a:lnTo>
                    <a:pt x="734" y="316"/>
                  </a:lnTo>
                  <a:lnTo>
                    <a:pt x="719" y="273"/>
                  </a:lnTo>
                  <a:lnTo>
                    <a:pt x="699" y="234"/>
                  </a:lnTo>
                  <a:lnTo>
                    <a:pt x="675" y="198"/>
                  </a:lnTo>
                  <a:lnTo>
                    <a:pt x="646" y="165"/>
                  </a:lnTo>
                  <a:lnTo>
                    <a:pt x="613" y="136"/>
                  </a:lnTo>
                  <a:lnTo>
                    <a:pt x="577" y="112"/>
                  </a:lnTo>
                  <a:lnTo>
                    <a:pt x="537" y="91"/>
                  </a:lnTo>
                  <a:lnTo>
                    <a:pt x="496" y="77"/>
                  </a:lnTo>
                  <a:lnTo>
                    <a:pt x="451" y="68"/>
                  </a:lnTo>
                  <a:lnTo>
                    <a:pt x="405" y="65"/>
                  </a:lnTo>
                  <a:close/>
                  <a:moveTo>
                    <a:pt x="405" y="0"/>
                  </a:moveTo>
                  <a:lnTo>
                    <a:pt x="455" y="4"/>
                  </a:lnTo>
                  <a:lnTo>
                    <a:pt x="504" y="12"/>
                  </a:lnTo>
                  <a:lnTo>
                    <a:pt x="551" y="28"/>
                  </a:lnTo>
                  <a:lnTo>
                    <a:pt x="596" y="47"/>
                  </a:lnTo>
                  <a:lnTo>
                    <a:pt x="636" y="72"/>
                  </a:lnTo>
                  <a:lnTo>
                    <a:pt x="674" y="103"/>
                  </a:lnTo>
                  <a:lnTo>
                    <a:pt x="708" y="137"/>
                  </a:lnTo>
                  <a:lnTo>
                    <a:pt x="737" y="174"/>
                  </a:lnTo>
                  <a:lnTo>
                    <a:pt x="762" y="215"/>
                  </a:lnTo>
                  <a:lnTo>
                    <a:pt x="783" y="260"/>
                  </a:lnTo>
                  <a:lnTo>
                    <a:pt x="798" y="307"/>
                  </a:lnTo>
                  <a:lnTo>
                    <a:pt x="807" y="355"/>
                  </a:lnTo>
                  <a:lnTo>
                    <a:pt x="810" y="407"/>
                  </a:lnTo>
                  <a:lnTo>
                    <a:pt x="807" y="458"/>
                  </a:lnTo>
                  <a:lnTo>
                    <a:pt x="798" y="507"/>
                  </a:lnTo>
                  <a:lnTo>
                    <a:pt x="783" y="554"/>
                  </a:lnTo>
                  <a:lnTo>
                    <a:pt x="762" y="598"/>
                  </a:lnTo>
                  <a:lnTo>
                    <a:pt x="737" y="639"/>
                  </a:lnTo>
                  <a:lnTo>
                    <a:pt x="708" y="676"/>
                  </a:lnTo>
                  <a:lnTo>
                    <a:pt x="674" y="710"/>
                  </a:lnTo>
                  <a:lnTo>
                    <a:pt x="636" y="741"/>
                  </a:lnTo>
                  <a:lnTo>
                    <a:pt x="596" y="766"/>
                  </a:lnTo>
                  <a:lnTo>
                    <a:pt x="551" y="785"/>
                  </a:lnTo>
                  <a:lnTo>
                    <a:pt x="504" y="801"/>
                  </a:lnTo>
                  <a:lnTo>
                    <a:pt x="455" y="810"/>
                  </a:lnTo>
                  <a:lnTo>
                    <a:pt x="405" y="814"/>
                  </a:lnTo>
                  <a:lnTo>
                    <a:pt x="354" y="810"/>
                  </a:lnTo>
                  <a:lnTo>
                    <a:pt x="305" y="801"/>
                  </a:lnTo>
                  <a:lnTo>
                    <a:pt x="258" y="785"/>
                  </a:lnTo>
                  <a:lnTo>
                    <a:pt x="215" y="766"/>
                  </a:lnTo>
                  <a:lnTo>
                    <a:pt x="174" y="741"/>
                  </a:lnTo>
                  <a:lnTo>
                    <a:pt x="136" y="710"/>
                  </a:lnTo>
                  <a:lnTo>
                    <a:pt x="102" y="676"/>
                  </a:lnTo>
                  <a:lnTo>
                    <a:pt x="72" y="639"/>
                  </a:lnTo>
                  <a:lnTo>
                    <a:pt x="47" y="598"/>
                  </a:lnTo>
                  <a:lnTo>
                    <a:pt x="27" y="554"/>
                  </a:lnTo>
                  <a:lnTo>
                    <a:pt x="13" y="507"/>
                  </a:lnTo>
                  <a:lnTo>
                    <a:pt x="3" y="458"/>
                  </a:lnTo>
                  <a:lnTo>
                    <a:pt x="0" y="407"/>
                  </a:lnTo>
                  <a:lnTo>
                    <a:pt x="3" y="355"/>
                  </a:lnTo>
                  <a:lnTo>
                    <a:pt x="13" y="307"/>
                  </a:lnTo>
                  <a:lnTo>
                    <a:pt x="27" y="260"/>
                  </a:lnTo>
                  <a:lnTo>
                    <a:pt x="47" y="215"/>
                  </a:lnTo>
                  <a:lnTo>
                    <a:pt x="72" y="174"/>
                  </a:lnTo>
                  <a:lnTo>
                    <a:pt x="102" y="137"/>
                  </a:lnTo>
                  <a:lnTo>
                    <a:pt x="136" y="103"/>
                  </a:lnTo>
                  <a:lnTo>
                    <a:pt x="174" y="72"/>
                  </a:lnTo>
                  <a:lnTo>
                    <a:pt x="215" y="47"/>
                  </a:lnTo>
                  <a:lnTo>
                    <a:pt x="258" y="28"/>
                  </a:lnTo>
                  <a:lnTo>
                    <a:pt x="305" y="12"/>
                  </a:lnTo>
                  <a:lnTo>
                    <a:pt x="354" y="4"/>
                  </a:lnTo>
                  <a:lnTo>
                    <a:pt x="4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xmlns="" id="{970D767B-C89C-45B8-88CE-D487AECEFC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6" y="1368"/>
              <a:ext cx="215" cy="216"/>
            </a:xfrm>
            <a:custGeom>
              <a:avLst/>
              <a:gdLst>
                <a:gd name="T0" fmla="*/ 909 w 2152"/>
                <a:gd name="T1" fmla="*/ 102 h 2159"/>
                <a:gd name="T2" fmla="*/ 762 w 2152"/>
                <a:gd name="T3" fmla="*/ 314 h 2159"/>
                <a:gd name="T4" fmla="*/ 509 w 2152"/>
                <a:gd name="T5" fmla="*/ 271 h 2159"/>
                <a:gd name="T6" fmla="*/ 437 w 2152"/>
                <a:gd name="T7" fmla="*/ 284 h 2159"/>
                <a:gd name="T8" fmla="*/ 263 w 2152"/>
                <a:gd name="T9" fmla="*/ 513 h 2159"/>
                <a:gd name="T10" fmla="*/ 307 w 2152"/>
                <a:gd name="T11" fmla="*/ 801 h 2159"/>
                <a:gd name="T12" fmla="*/ 87 w 2152"/>
                <a:gd name="T13" fmla="*/ 922 h 2159"/>
                <a:gd name="T14" fmla="*/ 67 w 2152"/>
                <a:gd name="T15" fmla="*/ 1215 h 2159"/>
                <a:gd name="T16" fmla="*/ 288 w 2152"/>
                <a:gd name="T17" fmla="*/ 1279 h 2159"/>
                <a:gd name="T18" fmla="*/ 379 w 2152"/>
                <a:gd name="T19" fmla="*/ 1494 h 2159"/>
                <a:gd name="T20" fmla="*/ 267 w 2152"/>
                <a:gd name="T21" fmla="*/ 1698 h 2159"/>
                <a:gd name="T22" fmla="*/ 482 w 2152"/>
                <a:gd name="T23" fmla="*/ 1893 h 2159"/>
                <a:gd name="T24" fmla="*/ 673 w 2152"/>
                <a:gd name="T25" fmla="*/ 1783 h 2159"/>
                <a:gd name="T26" fmla="*/ 896 w 2152"/>
                <a:gd name="T27" fmla="*/ 2038 h 2159"/>
                <a:gd name="T28" fmla="*/ 958 w 2152"/>
                <a:gd name="T29" fmla="*/ 2095 h 2159"/>
                <a:gd name="T30" fmla="*/ 1242 w 2152"/>
                <a:gd name="T31" fmla="*/ 2056 h 2159"/>
                <a:gd name="T32" fmla="*/ 1420 w 2152"/>
                <a:gd name="T33" fmla="*/ 1818 h 2159"/>
                <a:gd name="T34" fmla="*/ 1657 w 2152"/>
                <a:gd name="T35" fmla="*/ 1890 h 2159"/>
                <a:gd name="T36" fmla="*/ 1874 w 2152"/>
                <a:gd name="T37" fmla="*/ 1714 h 2159"/>
                <a:gd name="T38" fmla="*/ 1880 w 2152"/>
                <a:gd name="T39" fmla="*/ 1630 h 2159"/>
                <a:gd name="T40" fmla="*/ 1870 w 2152"/>
                <a:gd name="T41" fmla="*/ 1289 h 2159"/>
                <a:gd name="T42" fmla="*/ 2078 w 2152"/>
                <a:gd name="T43" fmla="*/ 1222 h 2159"/>
                <a:gd name="T44" fmla="*/ 2078 w 2152"/>
                <a:gd name="T45" fmla="*/ 925 h 2159"/>
                <a:gd name="T46" fmla="*/ 1872 w 2152"/>
                <a:gd name="T47" fmla="*/ 858 h 2159"/>
                <a:gd name="T48" fmla="*/ 1879 w 2152"/>
                <a:gd name="T49" fmla="*/ 528 h 2159"/>
                <a:gd name="T50" fmla="*/ 1874 w 2152"/>
                <a:gd name="T51" fmla="*/ 444 h 2159"/>
                <a:gd name="T52" fmla="*/ 1657 w 2152"/>
                <a:gd name="T53" fmla="*/ 267 h 2159"/>
                <a:gd name="T54" fmla="*/ 1447 w 2152"/>
                <a:gd name="T55" fmla="*/ 336 h 2159"/>
                <a:gd name="T56" fmla="*/ 1257 w 2152"/>
                <a:gd name="T57" fmla="*/ 120 h 2159"/>
                <a:gd name="T58" fmla="*/ 1193 w 2152"/>
                <a:gd name="T59" fmla="*/ 64 h 2159"/>
                <a:gd name="T60" fmla="*/ 1246 w 2152"/>
                <a:gd name="T61" fmla="*/ 10 h 2159"/>
                <a:gd name="T62" fmla="*/ 1321 w 2152"/>
                <a:gd name="T63" fmla="*/ 113 h 2159"/>
                <a:gd name="T64" fmla="*/ 1592 w 2152"/>
                <a:gd name="T65" fmla="*/ 229 h 2159"/>
                <a:gd name="T66" fmla="*/ 1696 w 2152"/>
                <a:gd name="T67" fmla="*/ 204 h 2159"/>
                <a:gd name="T68" fmla="*/ 1936 w 2152"/>
                <a:gd name="T69" fmla="*/ 420 h 2159"/>
                <a:gd name="T70" fmla="*/ 1944 w 2152"/>
                <a:gd name="T71" fmla="*/ 545 h 2159"/>
                <a:gd name="T72" fmla="*/ 1928 w 2152"/>
                <a:gd name="T73" fmla="*/ 821 h 2159"/>
                <a:gd name="T74" fmla="*/ 2128 w 2152"/>
                <a:gd name="T75" fmla="*/ 886 h 2159"/>
                <a:gd name="T76" fmla="*/ 2150 w 2152"/>
                <a:gd name="T77" fmla="*/ 1215 h 2159"/>
                <a:gd name="T78" fmla="*/ 2066 w 2152"/>
                <a:gd name="T79" fmla="*/ 1309 h 2159"/>
                <a:gd name="T80" fmla="*/ 1856 w 2152"/>
                <a:gd name="T81" fmla="*/ 1495 h 2159"/>
                <a:gd name="T82" fmla="*/ 1956 w 2152"/>
                <a:gd name="T83" fmla="*/ 1690 h 2159"/>
                <a:gd name="T84" fmla="*/ 1742 w 2152"/>
                <a:gd name="T85" fmla="*/ 1935 h 2159"/>
                <a:gd name="T86" fmla="*/ 1629 w 2152"/>
                <a:gd name="T87" fmla="*/ 1949 h 2159"/>
                <a:gd name="T88" fmla="*/ 1384 w 2152"/>
                <a:gd name="T89" fmla="*/ 1904 h 2159"/>
                <a:gd name="T90" fmla="*/ 1278 w 2152"/>
                <a:gd name="T91" fmla="*/ 2118 h 2159"/>
                <a:gd name="T92" fmla="*/ 958 w 2152"/>
                <a:gd name="T93" fmla="*/ 2159 h 2159"/>
                <a:gd name="T94" fmla="*/ 850 w 2152"/>
                <a:gd name="T95" fmla="*/ 2096 h 2159"/>
                <a:gd name="T96" fmla="*/ 711 w 2152"/>
                <a:gd name="T97" fmla="*/ 1875 h 2159"/>
                <a:gd name="T98" fmla="*/ 503 w 2152"/>
                <a:gd name="T99" fmla="*/ 1955 h 2159"/>
                <a:gd name="T100" fmla="*/ 411 w 2152"/>
                <a:gd name="T101" fmla="*/ 1935 h 2159"/>
                <a:gd name="T102" fmla="*/ 197 w 2152"/>
                <a:gd name="T103" fmla="*/ 1688 h 2159"/>
                <a:gd name="T104" fmla="*/ 301 w 2152"/>
                <a:gd name="T105" fmla="*/ 1489 h 2159"/>
                <a:gd name="T106" fmla="*/ 87 w 2152"/>
                <a:gd name="T107" fmla="*/ 1317 h 2159"/>
                <a:gd name="T108" fmla="*/ 3 w 2152"/>
                <a:gd name="T109" fmla="*/ 1223 h 2159"/>
                <a:gd name="T110" fmla="*/ 24 w 2152"/>
                <a:gd name="T111" fmla="*/ 895 h 2159"/>
                <a:gd name="T112" fmla="*/ 231 w 2152"/>
                <a:gd name="T113" fmla="*/ 829 h 2159"/>
                <a:gd name="T114" fmla="*/ 208 w 2152"/>
                <a:gd name="T115" fmla="*/ 545 h 2159"/>
                <a:gd name="T116" fmla="*/ 215 w 2152"/>
                <a:gd name="T117" fmla="*/ 420 h 2159"/>
                <a:gd name="T118" fmla="*/ 457 w 2152"/>
                <a:gd name="T119" fmla="*/ 204 h 2159"/>
                <a:gd name="T120" fmla="*/ 561 w 2152"/>
                <a:gd name="T121" fmla="*/ 229 h 2159"/>
                <a:gd name="T122" fmla="*/ 841 w 2152"/>
                <a:gd name="T123" fmla="*/ 113 h 2159"/>
                <a:gd name="T124" fmla="*/ 916 w 2152"/>
                <a:gd name="T125" fmla="*/ 1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2" h="2159">
                  <a:moveTo>
                    <a:pt x="968" y="64"/>
                  </a:moveTo>
                  <a:lnTo>
                    <a:pt x="950" y="66"/>
                  </a:lnTo>
                  <a:lnTo>
                    <a:pt x="933" y="75"/>
                  </a:lnTo>
                  <a:lnTo>
                    <a:pt x="919" y="87"/>
                  </a:lnTo>
                  <a:lnTo>
                    <a:pt x="909" y="102"/>
                  </a:lnTo>
                  <a:lnTo>
                    <a:pt x="905" y="120"/>
                  </a:lnTo>
                  <a:lnTo>
                    <a:pt x="888" y="272"/>
                  </a:lnTo>
                  <a:lnTo>
                    <a:pt x="866" y="278"/>
                  </a:lnTo>
                  <a:lnTo>
                    <a:pt x="813" y="294"/>
                  </a:lnTo>
                  <a:lnTo>
                    <a:pt x="762" y="314"/>
                  </a:lnTo>
                  <a:lnTo>
                    <a:pt x="710" y="338"/>
                  </a:lnTo>
                  <a:lnTo>
                    <a:pt x="661" y="364"/>
                  </a:lnTo>
                  <a:lnTo>
                    <a:pt x="643" y="376"/>
                  </a:lnTo>
                  <a:lnTo>
                    <a:pt x="521" y="279"/>
                  </a:lnTo>
                  <a:lnTo>
                    <a:pt x="509" y="271"/>
                  </a:lnTo>
                  <a:lnTo>
                    <a:pt x="496" y="267"/>
                  </a:lnTo>
                  <a:lnTo>
                    <a:pt x="482" y="266"/>
                  </a:lnTo>
                  <a:lnTo>
                    <a:pt x="466" y="268"/>
                  </a:lnTo>
                  <a:lnTo>
                    <a:pt x="450" y="274"/>
                  </a:lnTo>
                  <a:lnTo>
                    <a:pt x="437" y="284"/>
                  </a:lnTo>
                  <a:lnTo>
                    <a:pt x="277" y="444"/>
                  </a:lnTo>
                  <a:lnTo>
                    <a:pt x="267" y="459"/>
                  </a:lnTo>
                  <a:lnTo>
                    <a:pt x="260" y="477"/>
                  </a:lnTo>
                  <a:lnTo>
                    <a:pt x="259" y="494"/>
                  </a:lnTo>
                  <a:lnTo>
                    <a:pt x="263" y="513"/>
                  </a:lnTo>
                  <a:lnTo>
                    <a:pt x="273" y="529"/>
                  </a:lnTo>
                  <a:lnTo>
                    <a:pt x="373" y="656"/>
                  </a:lnTo>
                  <a:lnTo>
                    <a:pt x="362" y="674"/>
                  </a:lnTo>
                  <a:lnTo>
                    <a:pt x="332" y="736"/>
                  </a:lnTo>
                  <a:lnTo>
                    <a:pt x="307" y="801"/>
                  </a:lnTo>
                  <a:lnTo>
                    <a:pt x="287" y="866"/>
                  </a:lnTo>
                  <a:lnTo>
                    <a:pt x="282" y="888"/>
                  </a:lnTo>
                  <a:lnTo>
                    <a:pt x="121" y="907"/>
                  </a:lnTo>
                  <a:lnTo>
                    <a:pt x="102" y="912"/>
                  </a:lnTo>
                  <a:lnTo>
                    <a:pt x="87" y="922"/>
                  </a:lnTo>
                  <a:lnTo>
                    <a:pt x="75" y="935"/>
                  </a:lnTo>
                  <a:lnTo>
                    <a:pt x="67" y="952"/>
                  </a:lnTo>
                  <a:lnTo>
                    <a:pt x="64" y="970"/>
                  </a:lnTo>
                  <a:lnTo>
                    <a:pt x="64" y="1196"/>
                  </a:lnTo>
                  <a:lnTo>
                    <a:pt x="67" y="1215"/>
                  </a:lnTo>
                  <a:lnTo>
                    <a:pt x="75" y="1232"/>
                  </a:lnTo>
                  <a:lnTo>
                    <a:pt x="87" y="1245"/>
                  </a:lnTo>
                  <a:lnTo>
                    <a:pt x="102" y="1255"/>
                  </a:lnTo>
                  <a:lnTo>
                    <a:pt x="121" y="1259"/>
                  </a:lnTo>
                  <a:lnTo>
                    <a:pt x="288" y="1279"/>
                  </a:lnTo>
                  <a:lnTo>
                    <a:pt x="295" y="1300"/>
                  </a:lnTo>
                  <a:lnTo>
                    <a:pt x="314" y="1361"/>
                  </a:lnTo>
                  <a:lnTo>
                    <a:pt x="339" y="1419"/>
                  </a:lnTo>
                  <a:lnTo>
                    <a:pt x="368" y="1476"/>
                  </a:lnTo>
                  <a:lnTo>
                    <a:pt x="379" y="1494"/>
                  </a:lnTo>
                  <a:lnTo>
                    <a:pt x="273" y="1628"/>
                  </a:lnTo>
                  <a:lnTo>
                    <a:pt x="263" y="1645"/>
                  </a:lnTo>
                  <a:lnTo>
                    <a:pt x="259" y="1663"/>
                  </a:lnTo>
                  <a:lnTo>
                    <a:pt x="260" y="1681"/>
                  </a:lnTo>
                  <a:lnTo>
                    <a:pt x="267" y="1698"/>
                  </a:lnTo>
                  <a:lnTo>
                    <a:pt x="277" y="1714"/>
                  </a:lnTo>
                  <a:lnTo>
                    <a:pt x="437" y="1873"/>
                  </a:lnTo>
                  <a:lnTo>
                    <a:pt x="450" y="1884"/>
                  </a:lnTo>
                  <a:lnTo>
                    <a:pt x="466" y="1890"/>
                  </a:lnTo>
                  <a:lnTo>
                    <a:pt x="482" y="1893"/>
                  </a:lnTo>
                  <a:lnTo>
                    <a:pt x="496" y="1890"/>
                  </a:lnTo>
                  <a:lnTo>
                    <a:pt x="509" y="1886"/>
                  </a:lnTo>
                  <a:lnTo>
                    <a:pt x="521" y="1878"/>
                  </a:lnTo>
                  <a:lnTo>
                    <a:pt x="655" y="1773"/>
                  </a:lnTo>
                  <a:lnTo>
                    <a:pt x="673" y="1783"/>
                  </a:lnTo>
                  <a:lnTo>
                    <a:pt x="732" y="1814"/>
                  </a:lnTo>
                  <a:lnTo>
                    <a:pt x="793" y="1840"/>
                  </a:lnTo>
                  <a:lnTo>
                    <a:pt x="855" y="1861"/>
                  </a:lnTo>
                  <a:lnTo>
                    <a:pt x="876" y="1866"/>
                  </a:lnTo>
                  <a:lnTo>
                    <a:pt x="896" y="2038"/>
                  </a:lnTo>
                  <a:lnTo>
                    <a:pt x="901" y="2056"/>
                  </a:lnTo>
                  <a:lnTo>
                    <a:pt x="911" y="2072"/>
                  </a:lnTo>
                  <a:lnTo>
                    <a:pt x="924" y="2084"/>
                  </a:lnTo>
                  <a:lnTo>
                    <a:pt x="940" y="2091"/>
                  </a:lnTo>
                  <a:lnTo>
                    <a:pt x="958" y="2095"/>
                  </a:lnTo>
                  <a:lnTo>
                    <a:pt x="1185" y="2095"/>
                  </a:lnTo>
                  <a:lnTo>
                    <a:pt x="1203" y="2091"/>
                  </a:lnTo>
                  <a:lnTo>
                    <a:pt x="1220" y="2084"/>
                  </a:lnTo>
                  <a:lnTo>
                    <a:pt x="1233" y="2072"/>
                  </a:lnTo>
                  <a:lnTo>
                    <a:pt x="1242" y="2056"/>
                  </a:lnTo>
                  <a:lnTo>
                    <a:pt x="1248" y="2038"/>
                  </a:lnTo>
                  <a:lnTo>
                    <a:pt x="1266" y="1872"/>
                  </a:lnTo>
                  <a:lnTo>
                    <a:pt x="1288" y="1865"/>
                  </a:lnTo>
                  <a:lnTo>
                    <a:pt x="1354" y="1846"/>
                  </a:lnTo>
                  <a:lnTo>
                    <a:pt x="1420" y="1818"/>
                  </a:lnTo>
                  <a:lnTo>
                    <a:pt x="1483" y="1787"/>
                  </a:lnTo>
                  <a:lnTo>
                    <a:pt x="1502" y="1776"/>
                  </a:lnTo>
                  <a:lnTo>
                    <a:pt x="1631" y="1878"/>
                  </a:lnTo>
                  <a:lnTo>
                    <a:pt x="1643" y="1886"/>
                  </a:lnTo>
                  <a:lnTo>
                    <a:pt x="1657" y="1890"/>
                  </a:lnTo>
                  <a:lnTo>
                    <a:pt x="1670" y="1893"/>
                  </a:lnTo>
                  <a:lnTo>
                    <a:pt x="1687" y="1890"/>
                  </a:lnTo>
                  <a:lnTo>
                    <a:pt x="1703" y="1884"/>
                  </a:lnTo>
                  <a:lnTo>
                    <a:pt x="1716" y="1874"/>
                  </a:lnTo>
                  <a:lnTo>
                    <a:pt x="1874" y="1714"/>
                  </a:lnTo>
                  <a:lnTo>
                    <a:pt x="1886" y="1698"/>
                  </a:lnTo>
                  <a:lnTo>
                    <a:pt x="1892" y="1682"/>
                  </a:lnTo>
                  <a:lnTo>
                    <a:pt x="1893" y="1663"/>
                  </a:lnTo>
                  <a:lnTo>
                    <a:pt x="1889" y="1646"/>
                  </a:lnTo>
                  <a:lnTo>
                    <a:pt x="1880" y="1630"/>
                  </a:lnTo>
                  <a:lnTo>
                    <a:pt x="1779" y="1501"/>
                  </a:lnTo>
                  <a:lnTo>
                    <a:pt x="1790" y="1482"/>
                  </a:lnTo>
                  <a:lnTo>
                    <a:pt x="1822" y="1420"/>
                  </a:lnTo>
                  <a:lnTo>
                    <a:pt x="1849" y="1355"/>
                  </a:lnTo>
                  <a:lnTo>
                    <a:pt x="1870" y="1289"/>
                  </a:lnTo>
                  <a:lnTo>
                    <a:pt x="1876" y="1268"/>
                  </a:lnTo>
                  <a:lnTo>
                    <a:pt x="2032" y="1251"/>
                  </a:lnTo>
                  <a:lnTo>
                    <a:pt x="2050" y="1245"/>
                  </a:lnTo>
                  <a:lnTo>
                    <a:pt x="2066" y="1235"/>
                  </a:lnTo>
                  <a:lnTo>
                    <a:pt x="2078" y="1222"/>
                  </a:lnTo>
                  <a:lnTo>
                    <a:pt x="2085" y="1206"/>
                  </a:lnTo>
                  <a:lnTo>
                    <a:pt x="2088" y="1187"/>
                  </a:lnTo>
                  <a:lnTo>
                    <a:pt x="2088" y="960"/>
                  </a:lnTo>
                  <a:lnTo>
                    <a:pt x="2085" y="942"/>
                  </a:lnTo>
                  <a:lnTo>
                    <a:pt x="2078" y="925"/>
                  </a:lnTo>
                  <a:lnTo>
                    <a:pt x="2066" y="912"/>
                  </a:lnTo>
                  <a:lnTo>
                    <a:pt x="2050" y="902"/>
                  </a:lnTo>
                  <a:lnTo>
                    <a:pt x="2032" y="898"/>
                  </a:lnTo>
                  <a:lnTo>
                    <a:pt x="1878" y="879"/>
                  </a:lnTo>
                  <a:lnTo>
                    <a:pt x="1872" y="858"/>
                  </a:lnTo>
                  <a:lnTo>
                    <a:pt x="1852" y="793"/>
                  </a:lnTo>
                  <a:lnTo>
                    <a:pt x="1827" y="730"/>
                  </a:lnTo>
                  <a:lnTo>
                    <a:pt x="1794" y="668"/>
                  </a:lnTo>
                  <a:lnTo>
                    <a:pt x="1784" y="649"/>
                  </a:lnTo>
                  <a:lnTo>
                    <a:pt x="1879" y="528"/>
                  </a:lnTo>
                  <a:lnTo>
                    <a:pt x="1889" y="512"/>
                  </a:lnTo>
                  <a:lnTo>
                    <a:pt x="1893" y="494"/>
                  </a:lnTo>
                  <a:lnTo>
                    <a:pt x="1892" y="477"/>
                  </a:lnTo>
                  <a:lnTo>
                    <a:pt x="1885" y="459"/>
                  </a:lnTo>
                  <a:lnTo>
                    <a:pt x="1874" y="444"/>
                  </a:lnTo>
                  <a:lnTo>
                    <a:pt x="1716" y="284"/>
                  </a:lnTo>
                  <a:lnTo>
                    <a:pt x="1703" y="274"/>
                  </a:lnTo>
                  <a:lnTo>
                    <a:pt x="1687" y="268"/>
                  </a:lnTo>
                  <a:lnTo>
                    <a:pt x="1671" y="266"/>
                  </a:lnTo>
                  <a:lnTo>
                    <a:pt x="1657" y="267"/>
                  </a:lnTo>
                  <a:lnTo>
                    <a:pt x="1643" y="271"/>
                  </a:lnTo>
                  <a:lnTo>
                    <a:pt x="1631" y="279"/>
                  </a:lnTo>
                  <a:lnTo>
                    <a:pt x="1513" y="373"/>
                  </a:lnTo>
                  <a:lnTo>
                    <a:pt x="1495" y="362"/>
                  </a:lnTo>
                  <a:lnTo>
                    <a:pt x="1447" y="336"/>
                  </a:lnTo>
                  <a:lnTo>
                    <a:pt x="1398" y="313"/>
                  </a:lnTo>
                  <a:lnTo>
                    <a:pt x="1347" y="293"/>
                  </a:lnTo>
                  <a:lnTo>
                    <a:pt x="1296" y="278"/>
                  </a:lnTo>
                  <a:lnTo>
                    <a:pt x="1274" y="272"/>
                  </a:lnTo>
                  <a:lnTo>
                    <a:pt x="1257" y="120"/>
                  </a:lnTo>
                  <a:lnTo>
                    <a:pt x="1251" y="102"/>
                  </a:lnTo>
                  <a:lnTo>
                    <a:pt x="1242" y="87"/>
                  </a:lnTo>
                  <a:lnTo>
                    <a:pt x="1228" y="75"/>
                  </a:lnTo>
                  <a:lnTo>
                    <a:pt x="1212" y="66"/>
                  </a:lnTo>
                  <a:lnTo>
                    <a:pt x="1193" y="64"/>
                  </a:lnTo>
                  <a:lnTo>
                    <a:pt x="968" y="64"/>
                  </a:lnTo>
                  <a:close/>
                  <a:moveTo>
                    <a:pt x="968" y="0"/>
                  </a:moveTo>
                  <a:lnTo>
                    <a:pt x="1193" y="0"/>
                  </a:lnTo>
                  <a:lnTo>
                    <a:pt x="1221" y="2"/>
                  </a:lnTo>
                  <a:lnTo>
                    <a:pt x="1246" y="10"/>
                  </a:lnTo>
                  <a:lnTo>
                    <a:pt x="1268" y="24"/>
                  </a:lnTo>
                  <a:lnTo>
                    <a:pt x="1288" y="41"/>
                  </a:lnTo>
                  <a:lnTo>
                    <a:pt x="1303" y="62"/>
                  </a:lnTo>
                  <a:lnTo>
                    <a:pt x="1314" y="86"/>
                  </a:lnTo>
                  <a:lnTo>
                    <a:pt x="1321" y="113"/>
                  </a:lnTo>
                  <a:lnTo>
                    <a:pt x="1333" y="221"/>
                  </a:lnTo>
                  <a:lnTo>
                    <a:pt x="1394" y="242"/>
                  </a:lnTo>
                  <a:lnTo>
                    <a:pt x="1451" y="266"/>
                  </a:lnTo>
                  <a:lnTo>
                    <a:pt x="1508" y="295"/>
                  </a:lnTo>
                  <a:lnTo>
                    <a:pt x="1592" y="229"/>
                  </a:lnTo>
                  <a:lnTo>
                    <a:pt x="1609" y="217"/>
                  </a:lnTo>
                  <a:lnTo>
                    <a:pt x="1629" y="208"/>
                  </a:lnTo>
                  <a:lnTo>
                    <a:pt x="1649" y="203"/>
                  </a:lnTo>
                  <a:lnTo>
                    <a:pt x="1671" y="200"/>
                  </a:lnTo>
                  <a:lnTo>
                    <a:pt x="1696" y="204"/>
                  </a:lnTo>
                  <a:lnTo>
                    <a:pt x="1720" y="210"/>
                  </a:lnTo>
                  <a:lnTo>
                    <a:pt x="1742" y="222"/>
                  </a:lnTo>
                  <a:lnTo>
                    <a:pt x="1761" y="239"/>
                  </a:lnTo>
                  <a:lnTo>
                    <a:pt x="1920" y="398"/>
                  </a:lnTo>
                  <a:lnTo>
                    <a:pt x="1936" y="420"/>
                  </a:lnTo>
                  <a:lnTo>
                    <a:pt x="1948" y="443"/>
                  </a:lnTo>
                  <a:lnTo>
                    <a:pt x="1956" y="469"/>
                  </a:lnTo>
                  <a:lnTo>
                    <a:pt x="1957" y="495"/>
                  </a:lnTo>
                  <a:lnTo>
                    <a:pt x="1953" y="520"/>
                  </a:lnTo>
                  <a:lnTo>
                    <a:pt x="1944" y="545"/>
                  </a:lnTo>
                  <a:lnTo>
                    <a:pt x="1930" y="568"/>
                  </a:lnTo>
                  <a:lnTo>
                    <a:pt x="1861" y="656"/>
                  </a:lnTo>
                  <a:lnTo>
                    <a:pt x="1887" y="709"/>
                  </a:lnTo>
                  <a:lnTo>
                    <a:pt x="1909" y="764"/>
                  </a:lnTo>
                  <a:lnTo>
                    <a:pt x="1928" y="821"/>
                  </a:lnTo>
                  <a:lnTo>
                    <a:pt x="2040" y="834"/>
                  </a:lnTo>
                  <a:lnTo>
                    <a:pt x="2066" y="839"/>
                  </a:lnTo>
                  <a:lnTo>
                    <a:pt x="2090" y="851"/>
                  </a:lnTo>
                  <a:lnTo>
                    <a:pt x="2110" y="866"/>
                  </a:lnTo>
                  <a:lnTo>
                    <a:pt x="2128" y="886"/>
                  </a:lnTo>
                  <a:lnTo>
                    <a:pt x="2141" y="908"/>
                  </a:lnTo>
                  <a:lnTo>
                    <a:pt x="2150" y="934"/>
                  </a:lnTo>
                  <a:lnTo>
                    <a:pt x="2152" y="960"/>
                  </a:lnTo>
                  <a:lnTo>
                    <a:pt x="2152" y="1187"/>
                  </a:lnTo>
                  <a:lnTo>
                    <a:pt x="2150" y="1215"/>
                  </a:lnTo>
                  <a:lnTo>
                    <a:pt x="2141" y="1240"/>
                  </a:lnTo>
                  <a:lnTo>
                    <a:pt x="2128" y="1262"/>
                  </a:lnTo>
                  <a:lnTo>
                    <a:pt x="2110" y="1281"/>
                  </a:lnTo>
                  <a:lnTo>
                    <a:pt x="2090" y="1298"/>
                  </a:lnTo>
                  <a:lnTo>
                    <a:pt x="2066" y="1309"/>
                  </a:lnTo>
                  <a:lnTo>
                    <a:pt x="2040" y="1314"/>
                  </a:lnTo>
                  <a:lnTo>
                    <a:pt x="1926" y="1327"/>
                  </a:lnTo>
                  <a:lnTo>
                    <a:pt x="1907" y="1385"/>
                  </a:lnTo>
                  <a:lnTo>
                    <a:pt x="1883" y="1441"/>
                  </a:lnTo>
                  <a:lnTo>
                    <a:pt x="1856" y="1495"/>
                  </a:lnTo>
                  <a:lnTo>
                    <a:pt x="1930" y="1589"/>
                  </a:lnTo>
                  <a:lnTo>
                    <a:pt x="1944" y="1612"/>
                  </a:lnTo>
                  <a:lnTo>
                    <a:pt x="1954" y="1637"/>
                  </a:lnTo>
                  <a:lnTo>
                    <a:pt x="1957" y="1663"/>
                  </a:lnTo>
                  <a:lnTo>
                    <a:pt x="1956" y="1690"/>
                  </a:lnTo>
                  <a:lnTo>
                    <a:pt x="1949" y="1715"/>
                  </a:lnTo>
                  <a:lnTo>
                    <a:pt x="1938" y="1739"/>
                  </a:lnTo>
                  <a:lnTo>
                    <a:pt x="1920" y="1759"/>
                  </a:lnTo>
                  <a:lnTo>
                    <a:pt x="1761" y="1920"/>
                  </a:lnTo>
                  <a:lnTo>
                    <a:pt x="1742" y="1935"/>
                  </a:lnTo>
                  <a:lnTo>
                    <a:pt x="1719" y="1947"/>
                  </a:lnTo>
                  <a:lnTo>
                    <a:pt x="1696" y="1955"/>
                  </a:lnTo>
                  <a:lnTo>
                    <a:pt x="1670" y="1957"/>
                  </a:lnTo>
                  <a:lnTo>
                    <a:pt x="1649" y="1955"/>
                  </a:lnTo>
                  <a:lnTo>
                    <a:pt x="1629" y="1949"/>
                  </a:lnTo>
                  <a:lnTo>
                    <a:pt x="1609" y="1941"/>
                  </a:lnTo>
                  <a:lnTo>
                    <a:pt x="1592" y="1929"/>
                  </a:lnTo>
                  <a:lnTo>
                    <a:pt x="1496" y="1853"/>
                  </a:lnTo>
                  <a:lnTo>
                    <a:pt x="1440" y="1881"/>
                  </a:lnTo>
                  <a:lnTo>
                    <a:pt x="1384" y="1904"/>
                  </a:lnTo>
                  <a:lnTo>
                    <a:pt x="1325" y="1922"/>
                  </a:lnTo>
                  <a:lnTo>
                    <a:pt x="1311" y="2045"/>
                  </a:lnTo>
                  <a:lnTo>
                    <a:pt x="1305" y="2072"/>
                  </a:lnTo>
                  <a:lnTo>
                    <a:pt x="1295" y="2096"/>
                  </a:lnTo>
                  <a:lnTo>
                    <a:pt x="1278" y="2118"/>
                  </a:lnTo>
                  <a:lnTo>
                    <a:pt x="1259" y="2135"/>
                  </a:lnTo>
                  <a:lnTo>
                    <a:pt x="1237" y="2148"/>
                  </a:lnTo>
                  <a:lnTo>
                    <a:pt x="1212" y="2156"/>
                  </a:lnTo>
                  <a:lnTo>
                    <a:pt x="1185" y="2159"/>
                  </a:lnTo>
                  <a:lnTo>
                    <a:pt x="958" y="2159"/>
                  </a:lnTo>
                  <a:lnTo>
                    <a:pt x="932" y="2156"/>
                  </a:lnTo>
                  <a:lnTo>
                    <a:pt x="906" y="2148"/>
                  </a:lnTo>
                  <a:lnTo>
                    <a:pt x="884" y="2135"/>
                  </a:lnTo>
                  <a:lnTo>
                    <a:pt x="865" y="2118"/>
                  </a:lnTo>
                  <a:lnTo>
                    <a:pt x="850" y="2096"/>
                  </a:lnTo>
                  <a:lnTo>
                    <a:pt x="838" y="2072"/>
                  </a:lnTo>
                  <a:lnTo>
                    <a:pt x="832" y="2045"/>
                  </a:lnTo>
                  <a:lnTo>
                    <a:pt x="817" y="1917"/>
                  </a:lnTo>
                  <a:lnTo>
                    <a:pt x="764" y="1898"/>
                  </a:lnTo>
                  <a:lnTo>
                    <a:pt x="711" y="1875"/>
                  </a:lnTo>
                  <a:lnTo>
                    <a:pt x="660" y="1850"/>
                  </a:lnTo>
                  <a:lnTo>
                    <a:pt x="561" y="1929"/>
                  </a:lnTo>
                  <a:lnTo>
                    <a:pt x="543" y="1941"/>
                  </a:lnTo>
                  <a:lnTo>
                    <a:pt x="523" y="1949"/>
                  </a:lnTo>
                  <a:lnTo>
                    <a:pt x="503" y="1955"/>
                  </a:lnTo>
                  <a:lnTo>
                    <a:pt x="482" y="1957"/>
                  </a:lnTo>
                  <a:lnTo>
                    <a:pt x="482" y="1957"/>
                  </a:lnTo>
                  <a:lnTo>
                    <a:pt x="457" y="1954"/>
                  </a:lnTo>
                  <a:lnTo>
                    <a:pt x="433" y="1947"/>
                  </a:lnTo>
                  <a:lnTo>
                    <a:pt x="411" y="1935"/>
                  </a:lnTo>
                  <a:lnTo>
                    <a:pt x="392" y="1919"/>
                  </a:lnTo>
                  <a:lnTo>
                    <a:pt x="232" y="1759"/>
                  </a:lnTo>
                  <a:lnTo>
                    <a:pt x="215" y="1738"/>
                  </a:lnTo>
                  <a:lnTo>
                    <a:pt x="203" y="1714"/>
                  </a:lnTo>
                  <a:lnTo>
                    <a:pt x="197" y="1688"/>
                  </a:lnTo>
                  <a:lnTo>
                    <a:pt x="195" y="1662"/>
                  </a:lnTo>
                  <a:lnTo>
                    <a:pt x="199" y="1637"/>
                  </a:lnTo>
                  <a:lnTo>
                    <a:pt x="208" y="1612"/>
                  </a:lnTo>
                  <a:lnTo>
                    <a:pt x="222" y="1589"/>
                  </a:lnTo>
                  <a:lnTo>
                    <a:pt x="301" y="1489"/>
                  </a:lnTo>
                  <a:lnTo>
                    <a:pt x="277" y="1440"/>
                  </a:lnTo>
                  <a:lnTo>
                    <a:pt x="257" y="1389"/>
                  </a:lnTo>
                  <a:lnTo>
                    <a:pt x="239" y="1338"/>
                  </a:lnTo>
                  <a:lnTo>
                    <a:pt x="113" y="1324"/>
                  </a:lnTo>
                  <a:lnTo>
                    <a:pt x="87" y="1317"/>
                  </a:lnTo>
                  <a:lnTo>
                    <a:pt x="62" y="1306"/>
                  </a:lnTo>
                  <a:lnTo>
                    <a:pt x="41" y="1291"/>
                  </a:lnTo>
                  <a:lnTo>
                    <a:pt x="24" y="1271"/>
                  </a:lnTo>
                  <a:lnTo>
                    <a:pt x="11" y="1249"/>
                  </a:lnTo>
                  <a:lnTo>
                    <a:pt x="3" y="1223"/>
                  </a:lnTo>
                  <a:lnTo>
                    <a:pt x="0" y="1196"/>
                  </a:lnTo>
                  <a:lnTo>
                    <a:pt x="0" y="970"/>
                  </a:lnTo>
                  <a:lnTo>
                    <a:pt x="3" y="943"/>
                  </a:lnTo>
                  <a:lnTo>
                    <a:pt x="11" y="918"/>
                  </a:lnTo>
                  <a:lnTo>
                    <a:pt x="24" y="895"/>
                  </a:lnTo>
                  <a:lnTo>
                    <a:pt x="41" y="876"/>
                  </a:lnTo>
                  <a:lnTo>
                    <a:pt x="62" y="860"/>
                  </a:lnTo>
                  <a:lnTo>
                    <a:pt x="87" y="849"/>
                  </a:lnTo>
                  <a:lnTo>
                    <a:pt x="113" y="842"/>
                  </a:lnTo>
                  <a:lnTo>
                    <a:pt x="231" y="829"/>
                  </a:lnTo>
                  <a:lnTo>
                    <a:pt x="248" y="773"/>
                  </a:lnTo>
                  <a:lnTo>
                    <a:pt x="271" y="717"/>
                  </a:lnTo>
                  <a:lnTo>
                    <a:pt x="296" y="662"/>
                  </a:lnTo>
                  <a:lnTo>
                    <a:pt x="222" y="568"/>
                  </a:lnTo>
                  <a:lnTo>
                    <a:pt x="208" y="545"/>
                  </a:lnTo>
                  <a:lnTo>
                    <a:pt x="199" y="520"/>
                  </a:lnTo>
                  <a:lnTo>
                    <a:pt x="195" y="495"/>
                  </a:lnTo>
                  <a:lnTo>
                    <a:pt x="196" y="469"/>
                  </a:lnTo>
                  <a:lnTo>
                    <a:pt x="203" y="444"/>
                  </a:lnTo>
                  <a:lnTo>
                    <a:pt x="215" y="420"/>
                  </a:lnTo>
                  <a:lnTo>
                    <a:pt x="232" y="398"/>
                  </a:lnTo>
                  <a:lnTo>
                    <a:pt x="392" y="239"/>
                  </a:lnTo>
                  <a:lnTo>
                    <a:pt x="411" y="222"/>
                  </a:lnTo>
                  <a:lnTo>
                    <a:pt x="433" y="210"/>
                  </a:lnTo>
                  <a:lnTo>
                    <a:pt x="457" y="204"/>
                  </a:lnTo>
                  <a:lnTo>
                    <a:pt x="482" y="202"/>
                  </a:lnTo>
                  <a:lnTo>
                    <a:pt x="504" y="203"/>
                  </a:lnTo>
                  <a:lnTo>
                    <a:pt x="524" y="208"/>
                  </a:lnTo>
                  <a:lnTo>
                    <a:pt x="543" y="217"/>
                  </a:lnTo>
                  <a:lnTo>
                    <a:pt x="561" y="229"/>
                  </a:lnTo>
                  <a:lnTo>
                    <a:pt x="648" y="298"/>
                  </a:lnTo>
                  <a:lnTo>
                    <a:pt x="706" y="268"/>
                  </a:lnTo>
                  <a:lnTo>
                    <a:pt x="767" y="242"/>
                  </a:lnTo>
                  <a:lnTo>
                    <a:pt x="829" y="221"/>
                  </a:lnTo>
                  <a:lnTo>
                    <a:pt x="841" y="113"/>
                  </a:lnTo>
                  <a:lnTo>
                    <a:pt x="847" y="86"/>
                  </a:lnTo>
                  <a:lnTo>
                    <a:pt x="858" y="62"/>
                  </a:lnTo>
                  <a:lnTo>
                    <a:pt x="874" y="41"/>
                  </a:lnTo>
                  <a:lnTo>
                    <a:pt x="893" y="24"/>
                  </a:lnTo>
                  <a:lnTo>
                    <a:pt x="916" y="10"/>
                  </a:lnTo>
                  <a:lnTo>
                    <a:pt x="941" y="2"/>
                  </a:lnTo>
                  <a:lnTo>
                    <a:pt x="9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xmlns="" id="{8C8FCDC0-9AB3-4C59-820D-68A03C0B06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1" y="1475"/>
              <a:ext cx="178" cy="179"/>
            </a:xfrm>
            <a:custGeom>
              <a:avLst/>
              <a:gdLst>
                <a:gd name="T0" fmla="*/ 702 w 1780"/>
                <a:gd name="T1" fmla="*/ 103 h 1789"/>
                <a:gd name="T2" fmla="*/ 609 w 1780"/>
                <a:gd name="T3" fmla="*/ 282 h 1789"/>
                <a:gd name="T4" fmla="*/ 374 w 1780"/>
                <a:gd name="T5" fmla="*/ 285 h 1789"/>
                <a:gd name="T6" fmla="*/ 209 w 1780"/>
                <a:gd name="T7" fmla="*/ 424 h 1789"/>
                <a:gd name="T8" fmla="*/ 211 w 1780"/>
                <a:gd name="T9" fmla="*/ 507 h 1789"/>
                <a:gd name="T10" fmla="*/ 237 w 1780"/>
                <a:gd name="T11" fmla="*/ 777 h 1789"/>
                <a:gd name="T12" fmla="*/ 72 w 1780"/>
                <a:gd name="T13" fmla="*/ 855 h 1789"/>
                <a:gd name="T14" fmla="*/ 90 w 1780"/>
                <a:gd name="T15" fmla="*/ 1079 h 1789"/>
                <a:gd name="T16" fmla="*/ 272 w 1780"/>
                <a:gd name="T17" fmla="*/ 1128 h 1789"/>
                <a:gd name="T18" fmla="*/ 285 w 1780"/>
                <a:gd name="T19" fmla="*/ 1391 h 1789"/>
                <a:gd name="T20" fmla="*/ 297 w 1780"/>
                <a:gd name="T21" fmla="*/ 1472 h 1789"/>
                <a:gd name="T22" fmla="*/ 471 w 1780"/>
                <a:gd name="T23" fmla="*/ 1586 h 1789"/>
                <a:gd name="T24" fmla="*/ 661 w 1780"/>
                <a:gd name="T25" fmla="*/ 1513 h 1789"/>
                <a:gd name="T26" fmla="*/ 817 w 1780"/>
                <a:gd name="T27" fmla="*/ 1692 h 1789"/>
                <a:gd name="T28" fmla="*/ 1032 w 1780"/>
                <a:gd name="T29" fmla="*/ 1712 h 1789"/>
                <a:gd name="T30" fmla="*/ 1090 w 1780"/>
                <a:gd name="T31" fmla="*/ 1652 h 1789"/>
                <a:gd name="T32" fmla="*/ 1267 w 1780"/>
                <a:gd name="T33" fmla="*/ 1440 h 1789"/>
                <a:gd name="T34" fmla="*/ 1423 w 1780"/>
                <a:gd name="T35" fmla="*/ 1506 h 1789"/>
                <a:gd name="T36" fmla="*/ 1581 w 1780"/>
                <a:gd name="T37" fmla="*/ 1349 h 1789"/>
                <a:gd name="T38" fmla="*/ 1485 w 1780"/>
                <a:gd name="T39" fmla="*/ 1192 h 1789"/>
                <a:gd name="T40" fmla="*/ 1550 w 1780"/>
                <a:gd name="T41" fmla="*/ 990 h 1789"/>
                <a:gd name="T42" fmla="*/ 1714 w 1780"/>
                <a:gd name="T43" fmla="*/ 918 h 1789"/>
                <a:gd name="T44" fmla="*/ 1676 w 1780"/>
                <a:gd name="T45" fmla="*/ 698 h 1789"/>
                <a:gd name="T46" fmla="*/ 1498 w 1780"/>
                <a:gd name="T47" fmla="*/ 610 h 1789"/>
                <a:gd name="T48" fmla="*/ 1502 w 1780"/>
                <a:gd name="T49" fmla="*/ 382 h 1789"/>
                <a:gd name="T50" fmla="*/ 1364 w 1780"/>
                <a:gd name="T51" fmla="*/ 216 h 1789"/>
                <a:gd name="T52" fmla="*/ 1295 w 1780"/>
                <a:gd name="T53" fmla="*/ 208 h 1789"/>
                <a:gd name="T54" fmla="*/ 1070 w 1780"/>
                <a:gd name="T55" fmla="*/ 244 h 1789"/>
                <a:gd name="T56" fmla="*/ 952 w 1780"/>
                <a:gd name="T57" fmla="*/ 83 h 1789"/>
                <a:gd name="T58" fmla="*/ 932 w 1780"/>
                <a:gd name="T59" fmla="*/ 2 h 1789"/>
                <a:gd name="T60" fmla="*/ 1025 w 1780"/>
                <a:gd name="T61" fmla="*/ 77 h 1789"/>
                <a:gd name="T62" fmla="*/ 1188 w 1780"/>
                <a:gd name="T63" fmla="*/ 217 h 1789"/>
                <a:gd name="T64" fmla="*/ 1325 w 1780"/>
                <a:gd name="T65" fmla="*/ 136 h 1789"/>
                <a:gd name="T66" fmla="*/ 1525 w 1780"/>
                <a:gd name="T67" fmla="*/ 267 h 1789"/>
                <a:gd name="T68" fmla="*/ 1568 w 1780"/>
                <a:gd name="T69" fmla="*/ 385 h 1789"/>
                <a:gd name="T70" fmla="*/ 1552 w 1780"/>
                <a:gd name="T71" fmla="*/ 576 h 1789"/>
                <a:gd name="T72" fmla="*/ 1718 w 1780"/>
                <a:gd name="T73" fmla="*/ 648 h 1789"/>
                <a:gd name="T74" fmla="*/ 1780 w 1780"/>
                <a:gd name="T75" fmla="*/ 894 h 1789"/>
                <a:gd name="T76" fmla="*/ 1728 w 1780"/>
                <a:gd name="T77" fmla="*/ 1009 h 1789"/>
                <a:gd name="T78" fmla="*/ 1580 w 1780"/>
                <a:gd name="T79" fmla="*/ 1135 h 1789"/>
                <a:gd name="T80" fmla="*/ 1649 w 1780"/>
                <a:gd name="T81" fmla="*/ 1309 h 1789"/>
                <a:gd name="T82" fmla="*/ 1520 w 1780"/>
                <a:gd name="T83" fmla="*/ 1526 h 1789"/>
                <a:gd name="T84" fmla="*/ 1423 w 1780"/>
                <a:gd name="T85" fmla="*/ 1571 h 1789"/>
                <a:gd name="T86" fmla="*/ 1285 w 1780"/>
                <a:gd name="T87" fmla="*/ 1505 h 1789"/>
                <a:gd name="T88" fmla="*/ 1150 w 1780"/>
                <a:gd name="T89" fmla="*/ 1680 h 1789"/>
                <a:gd name="T90" fmla="*/ 1065 w 1780"/>
                <a:gd name="T91" fmla="*/ 1771 h 1789"/>
                <a:gd name="T92" fmla="*/ 823 w 1780"/>
                <a:gd name="T93" fmla="*/ 1779 h 1789"/>
                <a:gd name="T94" fmla="*/ 748 w 1780"/>
                <a:gd name="T95" fmla="*/ 1688 h 1789"/>
                <a:gd name="T96" fmla="*/ 523 w 1780"/>
                <a:gd name="T97" fmla="*/ 1633 h 1789"/>
                <a:gd name="T98" fmla="*/ 412 w 1780"/>
                <a:gd name="T99" fmla="*/ 1645 h 1789"/>
                <a:gd name="T100" fmla="*/ 223 w 1780"/>
                <a:gd name="T101" fmla="*/ 1480 h 1789"/>
                <a:gd name="T102" fmla="*/ 232 w 1780"/>
                <a:gd name="T103" fmla="*/ 1355 h 1789"/>
                <a:gd name="T104" fmla="*/ 109 w 1780"/>
                <a:gd name="T105" fmla="*/ 1164 h 1789"/>
                <a:gd name="T106" fmla="*/ 18 w 1780"/>
                <a:gd name="T107" fmla="*/ 1077 h 1789"/>
                <a:gd name="T108" fmla="*/ 17 w 1780"/>
                <a:gd name="T109" fmla="*/ 819 h 1789"/>
                <a:gd name="T110" fmla="*/ 177 w 1780"/>
                <a:gd name="T111" fmla="*/ 744 h 1789"/>
                <a:gd name="T112" fmla="*/ 136 w 1780"/>
                <a:gd name="T113" fmla="*/ 506 h 1789"/>
                <a:gd name="T114" fmla="*/ 160 w 1780"/>
                <a:gd name="T115" fmla="*/ 383 h 1789"/>
                <a:gd name="T116" fmla="*/ 335 w 1780"/>
                <a:gd name="T117" fmla="*/ 219 h 1789"/>
                <a:gd name="T118" fmla="*/ 487 w 1780"/>
                <a:gd name="T119" fmla="*/ 279 h 1789"/>
                <a:gd name="T120" fmla="*/ 630 w 1780"/>
                <a:gd name="T121" fmla="*/ 109 h 1789"/>
                <a:gd name="T122" fmla="*/ 715 w 1780"/>
                <a:gd name="T123" fmla="*/ 18 h 1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0" h="1789">
                  <a:moveTo>
                    <a:pt x="902" y="64"/>
                  </a:moveTo>
                  <a:lnTo>
                    <a:pt x="747" y="77"/>
                  </a:lnTo>
                  <a:lnTo>
                    <a:pt x="729" y="82"/>
                  </a:lnTo>
                  <a:lnTo>
                    <a:pt x="714" y="91"/>
                  </a:lnTo>
                  <a:lnTo>
                    <a:pt x="702" y="103"/>
                  </a:lnTo>
                  <a:lnTo>
                    <a:pt x="693" y="120"/>
                  </a:lnTo>
                  <a:lnTo>
                    <a:pt x="690" y="138"/>
                  </a:lnTo>
                  <a:lnTo>
                    <a:pt x="686" y="252"/>
                  </a:lnTo>
                  <a:lnTo>
                    <a:pt x="666" y="260"/>
                  </a:lnTo>
                  <a:lnTo>
                    <a:pt x="609" y="282"/>
                  </a:lnTo>
                  <a:lnTo>
                    <a:pt x="556" y="311"/>
                  </a:lnTo>
                  <a:lnTo>
                    <a:pt x="506" y="344"/>
                  </a:lnTo>
                  <a:lnTo>
                    <a:pt x="488" y="357"/>
                  </a:lnTo>
                  <a:lnTo>
                    <a:pt x="391" y="292"/>
                  </a:lnTo>
                  <a:lnTo>
                    <a:pt x="374" y="285"/>
                  </a:lnTo>
                  <a:lnTo>
                    <a:pt x="357" y="281"/>
                  </a:lnTo>
                  <a:lnTo>
                    <a:pt x="338" y="285"/>
                  </a:lnTo>
                  <a:lnTo>
                    <a:pt x="323" y="292"/>
                  </a:lnTo>
                  <a:lnTo>
                    <a:pt x="309" y="304"/>
                  </a:lnTo>
                  <a:lnTo>
                    <a:pt x="209" y="424"/>
                  </a:lnTo>
                  <a:lnTo>
                    <a:pt x="199" y="440"/>
                  </a:lnTo>
                  <a:lnTo>
                    <a:pt x="195" y="457"/>
                  </a:lnTo>
                  <a:lnTo>
                    <a:pt x="195" y="475"/>
                  </a:lnTo>
                  <a:lnTo>
                    <a:pt x="200" y="492"/>
                  </a:lnTo>
                  <a:lnTo>
                    <a:pt x="211" y="507"/>
                  </a:lnTo>
                  <a:lnTo>
                    <a:pt x="294" y="597"/>
                  </a:lnTo>
                  <a:lnTo>
                    <a:pt x="285" y="617"/>
                  </a:lnTo>
                  <a:lnTo>
                    <a:pt x="265" y="668"/>
                  </a:lnTo>
                  <a:lnTo>
                    <a:pt x="249" y="721"/>
                  </a:lnTo>
                  <a:lnTo>
                    <a:pt x="237" y="777"/>
                  </a:lnTo>
                  <a:lnTo>
                    <a:pt x="234" y="799"/>
                  </a:lnTo>
                  <a:lnTo>
                    <a:pt x="113" y="823"/>
                  </a:lnTo>
                  <a:lnTo>
                    <a:pt x="97" y="829"/>
                  </a:lnTo>
                  <a:lnTo>
                    <a:pt x="82" y="840"/>
                  </a:lnTo>
                  <a:lnTo>
                    <a:pt x="72" y="855"/>
                  </a:lnTo>
                  <a:lnTo>
                    <a:pt x="65" y="871"/>
                  </a:lnTo>
                  <a:lnTo>
                    <a:pt x="64" y="890"/>
                  </a:lnTo>
                  <a:lnTo>
                    <a:pt x="77" y="1046"/>
                  </a:lnTo>
                  <a:lnTo>
                    <a:pt x="82" y="1063"/>
                  </a:lnTo>
                  <a:lnTo>
                    <a:pt x="90" y="1079"/>
                  </a:lnTo>
                  <a:lnTo>
                    <a:pt x="103" y="1091"/>
                  </a:lnTo>
                  <a:lnTo>
                    <a:pt x="119" y="1099"/>
                  </a:lnTo>
                  <a:lnTo>
                    <a:pt x="137" y="1102"/>
                  </a:lnTo>
                  <a:lnTo>
                    <a:pt x="264" y="1107"/>
                  </a:lnTo>
                  <a:lnTo>
                    <a:pt x="272" y="1128"/>
                  </a:lnTo>
                  <a:lnTo>
                    <a:pt x="293" y="1174"/>
                  </a:lnTo>
                  <a:lnTo>
                    <a:pt x="317" y="1220"/>
                  </a:lnTo>
                  <a:lnTo>
                    <a:pt x="344" y="1264"/>
                  </a:lnTo>
                  <a:lnTo>
                    <a:pt x="356" y="1283"/>
                  </a:lnTo>
                  <a:lnTo>
                    <a:pt x="285" y="1391"/>
                  </a:lnTo>
                  <a:lnTo>
                    <a:pt x="277" y="1407"/>
                  </a:lnTo>
                  <a:lnTo>
                    <a:pt x="274" y="1424"/>
                  </a:lnTo>
                  <a:lnTo>
                    <a:pt x="277" y="1442"/>
                  </a:lnTo>
                  <a:lnTo>
                    <a:pt x="284" y="1458"/>
                  </a:lnTo>
                  <a:lnTo>
                    <a:pt x="297" y="1472"/>
                  </a:lnTo>
                  <a:lnTo>
                    <a:pt x="416" y="1574"/>
                  </a:lnTo>
                  <a:lnTo>
                    <a:pt x="428" y="1582"/>
                  </a:lnTo>
                  <a:lnTo>
                    <a:pt x="442" y="1586"/>
                  </a:lnTo>
                  <a:lnTo>
                    <a:pt x="456" y="1588"/>
                  </a:lnTo>
                  <a:lnTo>
                    <a:pt x="471" y="1586"/>
                  </a:lnTo>
                  <a:lnTo>
                    <a:pt x="485" y="1581"/>
                  </a:lnTo>
                  <a:lnTo>
                    <a:pt x="498" y="1572"/>
                  </a:lnTo>
                  <a:lnTo>
                    <a:pt x="592" y="1483"/>
                  </a:lnTo>
                  <a:lnTo>
                    <a:pt x="611" y="1492"/>
                  </a:lnTo>
                  <a:lnTo>
                    <a:pt x="661" y="1513"/>
                  </a:lnTo>
                  <a:lnTo>
                    <a:pt x="713" y="1530"/>
                  </a:lnTo>
                  <a:lnTo>
                    <a:pt x="764" y="1542"/>
                  </a:lnTo>
                  <a:lnTo>
                    <a:pt x="785" y="1547"/>
                  </a:lnTo>
                  <a:lnTo>
                    <a:pt x="812" y="1674"/>
                  </a:lnTo>
                  <a:lnTo>
                    <a:pt x="817" y="1692"/>
                  </a:lnTo>
                  <a:lnTo>
                    <a:pt x="828" y="1706"/>
                  </a:lnTo>
                  <a:lnTo>
                    <a:pt x="842" y="1717"/>
                  </a:lnTo>
                  <a:lnTo>
                    <a:pt x="859" y="1724"/>
                  </a:lnTo>
                  <a:lnTo>
                    <a:pt x="878" y="1725"/>
                  </a:lnTo>
                  <a:lnTo>
                    <a:pt x="1032" y="1712"/>
                  </a:lnTo>
                  <a:lnTo>
                    <a:pt x="1051" y="1707"/>
                  </a:lnTo>
                  <a:lnTo>
                    <a:pt x="1066" y="1698"/>
                  </a:lnTo>
                  <a:lnTo>
                    <a:pt x="1078" y="1685"/>
                  </a:lnTo>
                  <a:lnTo>
                    <a:pt x="1087" y="1669"/>
                  </a:lnTo>
                  <a:lnTo>
                    <a:pt x="1090" y="1652"/>
                  </a:lnTo>
                  <a:lnTo>
                    <a:pt x="1094" y="1524"/>
                  </a:lnTo>
                  <a:lnTo>
                    <a:pt x="1115" y="1517"/>
                  </a:lnTo>
                  <a:lnTo>
                    <a:pt x="1167" y="1495"/>
                  </a:lnTo>
                  <a:lnTo>
                    <a:pt x="1218" y="1469"/>
                  </a:lnTo>
                  <a:lnTo>
                    <a:pt x="1267" y="1440"/>
                  </a:lnTo>
                  <a:lnTo>
                    <a:pt x="1285" y="1428"/>
                  </a:lnTo>
                  <a:lnTo>
                    <a:pt x="1389" y="1497"/>
                  </a:lnTo>
                  <a:lnTo>
                    <a:pt x="1406" y="1504"/>
                  </a:lnTo>
                  <a:lnTo>
                    <a:pt x="1423" y="1506"/>
                  </a:lnTo>
                  <a:lnTo>
                    <a:pt x="1423" y="1506"/>
                  </a:lnTo>
                  <a:lnTo>
                    <a:pt x="1441" y="1504"/>
                  </a:lnTo>
                  <a:lnTo>
                    <a:pt x="1458" y="1497"/>
                  </a:lnTo>
                  <a:lnTo>
                    <a:pt x="1471" y="1485"/>
                  </a:lnTo>
                  <a:lnTo>
                    <a:pt x="1571" y="1366"/>
                  </a:lnTo>
                  <a:lnTo>
                    <a:pt x="1581" y="1349"/>
                  </a:lnTo>
                  <a:lnTo>
                    <a:pt x="1586" y="1332"/>
                  </a:lnTo>
                  <a:lnTo>
                    <a:pt x="1585" y="1314"/>
                  </a:lnTo>
                  <a:lnTo>
                    <a:pt x="1580" y="1297"/>
                  </a:lnTo>
                  <a:lnTo>
                    <a:pt x="1569" y="1283"/>
                  </a:lnTo>
                  <a:lnTo>
                    <a:pt x="1485" y="1192"/>
                  </a:lnTo>
                  <a:lnTo>
                    <a:pt x="1495" y="1172"/>
                  </a:lnTo>
                  <a:lnTo>
                    <a:pt x="1516" y="1120"/>
                  </a:lnTo>
                  <a:lnTo>
                    <a:pt x="1534" y="1066"/>
                  </a:lnTo>
                  <a:lnTo>
                    <a:pt x="1546" y="1012"/>
                  </a:lnTo>
                  <a:lnTo>
                    <a:pt x="1550" y="990"/>
                  </a:lnTo>
                  <a:lnTo>
                    <a:pt x="1666" y="966"/>
                  </a:lnTo>
                  <a:lnTo>
                    <a:pt x="1683" y="959"/>
                  </a:lnTo>
                  <a:lnTo>
                    <a:pt x="1697" y="950"/>
                  </a:lnTo>
                  <a:lnTo>
                    <a:pt x="1708" y="935"/>
                  </a:lnTo>
                  <a:lnTo>
                    <a:pt x="1714" y="918"/>
                  </a:lnTo>
                  <a:lnTo>
                    <a:pt x="1716" y="899"/>
                  </a:lnTo>
                  <a:lnTo>
                    <a:pt x="1702" y="743"/>
                  </a:lnTo>
                  <a:lnTo>
                    <a:pt x="1698" y="726"/>
                  </a:lnTo>
                  <a:lnTo>
                    <a:pt x="1689" y="710"/>
                  </a:lnTo>
                  <a:lnTo>
                    <a:pt x="1676" y="698"/>
                  </a:lnTo>
                  <a:lnTo>
                    <a:pt x="1660" y="690"/>
                  </a:lnTo>
                  <a:lnTo>
                    <a:pt x="1643" y="686"/>
                  </a:lnTo>
                  <a:lnTo>
                    <a:pt x="1525" y="683"/>
                  </a:lnTo>
                  <a:lnTo>
                    <a:pt x="1519" y="662"/>
                  </a:lnTo>
                  <a:lnTo>
                    <a:pt x="1498" y="610"/>
                  </a:lnTo>
                  <a:lnTo>
                    <a:pt x="1472" y="561"/>
                  </a:lnTo>
                  <a:lnTo>
                    <a:pt x="1442" y="513"/>
                  </a:lnTo>
                  <a:lnTo>
                    <a:pt x="1431" y="495"/>
                  </a:lnTo>
                  <a:lnTo>
                    <a:pt x="1495" y="399"/>
                  </a:lnTo>
                  <a:lnTo>
                    <a:pt x="1502" y="382"/>
                  </a:lnTo>
                  <a:lnTo>
                    <a:pt x="1506" y="364"/>
                  </a:lnTo>
                  <a:lnTo>
                    <a:pt x="1503" y="347"/>
                  </a:lnTo>
                  <a:lnTo>
                    <a:pt x="1496" y="331"/>
                  </a:lnTo>
                  <a:lnTo>
                    <a:pt x="1484" y="316"/>
                  </a:lnTo>
                  <a:lnTo>
                    <a:pt x="1364" y="216"/>
                  </a:lnTo>
                  <a:lnTo>
                    <a:pt x="1352" y="207"/>
                  </a:lnTo>
                  <a:lnTo>
                    <a:pt x="1339" y="203"/>
                  </a:lnTo>
                  <a:lnTo>
                    <a:pt x="1325" y="201"/>
                  </a:lnTo>
                  <a:lnTo>
                    <a:pt x="1309" y="203"/>
                  </a:lnTo>
                  <a:lnTo>
                    <a:pt x="1295" y="208"/>
                  </a:lnTo>
                  <a:lnTo>
                    <a:pt x="1281" y="218"/>
                  </a:lnTo>
                  <a:lnTo>
                    <a:pt x="1200" y="295"/>
                  </a:lnTo>
                  <a:lnTo>
                    <a:pt x="1180" y="285"/>
                  </a:lnTo>
                  <a:lnTo>
                    <a:pt x="1127" y="262"/>
                  </a:lnTo>
                  <a:lnTo>
                    <a:pt x="1070" y="244"/>
                  </a:lnTo>
                  <a:lnTo>
                    <a:pt x="1013" y="231"/>
                  </a:lnTo>
                  <a:lnTo>
                    <a:pt x="992" y="227"/>
                  </a:lnTo>
                  <a:lnTo>
                    <a:pt x="969" y="114"/>
                  </a:lnTo>
                  <a:lnTo>
                    <a:pt x="963" y="97"/>
                  </a:lnTo>
                  <a:lnTo>
                    <a:pt x="952" y="83"/>
                  </a:lnTo>
                  <a:lnTo>
                    <a:pt x="938" y="72"/>
                  </a:lnTo>
                  <a:lnTo>
                    <a:pt x="920" y="65"/>
                  </a:lnTo>
                  <a:lnTo>
                    <a:pt x="902" y="64"/>
                  </a:lnTo>
                  <a:close/>
                  <a:moveTo>
                    <a:pt x="907" y="0"/>
                  </a:moveTo>
                  <a:lnTo>
                    <a:pt x="932" y="2"/>
                  </a:lnTo>
                  <a:lnTo>
                    <a:pt x="956" y="10"/>
                  </a:lnTo>
                  <a:lnTo>
                    <a:pt x="978" y="22"/>
                  </a:lnTo>
                  <a:lnTo>
                    <a:pt x="996" y="37"/>
                  </a:lnTo>
                  <a:lnTo>
                    <a:pt x="1013" y="55"/>
                  </a:lnTo>
                  <a:lnTo>
                    <a:pt x="1025" y="77"/>
                  </a:lnTo>
                  <a:lnTo>
                    <a:pt x="1031" y="101"/>
                  </a:lnTo>
                  <a:lnTo>
                    <a:pt x="1047" y="171"/>
                  </a:lnTo>
                  <a:lnTo>
                    <a:pt x="1094" y="183"/>
                  </a:lnTo>
                  <a:lnTo>
                    <a:pt x="1142" y="198"/>
                  </a:lnTo>
                  <a:lnTo>
                    <a:pt x="1188" y="217"/>
                  </a:lnTo>
                  <a:lnTo>
                    <a:pt x="1238" y="170"/>
                  </a:lnTo>
                  <a:lnTo>
                    <a:pt x="1256" y="156"/>
                  </a:lnTo>
                  <a:lnTo>
                    <a:pt x="1278" y="145"/>
                  </a:lnTo>
                  <a:lnTo>
                    <a:pt x="1301" y="138"/>
                  </a:lnTo>
                  <a:lnTo>
                    <a:pt x="1325" y="136"/>
                  </a:lnTo>
                  <a:lnTo>
                    <a:pt x="1347" y="138"/>
                  </a:lnTo>
                  <a:lnTo>
                    <a:pt x="1367" y="144"/>
                  </a:lnTo>
                  <a:lnTo>
                    <a:pt x="1388" y="154"/>
                  </a:lnTo>
                  <a:lnTo>
                    <a:pt x="1407" y="166"/>
                  </a:lnTo>
                  <a:lnTo>
                    <a:pt x="1525" y="267"/>
                  </a:lnTo>
                  <a:lnTo>
                    <a:pt x="1544" y="287"/>
                  </a:lnTo>
                  <a:lnTo>
                    <a:pt x="1558" y="309"/>
                  </a:lnTo>
                  <a:lnTo>
                    <a:pt x="1567" y="334"/>
                  </a:lnTo>
                  <a:lnTo>
                    <a:pt x="1570" y="359"/>
                  </a:lnTo>
                  <a:lnTo>
                    <a:pt x="1568" y="385"/>
                  </a:lnTo>
                  <a:lnTo>
                    <a:pt x="1561" y="411"/>
                  </a:lnTo>
                  <a:lnTo>
                    <a:pt x="1548" y="435"/>
                  </a:lnTo>
                  <a:lnTo>
                    <a:pt x="1508" y="495"/>
                  </a:lnTo>
                  <a:lnTo>
                    <a:pt x="1532" y="535"/>
                  </a:lnTo>
                  <a:lnTo>
                    <a:pt x="1552" y="576"/>
                  </a:lnTo>
                  <a:lnTo>
                    <a:pt x="1571" y="620"/>
                  </a:lnTo>
                  <a:lnTo>
                    <a:pt x="1645" y="622"/>
                  </a:lnTo>
                  <a:lnTo>
                    <a:pt x="1671" y="625"/>
                  </a:lnTo>
                  <a:lnTo>
                    <a:pt x="1696" y="635"/>
                  </a:lnTo>
                  <a:lnTo>
                    <a:pt x="1718" y="648"/>
                  </a:lnTo>
                  <a:lnTo>
                    <a:pt x="1736" y="666"/>
                  </a:lnTo>
                  <a:lnTo>
                    <a:pt x="1751" y="688"/>
                  </a:lnTo>
                  <a:lnTo>
                    <a:pt x="1761" y="712"/>
                  </a:lnTo>
                  <a:lnTo>
                    <a:pt x="1767" y="738"/>
                  </a:lnTo>
                  <a:lnTo>
                    <a:pt x="1780" y="894"/>
                  </a:lnTo>
                  <a:lnTo>
                    <a:pt x="1779" y="921"/>
                  </a:lnTo>
                  <a:lnTo>
                    <a:pt x="1773" y="947"/>
                  </a:lnTo>
                  <a:lnTo>
                    <a:pt x="1762" y="970"/>
                  </a:lnTo>
                  <a:lnTo>
                    <a:pt x="1746" y="991"/>
                  </a:lnTo>
                  <a:lnTo>
                    <a:pt x="1728" y="1009"/>
                  </a:lnTo>
                  <a:lnTo>
                    <a:pt x="1705" y="1022"/>
                  </a:lnTo>
                  <a:lnTo>
                    <a:pt x="1679" y="1029"/>
                  </a:lnTo>
                  <a:lnTo>
                    <a:pt x="1605" y="1045"/>
                  </a:lnTo>
                  <a:lnTo>
                    <a:pt x="1594" y="1090"/>
                  </a:lnTo>
                  <a:lnTo>
                    <a:pt x="1580" y="1135"/>
                  </a:lnTo>
                  <a:lnTo>
                    <a:pt x="1561" y="1180"/>
                  </a:lnTo>
                  <a:lnTo>
                    <a:pt x="1615" y="1238"/>
                  </a:lnTo>
                  <a:lnTo>
                    <a:pt x="1632" y="1260"/>
                  </a:lnTo>
                  <a:lnTo>
                    <a:pt x="1644" y="1283"/>
                  </a:lnTo>
                  <a:lnTo>
                    <a:pt x="1649" y="1309"/>
                  </a:lnTo>
                  <a:lnTo>
                    <a:pt x="1650" y="1334"/>
                  </a:lnTo>
                  <a:lnTo>
                    <a:pt x="1646" y="1360"/>
                  </a:lnTo>
                  <a:lnTo>
                    <a:pt x="1635" y="1384"/>
                  </a:lnTo>
                  <a:lnTo>
                    <a:pt x="1621" y="1407"/>
                  </a:lnTo>
                  <a:lnTo>
                    <a:pt x="1520" y="1526"/>
                  </a:lnTo>
                  <a:lnTo>
                    <a:pt x="1505" y="1541"/>
                  </a:lnTo>
                  <a:lnTo>
                    <a:pt x="1486" y="1554"/>
                  </a:lnTo>
                  <a:lnTo>
                    <a:pt x="1466" y="1563"/>
                  </a:lnTo>
                  <a:lnTo>
                    <a:pt x="1446" y="1570"/>
                  </a:lnTo>
                  <a:lnTo>
                    <a:pt x="1423" y="1571"/>
                  </a:lnTo>
                  <a:lnTo>
                    <a:pt x="1423" y="1571"/>
                  </a:lnTo>
                  <a:lnTo>
                    <a:pt x="1399" y="1569"/>
                  </a:lnTo>
                  <a:lnTo>
                    <a:pt x="1375" y="1562"/>
                  </a:lnTo>
                  <a:lnTo>
                    <a:pt x="1353" y="1550"/>
                  </a:lnTo>
                  <a:lnTo>
                    <a:pt x="1285" y="1505"/>
                  </a:lnTo>
                  <a:lnTo>
                    <a:pt x="1243" y="1529"/>
                  </a:lnTo>
                  <a:lnTo>
                    <a:pt x="1201" y="1551"/>
                  </a:lnTo>
                  <a:lnTo>
                    <a:pt x="1156" y="1570"/>
                  </a:lnTo>
                  <a:lnTo>
                    <a:pt x="1154" y="1653"/>
                  </a:lnTo>
                  <a:lnTo>
                    <a:pt x="1150" y="1680"/>
                  </a:lnTo>
                  <a:lnTo>
                    <a:pt x="1141" y="1704"/>
                  </a:lnTo>
                  <a:lnTo>
                    <a:pt x="1128" y="1727"/>
                  </a:lnTo>
                  <a:lnTo>
                    <a:pt x="1110" y="1745"/>
                  </a:lnTo>
                  <a:lnTo>
                    <a:pt x="1089" y="1760"/>
                  </a:lnTo>
                  <a:lnTo>
                    <a:pt x="1065" y="1771"/>
                  </a:lnTo>
                  <a:lnTo>
                    <a:pt x="1038" y="1776"/>
                  </a:lnTo>
                  <a:lnTo>
                    <a:pt x="883" y="1789"/>
                  </a:lnTo>
                  <a:lnTo>
                    <a:pt x="872" y="1789"/>
                  </a:lnTo>
                  <a:lnTo>
                    <a:pt x="847" y="1787"/>
                  </a:lnTo>
                  <a:lnTo>
                    <a:pt x="823" y="1779"/>
                  </a:lnTo>
                  <a:lnTo>
                    <a:pt x="802" y="1767"/>
                  </a:lnTo>
                  <a:lnTo>
                    <a:pt x="783" y="1752"/>
                  </a:lnTo>
                  <a:lnTo>
                    <a:pt x="767" y="1733"/>
                  </a:lnTo>
                  <a:lnTo>
                    <a:pt x="755" y="1712"/>
                  </a:lnTo>
                  <a:lnTo>
                    <a:pt x="748" y="1688"/>
                  </a:lnTo>
                  <a:lnTo>
                    <a:pt x="731" y="1601"/>
                  </a:lnTo>
                  <a:lnTo>
                    <a:pt x="667" y="1584"/>
                  </a:lnTo>
                  <a:lnTo>
                    <a:pt x="605" y="1560"/>
                  </a:lnTo>
                  <a:lnTo>
                    <a:pt x="542" y="1619"/>
                  </a:lnTo>
                  <a:lnTo>
                    <a:pt x="523" y="1633"/>
                  </a:lnTo>
                  <a:lnTo>
                    <a:pt x="503" y="1644"/>
                  </a:lnTo>
                  <a:lnTo>
                    <a:pt x="480" y="1650"/>
                  </a:lnTo>
                  <a:lnTo>
                    <a:pt x="456" y="1653"/>
                  </a:lnTo>
                  <a:lnTo>
                    <a:pt x="434" y="1650"/>
                  </a:lnTo>
                  <a:lnTo>
                    <a:pt x="412" y="1645"/>
                  </a:lnTo>
                  <a:lnTo>
                    <a:pt x="393" y="1635"/>
                  </a:lnTo>
                  <a:lnTo>
                    <a:pt x="374" y="1623"/>
                  </a:lnTo>
                  <a:lnTo>
                    <a:pt x="255" y="1522"/>
                  </a:lnTo>
                  <a:lnTo>
                    <a:pt x="236" y="1502"/>
                  </a:lnTo>
                  <a:lnTo>
                    <a:pt x="223" y="1480"/>
                  </a:lnTo>
                  <a:lnTo>
                    <a:pt x="214" y="1456"/>
                  </a:lnTo>
                  <a:lnTo>
                    <a:pt x="210" y="1430"/>
                  </a:lnTo>
                  <a:lnTo>
                    <a:pt x="212" y="1404"/>
                  </a:lnTo>
                  <a:lnTo>
                    <a:pt x="219" y="1379"/>
                  </a:lnTo>
                  <a:lnTo>
                    <a:pt x="232" y="1355"/>
                  </a:lnTo>
                  <a:lnTo>
                    <a:pt x="278" y="1283"/>
                  </a:lnTo>
                  <a:lnTo>
                    <a:pt x="247" y="1227"/>
                  </a:lnTo>
                  <a:lnTo>
                    <a:pt x="220" y="1170"/>
                  </a:lnTo>
                  <a:lnTo>
                    <a:pt x="135" y="1167"/>
                  </a:lnTo>
                  <a:lnTo>
                    <a:pt x="109" y="1164"/>
                  </a:lnTo>
                  <a:lnTo>
                    <a:pt x="84" y="1155"/>
                  </a:lnTo>
                  <a:lnTo>
                    <a:pt x="62" y="1141"/>
                  </a:lnTo>
                  <a:lnTo>
                    <a:pt x="43" y="1123"/>
                  </a:lnTo>
                  <a:lnTo>
                    <a:pt x="28" y="1102"/>
                  </a:lnTo>
                  <a:lnTo>
                    <a:pt x="18" y="1077"/>
                  </a:lnTo>
                  <a:lnTo>
                    <a:pt x="13" y="1051"/>
                  </a:lnTo>
                  <a:lnTo>
                    <a:pt x="0" y="895"/>
                  </a:lnTo>
                  <a:lnTo>
                    <a:pt x="0" y="868"/>
                  </a:lnTo>
                  <a:lnTo>
                    <a:pt x="6" y="843"/>
                  </a:lnTo>
                  <a:lnTo>
                    <a:pt x="17" y="819"/>
                  </a:lnTo>
                  <a:lnTo>
                    <a:pt x="33" y="798"/>
                  </a:lnTo>
                  <a:lnTo>
                    <a:pt x="52" y="781"/>
                  </a:lnTo>
                  <a:lnTo>
                    <a:pt x="75" y="768"/>
                  </a:lnTo>
                  <a:lnTo>
                    <a:pt x="101" y="760"/>
                  </a:lnTo>
                  <a:lnTo>
                    <a:pt x="177" y="744"/>
                  </a:lnTo>
                  <a:lnTo>
                    <a:pt x="195" y="676"/>
                  </a:lnTo>
                  <a:lnTo>
                    <a:pt x="219" y="610"/>
                  </a:lnTo>
                  <a:lnTo>
                    <a:pt x="164" y="551"/>
                  </a:lnTo>
                  <a:lnTo>
                    <a:pt x="148" y="530"/>
                  </a:lnTo>
                  <a:lnTo>
                    <a:pt x="136" y="506"/>
                  </a:lnTo>
                  <a:lnTo>
                    <a:pt x="131" y="481"/>
                  </a:lnTo>
                  <a:lnTo>
                    <a:pt x="129" y="455"/>
                  </a:lnTo>
                  <a:lnTo>
                    <a:pt x="135" y="430"/>
                  </a:lnTo>
                  <a:lnTo>
                    <a:pt x="145" y="405"/>
                  </a:lnTo>
                  <a:lnTo>
                    <a:pt x="160" y="383"/>
                  </a:lnTo>
                  <a:lnTo>
                    <a:pt x="260" y="263"/>
                  </a:lnTo>
                  <a:lnTo>
                    <a:pt x="275" y="246"/>
                  </a:lnTo>
                  <a:lnTo>
                    <a:pt x="294" y="234"/>
                  </a:lnTo>
                  <a:lnTo>
                    <a:pt x="313" y="225"/>
                  </a:lnTo>
                  <a:lnTo>
                    <a:pt x="335" y="219"/>
                  </a:lnTo>
                  <a:lnTo>
                    <a:pt x="357" y="217"/>
                  </a:lnTo>
                  <a:lnTo>
                    <a:pt x="381" y="220"/>
                  </a:lnTo>
                  <a:lnTo>
                    <a:pt x="405" y="227"/>
                  </a:lnTo>
                  <a:lnTo>
                    <a:pt x="426" y="239"/>
                  </a:lnTo>
                  <a:lnTo>
                    <a:pt x="487" y="279"/>
                  </a:lnTo>
                  <a:lnTo>
                    <a:pt x="531" y="252"/>
                  </a:lnTo>
                  <a:lnTo>
                    <a:pt x="577" y="228"/>
                  </a:lnTo>
                  <a:lnTo>
                    <a:pt x="623" y="207"/>
                  </a:lnTo>
                  <a:lnTo>
                    <a:pt x="625" y="136"/>
                  </a:lnTo>
                  <a:lnTo>
                    <a:pt x="630" y="109"/>
                  </a:lnTo>
                  <a:lnTo>
                    <a:pt x="639" y="85"/>
                  </a:lnTo>
                  <a:lnTo>
                    <a:pt x="652" y="62"/>
                  </a:lnTo>
                  <a:lnTo>
                    <a:pt x="670" y="43"/>
                  </a:lnTo>
                  <a:lnTo>
                    <a:pt x="691" y="29"/>
                  </a:lnTo>
                  <a:lnTo>
                    <a:pt x="715" y="18"/>
                  </a:lnTo>
                  <a:lnTo>
                    <a:pt x="742" y="13"/>
                  </a:lnTo>
                  <a:lnTo>
                    <a:pt x="897" y="0"/>
                  </a:lnTo>
                  <a:lnTo>
                    <a:pt x="902" y="0"/>
                  </a:lnTo>
                  <a:lnTo>
                    <a:pt x="9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xmlns="" id="{2AA29743-2073-4FCA-B4FC-E1532A8E9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6" y="1530"/>
              <a:ext cx="68" cy="68"/>
            </a:xfrm>
            <a:custGeom>
              <a:avLst/>
              <a:gdLst>
                <a:gd name="T0" fmla="*/ 314 w 674"/>
                <a:gd name="T1" fmla="*/ 65 h 677"/>
                <a:gd name="T2" fmla="*/ 245 w 674"/>
                <a:gd name="T3" fmla="*/ 81 h 677"/>
                <a:gd name="T4" fmla="*/ 182 w 674"/>
                <a:gd name="T5" fmla="*/ 113 h 677"/>
                <a:gd name="T6" fmla="*/ 128 w 674"/>
                <a:gd name="T7" fmla="*/ 161 h 677"/>
                <a:gd name="T8" fmla="*/ 90 w 674"/>
                <a:gd name="T9" fmla="*/ 223 h 677"/>
                <a:gd name="T10" fmla="*/ 68 w 674"/>
                <a:gd name="T11" fmla="*/ 289 h 677"/>
                <a:gd name="T12" fmla="*/ 65 w 674"/>
                <a:gd name="T13" fmla="*/ 361 h 677"/>
                <a:gd name="T14" fmla="*/ 85 w 674"/>
                <a:gd name="T15" fmla="*/ 442 h 677"/>
                <a:gd name="T16" fmla="*/ 125 w 674"/>
                <a:gd name="T17" fmla="*/ 511 h 677"/>
                <a:gd name="T18" fmla="*/ 184 w 674"/>
                <a:gd name="T19" fmla="*/ 564 h 677"/>
                <a:gd name="T20" fmla="*/ 256 w 674"/>
                <a:gd name="T21" fmla="*/ 600 h 677"/>
                <a:gd name="T22" fmla="*/ 337 w 674"/>
                <a:gd name="T23" fmla="*/ 612 h 677"/>
                <a:gd name="T24" fmla="*/ 396 w 674"/>
                <a:gd name="T25" fmla="*/ 606 h 677"/>
                <a:gd name="T26" fmla="*/ 462 w 674"/>
                <a:gd name="T27" fmla="*/ 582 h 677"/>
                <a:gd name="T28" fmla="*/ 521 w 674"/>
                <a:gd name="T29" fmla="*/ 541 h 677"/>
                <a:gd name="T30" fmla="*/ 568 w 674"/>
                <a:gd name="T31" fmla="*/ 486 h 677"/>
                <a:gd name="T32" fmla="*/ 598 w 674"/>
                <a:gd name="T33" fmla="*/ 421 h 677"/>
                <a:gd name="T34" fmla="*/ 610 w 674"/>
                <a:gd name="T35" fmla="*/ 351 h 677"/>
                <a:gd name="T36" fmla="*/ 603 w 674"/>
                <a:gd name="T37" fmla="*/ 274 h 677"/>
                <a:gd name="T38" fmla="*/ 572 w 674"/>
                <a:gd name="T39" fmla="*/ 199 h 677"/>
                <a:gd name="T40" fmla="*/ 522 w 674"/>
                <a:gd name="T41" fmla="*/ 137 h 677"/>
                <a:gd name="T42" fmla="*/ 457 w 674"/>
                <a:gd name="T43" fmla="*/ 92 h 677"/>
                <a:gd name="T44" fmla="*/ 380 w 674"/>
                <a:gd name="T45" fmla="*/ 68 h 677"/>
                <a:gd name="T46" fmla="*/ 338 w 674"/>
                <a:gd name="T47" fmla="*/ 0 h 677"/>
                <a:gd name="T48" fmla="*/ 430 w 674"/>
                <a:gd name="T49" fmla="*/ 13 h 677"/>
                <a:gd name="T50" fmla="*/ 512 w 674"/>
                <a:gd name="T51" fmla="*/ 49 h 677"/>
                <a:gd name="T52" fmla="*/ 582 w 674"/>
                <a:gd name="T53" fmla="*/ 106 h 677"/>
                <a:gd name="T54" fmla="*/ 634 w 674"/>
                <a:gd name="T55" fmla="*/ 178 h 677"/>
                <a:gd name="T56" fmla="*/ 667 w 674"/>
                <a:gd name="T57" fmla="*/ 263 h 677"/>
                <a:gd name="T58" fmla="*/ 674 w 674"/>
                <a:gd name="T59" fmla="*/ 355 h 677"/>
                <a:gd name="T60" fmla="*/ 659 w 674"/>
                <a:gd name="T61" fmla="*/ 441 h 677"/>
                <a:gd name="T62" fmla="*/ 622 w 674"/>
                <a:gd name="T63" fmla="*/ 521 h 677"/>
                <a:gd name="T64" fmla="*/ 564 w 674"/>
                <a:gd name="T65" fmla="*/ 589 h 677"/>
                <a:gd name="T66" fmla="*/ 493 w 674"/>
                <a:gd name="T67" fmla="*/ 640 h 677"/>
                <a:gd name="T68" fmla="*/ 410 w 674"/>
                <a:gd name="T69" fmla="*/ 669 h 677"/>
                <a:gd name="T70" fmla="*/ 337 w 674"/>
                <a:gd name="T71" fmla="*/ 677 h 677"/>
                <a:gd name="T72" fmla="*/ 246 w 674"/>
                <a:gd name="T73" fmla="*/ 664 h 677"/>
                <a:gd name="T74" fmla="*/ 163 w 674"/>
                <a:gd name="T75" fmla="*/ 628 h 677"/>
                <a:gd name="T76" fmla="*/ 93 w 674"/>
                <a:gd name="T77" fmla="*/ 572 h 677"/>
                <a:gd name="T78" fmla="*/ 40 w 674"/>
                <a:gd name="T79" fmla="*/ 499 h 677"/>
                <a:gd name="T80" fmla="*/ 9 w 674"/>
                <a:gd name="T81" fmla="*/ 414 h 677"/>
                <a:gd name="T82" fmla="*/ 0 w 674"/>
                <a:gd name="T83" fmla="*/ 322 h 677"/>
                <a:gd name="T84" fmla="*/ 15 w 674"/>
                <a:gd name="T85" fmla="*/ 236 h 677"/>
                <a:gd name="T86" fmla="*/ 53 w 674"/>
                <a:gd name="T87" fmla="*/ 156 h 677"/>
                <a:gd name="T88" fmla="*/ 111 w 674"/>
                <a:gd name="T89" fmla="*/ 87 h 677"/>
                <a:gd name="T90" fmla="*/ 183 w 674"/>
                <a:gd name="T91" fmla="*/ 37 h 677"/>
                <a:gd name="T92" fmla="*/ 265 w 674"/>
                <a:gd name="T93" fmla="*/ 8 h 677"/>
                <a:gd name="T94" fmla="*/ 338 w 674"/>
                <a:gd name="T95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74" h="677">
                  <a:moveTo>
                    <a:pt x="338" y="64"/>
                  </a:moveTo>
                  <a:lnTo>
                    <a:pt x="314" y="65"/>
                  </a:lnTo>
                  <a:lnTo>
                    <a:pt x="278" y="71"/>
                  </a:lnTo>
                  <a:lnTo>
                    <a:pt x="245" y="81"/>
                  </a:lnTo>
                  <a:lnTo>
                    <a:pt x="212" y="95"/>
                  </a:lnTo>
                  <a:lnTo>
                    <a:pt x="182" y="113"/>
                  </a:lnTo>
                  <a:lnTo>
                    <a:pt x="153" y="135"/>
                  </a:lnTo>
                  <a:lnTo>
                    <a:pt x="128" y="161"/>
                  </a:lnTo>
                  <a:lnTo>
                    <a:pt x="108" y="191"/>
                  </a:lnTo>
                  <a:lnTo>
                    <a:pt x="90" y="223"/>
                  </a:lnTo>
                  <a:lnTo>
                    <a:pt x="77" y="255"/>
                  </a:lnTo>
                  <a:lnTo>
                    <a:pt x="68" y="289"/>
                  </a:lnTo>
                  <a:lnTo>
                    <a:pt x="64" y="325"/>
                  </a:lnTo>
                  <a:lnTo>
                    <a:pt x="65" y="361"/>
                  </a:lnTo>
                  <a:lnTo>
                    <a:pt x="72" y="403"/>
                  </a:lnTo>
                  <a:lnTo>
                    <a:pt x="85" y="442"/>
                  </a:lnTo>
                  <a:lnTo>
                    <a:pt x="102" y="478"/>
                  </a:lnTo>
                  <a:lnTo>
                    <a:pt x="125" y="511"/>
                  </a:lnTo>
                  <a:lnTo>
                    <a:pt x="152" y="540"/>
                  </a:lnTo>
                  <a:lnTo>
                    <a:pt x="184" y="564"/>
                  </a:lnTo>
                  <a:lnTo>
                    <a:pt x="219" y="585"/>
                  </a:lnTo>
                  <a:lnTo>
                    <a:pt x="256" y="600"/>
                  </a:lnTo>
                  <a:lnTo>
                    <a:pt x="296" y="609"/>
                  </a:lnTo>
                  <a:lnTo>
                    <a:pt x="337" y="612"/>
                  </a:lnTo>
                  <a:lnTo>
                    <a:pt x="360" y="611"/>
                  </a:lnTo>
                  <a:lnTo>
                    <a:pt x="396" y="606"/>
                  </a:lnTo>
                  <a:lnTo>
                    <a:pt x="431" y="596"/>
                  </a:lnTo>
                  <a:lnTo>
                    <a:pt x="462" y="582"/>
                  </a:lnTo>
                  <a:lnTo>
                    <a:pt x="493" y="564"/>
                  </a:lnTo>
                  <a:lnTo>
                    <a:pt x="521" y="541"/>
                  </a:lnTo>
                  <a:lnTo>
                    <a:pt x="546" y="515"/>
                  </a:lnTo>
                  <a:lnTo>
                    <a:pt x="568" y="486"/>
                  </a:lnTo>
                  <a:lnTo>
                    <a:pt x="585" y="455"/>
                  </a:lnTo>
                  <a:lnTo>
                    <a:pt x="598" y="421"/>
                  </a:lnTo>
                  <a:lnTo>
                    <a:pt x="606" y="387"/>
                  </a:lnTo>
                  <a:lnTo>
                    <a:pt x="610" y="351"/>
                  </a:lnTo>
                  <a:lnTo>
                    <a:pt x="609" y="315"/>
                  </a:lnTo>
                  <a:lnTo>
                    <a:pt x="603" y="274"/>
                  </a:lnTo>
                  <a:lnTo>
                    <a:pt x="591" y="236"/>
                  </a:lnTo>
                  <a:lnTo>
                    <a:pt x="572" y="199"/>
                  </a:lnTo>
                  <a:lnTo>
                    <a:pt x="549" y="166"/>
                  </a:lnTo>
                  <a:lnTo>
                    <a:pt x="522" y="137"/>
                  </a:lnTo>
                  <a:lnTo>
                    <a:pt x="491" y="112"/>
                  </a:lnTo>
                  <a:lnTo>
                    <a:pt x="457" y="92"/>
                  </a:lnTo>
                  <a:lnTo>
                    <a:pt x="419" y="77"/>
                  </a:lnTo>
                  <a:lnTo>
                    <a:pt x="380" y="68"/>
                  </a:lnTo>
                  <a:lnTo>
                    <a:pt x="338" y="64"/>
                  </a:lnTo>
                  <a:close/>
                  <a:moveTo>
                    <a:pt x="338" y="0"/>
                  </a:moveTo>
                  <a:lnTo>
                    <a:pt x="385" y="3"/>
                  </a:lnTo>
                  <a:lnTo>
                    <a:pt x="430" y="13"/>
                  </a:lnTo>
                  <a:lnTo>
                    <a:pt x="472" y="28"/>
                  </a:lnTo>
                  <a:lnTo>
                    <a:pt x="512" y="49"/>
                  </a:lnTo>
                  <a:lnTo>
                    <a:pt x="548" y="75"/>
                  </a:lnTo>
                  <a:lnTo>
                    <a:pt x="582" y="106"/>
                  </a:lnTo>
                  <a:lnTo>
                    <a:pt x="610" y="140"/>
                  </a:lnTo>
                  <a:lnTo>
                    <a:pt x="634" y="178"/>
                  </a:lnTo>
                  <a:lnTo>
                    <a:pt x="653" y="219"/>
                  </a:lnTo>
                  <a:lnTo>
                    <a:pt x="667" y="263"/>
                  </a:lnTo>
                  <a:lnTo>
                    <a:pt x="673" y="310"/>
                  </a:lnTo>
                  <a:lnTo>
                    <a:pt x="674" y="355"/>
                  </a:lnTo>
                  <a:lnTo>
                    <a:pt x="670" y="398"/>
                  </a:lnTo>
                  <a:lnTo>
                    <a:pt x="659" y="441"/>
                  </a:lnTo>
                  <a:lnTo>
                    <a:pt x="643" y="482"/>
                  </a:lnTo>
                  <a:lnTo>
                    <a:pt x="622" y="521"/>
                  </a:lnTo>
                  <a:lnTo>
                    <a:pt x="595" y="557"/>
                  </a:lnTo>
                  <a:lnTo>
                    <a:pt x="564" y="589"/>
                  </a:lnTo>
                  <a:lnTo>
                    <a:pt x="530" y="617"/>
                  </a:lnTo>
                  <a:lnTo>
                    <a:pt x="493" y="640"/>
                  </a:lnTo>
                  <a:lnTo>
                    <a:pt x="452" y="657"/>
                  </a:lnTo>
                  <a:lnTo>
                    <a:pt x="410" y="669"/>
                  </a:lnTo>
                  <a:lnTo>
                    <a:pt x="365" y="676"/>
                  </a:lnTo>
                  <a:lnTo>
                    <a:pt x="337" y="677"/>
                  </a:lnTo>
                  <a:lnTo>
                    <a:pt x="290" y="673"/>
                  </a:lnTo>
                  <a:lnTo>
                    <a:pt x="246" y="664"/>
                  </a:lnTo>
                  <a:lnTo>
                    <a:pt x="202" y="648"/>
                  </a:lnTo>
                  <a:lnTo>
                    <a:pt x="163" y="628"/>
                  </a:lnTo>
                  <a:lnTo>
                    <a:pt x="126" y="601"/>
                  </a:lnTo>
                  <a:lnTo>
                    <a:pt x="93" y="572"/>
                  </a:lnTo>
                  <a:lnTo>
                    <a:pt x="64" y="537"/>
                  </a:lnTo>
                  <a:lnTo>
                    <a:pt x="40" y="499"/>
                  </a:lnTo>
                  <a:lnTo>
                    <a:pt x="22" y="457"/>
                  </a:lnTo>
                  <a:lnTo>
                    <a:pt x="9" y="414"/>
                  </a:lnTo>
                  <a:lnTo>
                    <a:pt x="1" y="367"/>
                  </a:lnTo>
                  <a:lnTo>
                    <a:pt x="0" y="322"/>
                  </a:lnTo>
                  <a:lnTo>
                    <a:pt x="5" y="278"/>
                  </a:lnTo>
                  <a:lnTo>
                    <a:pt x="15" y="236"/>
                  </a:lnTo>
                  <a:lnTo>
                    <a:pt x="31" y="195"/>
                  </a:lnTo>
                  <a:lnTo>
                    <a:pt x="53" y="156"/>
                  </a:lnTo>
                  <a:lnTo>
                    <a:pt x="79" y="120"/>
                  </a:lnTo>
                  <a:lnTo>
                    <a:pt x="111" y="87"/>
                  </a:lnTo>
                  <a:lnTo>
                    <a:pt x="145" y="60"/>
                  </a:lnTo>
                  <a:lnTo>
                    <a:pt x="183" y="37"/>
                  </a:lnTo>
                  <a:lnTo>
                    <a:pt x="223" y="20"/>
                  </a:lnTo>
                  <a:lnTo>
                    <a:pt x="265" y="8"/>
                  </a:lnTo>
                  <a:lnTo>
                    <a:pt x="309" y="1"/>
                  </a:lnTo>
                  <a:lnTo>
                    <a:pt x="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xmlns="" id="{DD4F9B72-A774-4A47-9015-A6F36F067F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0" y="1622"/>
              <a:ext cx="56" cy="56"/>
            </a:xfrm>
            <a:custGeom>
              <a:avLst/>
              <a:gdLst>
                <a:gd name="T0" fmla="*/ 246 w 561"/>
                <a:gd name="T1" fmla="*/ 68 h 564"/>
                <a:gd name="T2" fmla="*/ 183 w 561"/>
                <a:gd name="T3" fmla="*/ 89 h 564"/>
                <a:gd name="T4" fmla="*/ 130 w 561"/>
                <a:gd name="T5" fmla="*/ 128 h 564"/>
                <a:gd name="T6" fmla="*/ 89 w 561"/>
                <a:gd name="T7" fmla="*/ 181 h 564"/>
                <a:gd name="T8" fmla="*/ 68 w 561"/>
                <a:gd name="T9" fmla="*/ 245 h 564"/>
                <a:gd name="T10" fmla="*/ 66 w 561"/>
                <a:gd name="T11" fmla="*/ 315 h 564"/>
                <a:gd name="T12" fmla="*/ 87 w 561"/>
                <a:gd name="T13" fmla="*/ 379 h 564"/>
                <a:gd name="T14" fmla="*/ 126 w 561"/>
                <a:gd name="T15" fmla="*/ 434 h 564"/>
                <a:gd name="T16" fmla="*/ 180 w 561"/>
                <a:gd name="T17" fmla="*/ 474 h 564"/>
                <a:gd name="T18" fmla="*/ 244 w 561"/>
                <a:gd name="T19" fmla="*/ 496 h 564"/>
                <a:gd name="T20" fmla="*/ 281 w 561"/>
                <a:gd name="T21" fmla="*/ 499 h 564"/>
                <a:gd name="T22" fmla="*/ 348 w 561"/>
                <a:gd name="T23" fmla="*/ 488 h 564"/>
                <a:gd name="T24" fmla="*/ 408 w 561"/>
                <a:gd name="T25" fmla="*/ 458 h 564"/>
                <a:gd name="T26" fmla="*/ 455 w 561"/>
                <a:gd name="T27" fmla="*/ 412 h 564"/>
                <a:gd name="T28" fmla="*/ 486 w 561"/>
                <a:gd name="T29" fmla="*/ 353 h 564"/>
                <a:gd name="T30" fmla="*/ 497 w 561"/>
                <a:gd name="T31" fmla="*/ 285 h 564"/>
                <a:gd name="T32" fmla="*/ 487 w 561"/>
                <a:gd name="T33" fmla="*/ 218 h 564"/>
                <a:gd name="T34" fmla="*/ 458 w 561"/>
                <a:gd name="T35" fmla="*/ 157 h 564"/>
                <a:gd name="T36" fmla="*/ 410 w 561"/>
                <a:gd name="T37" fmla="*/ 107 h 564"/>
                <a:gd name="T38" fmla="*/ 350 w 561"/>
                <a:gd name="T39" fmla="*/ 77 h 564"/>
                <a:gd name="T40" fmla="*/ 284 w 561"/>
                <a:gd name="T41" fmla="*/ 65 h 564"/>
                <a:gd name="T42" fmla="*/ 281 w 561"/>
                <a:gd name="T43" fmla="*/ 0 h 564"/>
                <a:gd name="T44" fmla="*/ 321 w 561"/>
                <a:gd name="T45" fmla="*/ 4 h 564"/>
                <a:gd name="T46" fmla="*/ 392 w 561"/>
                <a:gd name="T47" fmla="*/ 23 h 564"/>
                <a:gd name="T48" fmla="*/ 454 w 561"/>
                <a:gd name="T49" fmla="*/ 60 h 564"/>
                <a:gd name="T50" fmla="*/ 506 w 561"/>
                <a:gd name="T51" fmla="*/ 114 h 564"/>
                <a:gd name="T52" fmla="*/ 542 w 561"/>
                <a:gd name="T53" fmla="*/ 177 h 564"/>
                <a:gd name="T54" fmla="*/ 560 w 561"/>
                <a:gd name="T55" fmla="*/ 248 h 564"/>
                <a:gd name="T56" fmla="*/ 558 w 561"/>
                <a:gd name="T57" fmla="*/ 327 h 564"/>
                <a:gd name="T58" fmla="*/ 534 w 561"/>
                <a:gd name="T59" fmla="*/ 403 h 564"/>
                <a:gd name="T60" fmla="*/ 492 w 561"/>
                <a:gd name="T61" fmla="*/ 469 h 564"/>
                <a:gd name="T62" fmla="*/ 433 w 561"/>
                <a:gd name="T63" fmla="*/ 519 h 564"/>
                <a:gd name="T64" fmla="*/ 361 w 561"/>
                <a:gd name="T65" fmla="*/ 553 h 564"/>
                <a:gd name="T66" fmla="*/ 281 w 561"/>
                <a:gd name="T67" fmla="*/ 564 h 564"/>
                <a:gd name="T68" fmla="*/ 236 w 561"/>
                <a:gd name="T69" fmla="*/ 560 h 564"/>
                <a:gd name="T70" fmla="*/ 160 w 561"/>
                <a:gd name="T71" fmla="*/ 536 h 564"/>
                <a:gd name="T72" fmla="*/ 95 w 561"/>
                <a:gd name="T73" fmla="*/ 493 h 564"/>
                <a:gd name="T74" fmla="*/ 44 w 561"/>
                <a:gd name="T75" fmla="*/ 433 h 564"/>
                <a:gd name="T76" fmla="*/ 11 w 561"/>
                <a:gd name="T77" fmla="*/ 361 h 564"/>
                <a:gd name="T78" fmla="*/ 0 w 561"/>
                <a:gd name="T79" fmla="*/ 279 h 564"/>
                <a:gd name="T80" fmla="*/ 13 w 561"/>
                <a:gd name="T81" fmla="*/ 199 h 564"/>
                <a:gd name="T82" fmla="*/ 47 w 561"/>
                <a:gd name="T83" fmla="*/ 127 h 564"/>
                <a:gd name="T84" fmla="*/ 98 w 561"/>
                <a:gd name="T85" fmla="*/ 69 h 564"/>
                <a:gd name="T86" fmla="*/ 164 w 561"/>
                <a:gd name="T87" fmla="*/ 27 h 564"/>
                <a:gd name="T88" fmla="*/ 241 w 561"/>
                <a:gd name="T89" fmla="*/ 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1" h="564">
                  <a:moveTo>
                    <a:pt x="281" y="65"/>
                  </a:moveTo>
                  <a:lnTo>
                    <a:pt x="246" y="68"/>
                  </a:lnTo>
                  <a:lnTo>
                    <a:pt x="213" y="76"/>
                  </a:lnTo>
                  <a:lnTo>
                    <a:pt x="183" y="89"/>
                  </a:lnTo>
                  <a:lnTo>
                    <a:pt x="155" y="106"/>
                  </a:lnTo>
                  <a:lnTo>
                    <a:pt x="130" y="128"/>
                  </a:lnTo>
                  <a:lnTo>
                    <a:pt x="108" y="153"/>
                  </a:lnTo>
                  <a:lnTo>
                    <a:pt x="89" y="181"/>
                  </a:lnTo>
                  <a:lnTo>
                    <a:pt x="76" y="212"/>
                  </a:lnTo>
                  <a:lnTo>
                    <a:pt x="68" y="245"/>
                  </a:lnTo>
                  <a:lnTo>
                    <a:pt x="64" y="280"/>
                  </a:lnTo>
                  <a:lnTo>
                    <a:pt x="66" y="315"/>
                  </a:lnTo>
                  <a:lnTo>
                    <a:pt x="75" y="349"/>
                  </a:lnTo>
                  <a:lnTo>
                    <a:pt x="87" y="379"/>
                  </a:lnTo>
                  <a:lnTo>
                    <a:pt x="105" y="409"/>
                  </a:lnTo>
                  <a:lnTo>
                    <a:pt x="126" y="434"/>
                  </a:lnTo>
                  <a:lnTo>
                    <a:pt x="151" y="456"/>
                  </a:lnTo>
                  <a:lnTo>
                    <a:pt x="180" y="474"/>
                  </a:lnTo>
                  <a:lnTo>
                    <a:pt x="210" y="487"/>
                  </a:lnTo>
                  <a:lnTo>
                    <a:pt x="244" y="496"/>
                  </a:lnTo>
                  <a:lnTo>
                    <a:pt x="279" y="499"/>
                  </a:lnTo>
                  <a:lnTo>
                    <a:pt x="281" y="499"/>
                  </a:lnTo>
                  <a:lnTo>
                    <a:pt x="316" y="497"/>
                  </a:lnTo>
                  <a:lnTo>
                    <a:pt x="348" y="488"/>
                  </a:lnTo>
                  <a:lnTo>
                    <a:pt x="380" y="475"/>
                  </a:lnTo>
                  <a:lnTo>
                    <a:pt x="408" y="458"/>
                  </a:lnTo>
                  <a:lnTo>
                    <a:pt x="433" y="437"/>
                  </a:lnTo>
                  <a:lnTo>
                    <a:pt x="455" y="412"/>
                  </a:lnTo>
                  <a:lnTo>
                    <a:pt x="472" y="384"/>
                  </a:lnTo>
                  <a:lnTo>
                    <a:pt x="486" y="353"/>
                  </a:lnTo>
                  <a:lnTo>
                    <a:pt x="494" y="319"/>
                  </a:lnTo>
                  <a:lnTo>
                    <a:pt x="497" y="285"/>
                  </a:lnTo>
                  <a:lnTo>
                    <a:pt x="495" y="250"/>
                  </a:lnTo>
                  <a:lnTo>
                    <a:pt x="487" y="218"/>
                  </a:lnTo>
                  <a:lnTo>
                    <a:pt x="476" y="186"/>
                  </a:lnTo>
                  <a:lnTo>
                    <a:pt x="458" y="157"/>
                  </a:lnTo>
                  <a:lnTo>
                    <a:pt x="436" y="130"/>
                  </a:lnTo>
                  <a:lnTo>
                    <a:pt x="410" y="107"/>
                  </a:lnTo>
                  <a:lnTo>
                    <a:pt x="382" y="90"/>
                  </a:lnTo>
                  <a:lnTo>
                    <a:pt x="350" y="77"/>
                  </a:lnTo>
                  <a:lnTo>
                    <a:pt x="318" y="68"/>
                  </a:lnTo>
                  <a:lnTo>
                    <a:pt x="284" y="65"/>
                  </a:lnTo>
                  <a:lnTo>
                    <a:pt x="281" y="65"/>
                  </a:lnTo>
                  <a:close/>
                  <a:moveTo>
                    <a:pt x="281" y="0"/>
                  </a:moveTo>
                  <a:lnTo>
                    <a:pt x="284" y="0"/>
                  </a:lnTo>
                  <a:lnTo>
                    <a:pt x="321" y="4"/>
                  </a:lnTo>
                  <a:lnTo>
                    <a:pt x="357" y="11"/>
                  </a:lnTo>
                  <a:lnTo>
                    <a:pt x="392" y="23"/>
                  </a:lnTo>
                  <a:lnTo>
                    <a:pt x="424" y="40"/>
                  </a:lnTo>
                  <a:lnTo>
                    <a:pt x="454" y="60"/>
                  </a:lnTo>
                  <a:lnTo>
                    <a:pt x="482" y="86"/>
                  </a:lnTo>
                  <a:lnTo>
                    <a:pt x="506" y="114"/>
                  </a:lnTo>
                  <a:lnTo>
                    <a:pt x="527" y="145"/>
                  </a:lnTo>
                  <a:lnTo>
                    <a:pt x="542" y="177"/>
                  </a:lnTo>
                  <a:lnTo>
                    <a:pt x="553" y="212"/>
                  </a:lnTo>
                  <a:lnTo>
                    <a:pt x="560" y="248"/>
                  </a:lnTo>
                  <a:lnTo>
                    <a:pt x="561" y="285"/>
                  </a:lnTo>
                  <a:lnTo>
                    <a:pt x="558" y="327"/>
                  </a:lnTo>
                  <a:lnTo>
                    <a:pt x="549" y="366"/>
                  </a:lnTo>
                  <a:lnTo>
                    <a:pt x="534" y="403"/>
                  </a:lnTo>
                  <a:lnTo>
                    <a:pt x="516" y="437"/>
                  </a:lnTo>
                  <a:lnTo>
                    <a:pt x="492" y="469"/>
                  </a:lnTo>
                  <a:lnTo>
                    <a:pt x="464" y="496"/>
                  </a:lnTo>
                  <a:lnTo>
                    <a:pt x="433" y="519"/>
                  </a:lnTo>
                  <a:lnTo>
                    <a:pt x="398" y="539"/>
                  </a:lnTo>
                  <a:lnTo>
                    <a:pt x="361" y="553"/>
                  </a:lnTo>
                  <a:lnTo>
                    <a:pt x="322" y="562"/>
                  </a:lnTo>
                  <a:lnTo>
                    <a:pt x="281" y="564"/>
                  </a:lnTo>
                  <a:lnTo>
                    <a:pt x="278" y="564"/>
                  </a:lnTo>
                  <a:lnTo>
                    <a:pt x="236" y="560"/>
                  </a:lnTo>
                  <a:lnTo>
                    <a:pt x="197" y="552"/>
                  </a:lnTo>
                  <a:lnTo>
                    <a:pt x="160" y="536"/>
                  </a:lnTo>
                  <a:lnTo>
                    <a:pt x="125" y="517"/>
                  </a:lnTo>
                  <a:lnTo>
                    <a:pt x="95" y="493"/>
                  </a:lnTo>
                  <a:lnTo>
                    <a:pt x="68" y="464"/>
                  </a:lnTo>
                  <a:lnTo>
                    <a:pt x="44" y="433"/>
                  </a:lnTo>
                  <a:lnTo>
                    <a:pt x="25" y="398"/>
                  </a:lnTo>
                  <a:lnTo>
                    <a:pt x="11" y="361"/>
                  </a:lnTo>
                  <a:lnTo>
                    <a:pt x="2" y="320"/>
                  </a:lnTo>
                  <a:lnTo>
                    <a:pt x="0" y="279"/>
                  </a:lnTo>
                  <a:lnTo>
                    <a:pt x="3" y="237"/>
                  </a:lnTo>
                  <a:lnTo>
                    <a:pt x="13" y="199"/>
                  </a:lnTo>
                  <a:lnTo>
                    <a:pt x="27" y="162"/>
                  </a:lnTo>
                  <a:lnTo>
                    <a:pt x="47" y="127"/>
                  </a:lnTo>
                  <a:lnTo>
                    <a:pt x="71" y="96"/>
                  </a:lnTo>
                  <a:lnTo>
                    <a:pt x="98" y="69"/>
                  </a:lnTo>
                  <a:lnTo>
                    <a:pt x="130" y="45"/>
                  </a:lnTo>
                  <a:lnTo>
                    <a:pt x="164" y="27"/>
                  </a:lnTo>
                  <a:lnTo>
                    <a:pt x="201" y="12"/>
                  </a:lnTo>
                  <a:lnTo>
                    <a:pt x="241" y="4"/>
                  </a:lnTo>
                  <a:lnTo>
                    <a:pt x="2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Freeform 42">
              <a:extLst>
                <a:ext uri="{FF2B5EF4-FFF2-40B4-BE49-F238E27FC236}">
                  <a16:creationId xmlns:a16="http://schemas.microsoft.com/office/drawing/2014/main" xmlns="" id="{542E15F9-C798-4C32-ADF6-2522198EE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5" y="1578"/>
              <a:ext cx="146" cy="146"/>
            </a:xfrm>
            <a:custGeom>
              <a:avLst/>
              <a:gdLst>
                <a:gd name="T0" fmla="*/ 635 w 1458"/>
                <a:gd name="T1" fmla="*/ 102 h 1463"/>
                <a:gd name="T2" fmla="*/ 507 w 1458"/>
                <a:gd name="T3" fmla="*/ 238 h 1463"/>
                <a:gd name="T4" fmla="*/ 355 w 1458"/>
                <a:gd name="T5" fmla="*/ 206 h 1463"/>
                <a:gd name="T6" fmla="*/ 229 w 1458"/>
                <a:gd name="T7" fmla="*/ 290 h 1463"/>
                <a:gd name="T8" fmla="*/ 223 w 1458"/>
                <a:gd name="T9" fmla="*/ 373 h 1463"/>
                <a:gd name="T10" fmla="*/ 215 w 1458"/>
                <a:gd name="T11" fmla="*/ 586 h 1463"/>
                <a:gd name="T12" fmla="*/ 76 w 1458"/>
                <a:gd name="T13" fmla="*/ 644 h 1463"/>
                <a:gd name="T14" fmla="*/ 74 w 1458"/>
                <a:gd name="T15" fmla="*/ 809 h 1463"/>
                <a:gd name="T16" fmla="*/ 216 w 1458"/>
                <a:gd name="T17" fmla="*/ 870 h 1463"/>
                <a:gd name="T18" fmla="*/ 214 w 1458"/>
                <a:gd name="T19" fmla="*/ 1078 h 1463"/>
                <a:gd name="T20" fmla="*/ 218 w 1458"/>
                <a:gd name="T21" fmla="*/ 1161 h 1463"/>
                <a:gd name="T22" fmla="*/ 343 w 1458"/>
                <a:gd name="T23" fmla="*/ 1247 h 1463"/>
                <a:gd name="T24" fmla="*/ 499 w 1458"/>
                <a:gd name="T25" fmla="*/ 1210 h 1463"/>
                <a:gd name="T26" fmla="*/ 613 w 1458"/>
                <a:gd name="T27" fmla="*/ 1359 h 1463"/>
                <a:gd name="T28" fmla="*/ 767 w 1458"/>
                <a:gd name="T29" fmla="*/ 1399 h 1463"/>
                <a:gd name="T30" fmla="*/ 829 w 1458"/>
                <a:gd name="T31" fmla="*/ 1344 h 1463"/>
                <a:gd name="T32" fmla="*/ 990 w 1458"/>
                <a:gd name="T33" fmla="*/ 1198 h 1463"/>
                <a:gd name="T34" fmla="*/ 1118 w 1458"/>
                <a:gd name="T35" fmla="*/ 1258 h 1463"/>
                <a:gd name="T36" fmla="*/ 1240 w 1458"/>
                <a:gd name="T37" fmla="*/ 1158 h 1463"/>
                <a:gd name="T38" fmla="*/ 1181 w 1458"/>
                <a:gd name="T39" fmla="*/ 1020 h 1463"/>
                <a:gd name="T40" fmla="*/ 1253 w 1458"/>
                <a:gd name="T41" fmla="*/ 855 h 1463"/>
                <a:gd name="T42" fmla="*/ 1390 w 1458"/>
                <a:gd name="T43" fmla="*/ 804 h 1463"/>
                <a:gd name="T44" fmla="*/ 1373 w 1458"/>
                <a:gd name="T45" fmla="*/ 641 h 1463"/>
                <a:gd name="T46" fmla="*/ 1239 w 1458"/>
                <a:gd name="T47" fmla="*/ 550 h 1463"/>
                <a:gd name="T48" fmla="*/ 1253 w 1458"/>
                <a:gd name="T49" fmla="*/ 370 h 1463"/>
                <a:gd name="T50" fmla="*/ 1173 w 1458"/>
                <a:gd name="T51" fmla="*/ 234 h 1463"/>
                <a:gd name="T52" fmla="*/ 1102 w 1458"/>
                <a:gd name="T53" fmla="*/ 222 h 1463"/>
                <a:gd name="T54" fmla="*/ 923 w 1458"/>
                <a:gd name="T55" fmla="*/ 224 h 1463"/>
                <a:gd name="T56" fmla="*/ 835 w 1458"/>
                <a:gd name="T57" fmla="*/ 88 h 1463"/>
                <a:gd name="T58" fmla="*/ 692 w 1458"/>
                <a:gd name="T59" fmla="*/ 0 h 1463"/>
                <a:gd name="T60" fmla="*/ 862 w 1458"/>
                <a:gd name="T61" fmla="*/ 26 h 1463"/>
                <a:gd name="T62" fmla="*/ 917 w 1458"/>
                <a:gd name="T63" fmla="*/ 154 h 1463"/>
                <a:gd name="T64" fmla="*/ 1101 w 1458"/>
                <a:gd name="T65" fmla="*/ 154 h 1463"/>
                <a:gd name="T66" fmla="*/ 1219 w 1458"/>
                <a:gd name="T67" fmla="*/ 189 h 1463"/>
                <a:gd name="T68" fmla="*/ 1321 w 1458"/>
                <a:gd name="T69" fmla="*/ 354 h 1463"/>
                <a:gd name="T70" fmla="*/ 1290 w 1458"/>
                <a:gd name="T71" fmla="*/ 506 h 1463"/>
                <a:gd name="T72" fmla="*/ 1418 w 1458"/>
                <a:gd name="T73" fmla="*/ 595 h 1463"/>
                <a:gd name="T74" fmla="*/ 1457 w 1458"/>
                <a:gd name="T75" fmla="*/ 785 h 1463"/>
                <a:gd name="T76" fmla="*/ 1394 w 1458"/>
                <a:gd name="T77" fmla="*/ 894 h 1463"/>
                <a:gd name="T78" fmla="*/ 1258 w 1458"/>
                <a:gd name="T79" fmla="*/ 1015 h 1463"/>
                <a:gd name="T80" fmla="*/ 1311 w 1458"/>
                <a:gd name="T81" fmla="*/ 1150 h 1463"/>
                <a:gd name="T82" fmla="*/ 1187 w 1458"/>
                <a:gd name="T83" fmla="*/ 1301 h 1463"/>
                <a:gd name="T84" fmla="*/ 1076 w 1458"/>
                <a:gd name="T85" fmla="*/ 1316 h 1463"/>
                <a:gd name="T86" fmla="*/ 898 w 1458"/>
                <a:gd name="T87" fmla="*/ 1305 h 1463"/>
                <a:gd name="T88" fmla="*/ 841 w 1458"/>
                <a:gd name="T89" fmla="*/ 1439 h 1463"/>
                <a:gd name="T90" fmla="*/ 670 w 1458"/>
                <a:gd name="T91" fmla="*/ 1462 h 1463"/>
                <a:gd name="T92" fmla="*/ 561 w 1458"/>
                <a:gd name="T93" fmla="*/ 1399 h 1463"/>
                <a:gd name="T94" fmla="*/ 447 w 1458"/>
                <a:gd name="T95" fmla="*/ 1256 h 1463"/>
                <a:gd name="T96" fmla="*/ 329 w 1458"/>
                <a:gd name="T97" fmla="*/ 1312 h 1463"/>
                <a:gd name="T98" fmla="*/ 172 w 1458"/>
                <a:gd name="T99" fmla="*/ 1205 h 1463"/>
                <a:gd name="T100" fmla="*/ 140 w 1458"/>
                <a:gd name="T101" fmla="*/ 1084 h 1463"/>
                <a:gd name="T102" fmla="*/ 160 w 1458"/>
                <a:gd name="T103" fmla="*/ 908 h 1463"/>
                <a:gd name="T104" fmla="*/ 22 w 1458"/>
                <a:gd name="T105" fmla="*/ 848 h 1463"/>
                <a:gd name="T106" fmla="*/ 4 w 1458"/>
                <a:gd name="T107" fmla="*/ 651 h 1463"/>
                <a:gd name="T108" fmla="*/ 88 w 1458"/>
                <a:gd name="T109" fmla="*/ 559 h 1463"/>
                <a:gd name="T110" fmla="*/ 173 w 1458"/>
                <a:gd name="T111" fmla="*/ 413 h 1463"/>
                <a:gd name="T112" fmla="*/ 154 w 1458"/>
                <a:gd name="T113" fmla="*/ 288 h 1463"/>
                <a:gd name="T114" fmla="*/ 293 w 1458"/>
                <a:gd name="T115" fmla="*/ 150 h 1463"/>
                <a:gd name="T116" fmla="*/ 403 w 1458"/>
                <a:gd name="T117" fmla="*/ 157 h 1463"/>
                <a:gd name="T118" fmla="*/ 566 w 1458"/>
                <a:gd name="T119" fmla="*/ 111 h 1463"/>
                <a:gd name="T120" fmla="*/ 640 w 1458"/>
                <a:gd name="T121" fmla="*/ 11 h 1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58" h="1463">
                  <a:moveTo>
                    <a:pt x="692" y="64"/>
                  </a:moveTo>
                  <a:lnTo>
                    <a:pt x="673" y="68"/>
                  </a:lnTo>
                  <a:lnTo>
                    <a:pt x="658" y="75"/>
                  </a:lnTo>
                  <a:lnTo>
                    <a:pt x="644" y="86"/>
                  </a:lnTo>
                  <a:lnTo>
                    <a:pt x="635" y="102"/>
                  </a:lnTo>
                  <a:lnTo>
                    <a:pt x="630" y="119"/>
                  </a:lnTo>
                  <a:lnTo>
                    <a:pt x="620" y="200"/>
                  </a:lnTo>
                  <a:lnTo>
                    <a:pt x="598" y="205"/>
                  </a:lnTo>
                  <a:lnTo>
                    <a:pt x="552" y="220"/>
                  </a:lnTo>
                  <a:lnTo>
                    <a:pt x="507" y="238"/>
                  </a:lnTo>
                  <a:lnTo>
                    <a:pt x="464" y="261"/>
                  </a:lnTo>
                  <a:lnTo>
                    <a:pt x="445" y="272"/>
                  </a:lnTo>
                  <a:lnTo>
                    <a:pt x="380" y="220"/>
                  </a:lnTo>
                  <a:lnTo>
                    <a:pt x="368" y="212"/>
                  </a:lnTo>
                  <a:lnTo>
                    <a:pt x="355" y="206"/>
                  </a:lnTo>
                  <a:lnTo>
                    <a:pt x="341" y="205"/>
                  </a:lnTo>
                  <a:lnTo>
                    <a:pt x="325" y="207"/>
                  </a:lnTo>
                  <a:lnTo>
                    <a:pt x="311" y="213"/>
                  </a:lnTo>
                  <a:lnTo>
                    <a:pt x="298" y="223"/>
                  </a:lnTo>
                  <a:lnTo>
                    <a:pt x="229" y="290"/>
                  </a:lnTo>
                  <a:lnTo>
                    <a:pt x="217" y="305"/>
                  </a:lnTo>
                  <a:lnTo>
                    <a:pt x="212" y="322"/>
                  </a:lnTo>
                  <a:lnTo>
                    <a:pt x="211" y="340"/>
                  </a:lnTo>
                  <a:lnTo>
                    <a:pt x="214" y="357"/>
                  </a:lnTo>
                  <a:lnTo>
                    <a:pt x="223" y="373"/>
                  </a:lnTo>
                  <a:lnTo>
                    <a:pt x="277" y="443"/>
                  </a:lnTo>
                  <a:lnTo>
                    <a:pt x="266" y="462"/>
                  </a:lnTo>
                  <a:lnTo>
                    <a:pt x="245" y="502"/>
                  </a:lnTo>
                  <a:lnTo>
                    <a:pt x="228" y="545"/>
                  </a:lnTo>
                  <a:lnTo>
                    <a:pt x="215" y="586"/>
                  </a:lnTo>
                  <a:lnTo>
                    <a:pt x="210" y="608"/>
                  </a:lnTo>
                  <a:lnTo>
                    <a:pt x="121" y="617"/>
                  </a:lnTo>
                  <a:lnTo>
                    <a:pt x="103" y="622"/>
                  </a:lnTo>
                  <a:lnTo>
                    <a:pt x="88" y="631"/>
                  </a:lnTo>
                  <a:lnTo>
                    <a:pt x="76" y="644"/>
                  </a:lnTo>
                  <a:lnTo>
                    <a:pt x="68" y="661"/>
                  </a:lnTo>
                  <a:lnTo>
                    <a:pt x="65" y="679"/>
                  </a:lnTo>
                  <a:lnTo>
                    <a:pt x="64" y="775"/>
                  </a:lnTo>
                  <a:lnTo>
                    <a:pt x="67" y="793"/>
                  </a:lnTo>
                  <a:lnTo>
                    <a:pt x="74" y="809"/>
                  </a:lnTo>
                  <a:lnTo>
                    <a:pt x="86" y="823"/>
                  </a:lnTo>
                  <a:lnTo>
                    <a:pt x="101" y="833"/>
                  </a:lnTo>
                  <a:lnTo>
                    <a:pt x="118" y="837"/>
                  </a:lnTo>
                  <a:lnTo>
                    <a:pt x="210" y="849"/>
                  </a:lnTo>
                  <a:lnTo>
                    <a:pt x="216" y="870"/>
                  </a:lnTo>
                  <a:lnTo>
                    <a:pt x="228" y="909"/>
                  </a:lnTo>
                  <a:lnTo>
                    <a:pt x="244" y="949"/>
                  </a:lnTo>
                  <a:lnTo>
                    <a:pt x="263" y="986"/>
                  </a:lnTo>
                  <a:lnTo>
                    <a:pt x="274" y="1004"/>
                  </a:lnTo>
                  <a:lnTo>
                    <a:pt x="214" y="1078"/>
                  </a:lnTo>
                  <a:lnTo>
                    <a:pt x="205" y="1094"/>
                  </a:lnTo>
                  <a:lnTo>
                    <a:pt x="201" y="1111"/>
                  </a:lnTo>
                  <a:lnTo>
                    <a:pt x="202" y="1129"/>
                  </a:lnTo>
                  <a:lnTo>
                    <a:pt x="207" y="1145"/>
                  </a:lnTo>
                  <a:lnTo>
                    <a:pt x="218" y="1161"/>
                  </a:lnTo>
                  <a:lnTo>
                    <a:pt x="285" y="1229"/>
                  </a:lnTo>
                  <a:lnTo>
                    <a:pt x="298" y="1239"/>
                  </a:lnTo>
                  <a:lnTo>
                    <a:pt x="313" y="1246"/>
                  </a:lnTo>
                  <a:lnTo>
                    <a:pt x="329" y="1248"/>
                  </a:lnTo>
                  <a:lnTo>
                    <a:pt x="343" y="1247"/>
                  </a:lnTo>
                  <a:lnTo>
                    <a:pt x="356" y="1242"/>
                  </a:lnTo>
                  <a:lnTo>
                    <a:pt x="367" y="1235"/>
                  </a:lnTo>
                  <a:lnTo>
                    <a:pt x="441" y="1178"/>
                  </a:lnTo>
                  <a:lnTo>
                    <a:pt x="460" y="1189"/>
                  </a:lnTo>
                  <a:lnTo>
                    <a:pt x="499" y="1210"/>
                  </a:lnTo>
                  <a:lnTo>
                    <a:pt x="538" y="1227"/>
                  </a:lnTo>
                  <a:lnTo>
                    <a:pt x="578" y="1241"/>
                  </a:lnTo>
                  <a:lnTo>
                    <a:pt x="599" y="1247"/>
                  </a:lnTo>
                  <a:lnTo>
                    <a:pt x="609" y="1342"/>
                  </a:lnTo>
                  <a:lnTo>
                    <a:pt x="613" y="1359"/>
                  </a:lnTo>
                  <a:lnTo>
                    <a:pt x="623" y="1375"/>
                  </a:lnTo>
                  <a:lnTo>
                    <a:pt x="636" y="1387"/>
                  </a:lnTo>
                  <a:lnTo>
                    <a:pt x="651" y="1394"/>
                  </a:lnTo>
                  <a:lnTo>
                    <a:pt x="670" y="1397"/>
                  </a:lnTo>
                  <a:lnTo>
                    <a:pt x="767" y="1399"/>
                  </a:lnTo>
                  <a:lnTo>
                    <a:pt x="785" y="1396"/>
                  </a:lnTo>
                  <a:lnTo>
                    <a:pt x="800" y="1389"/>
                  </a:lnTo>
                  <a:lnTo>
                    <a:pt x="813" y="1377"/>
                  </a:lnTo>
                  <a:lnTo>
                    <a:pt x="823" y="1361"/>
                  </a:lnTo>
                  <a:lnTo>
                    <a:pt x="829" y="1344"/>
                  </a:lnTo>
                  <a:lnTo>
                    <a:pt x="839" y="1253"/>
                  </a:lnTo>
                  <a:lnTo>
                    <a:pt x="861" y="1248"/>
                  </a:lnTo>
                  <a:lnTo>
                    <a:pt x="905" y="1235"/>
                  </a:lnTo>
                  <a:lnTo>
                    <a:pt x="948" y="1218"/>
                  </a:lnTo>
                  <a:lnTo>
                    <a:pt x="990" y="1198"/>
                  </a:lnTo>
                  <a:lnTo>
                    <a:pt x="1008" y="1188"/>
                  </a:lnTo>
                  <a:lnTo>
                    <a:pt x="1078" y="1244"/>
                  </a:lnTo>
                  <a:lnTo>
                    <a:pt x="1090" y="1251"/>
                  </a:lnTo>
                  <a:lnTo>
                    <a:pt x="1104" y="1257"/>
                  </a:lnTo>
                  <a:lnTo>
                    <a:pt x="1118" y="1258"/>
                  </a:lnTo>
                  <a:lnTo>
                    <a:pt x="1133" y="1256"/>
                  </a:lnTo>
                  <a:lnTo>
                    <a:pt x="1148" y="1250"/>
                  </a:lnTo>
                  <a:lnTo>
                    <a:pt x="1160" y="1240"/>
                  </a:lnTo>
                  <a:lnTo>
                    <a:pt x="1229" y="1173"/>
                  </a:lnTo>
                  <a:lnTo>
                    <a:pt x="1240" y="1158"/>
                  </a:lnTo>
                  <a:lnTo>
                    <a:pt x="1246" y="1142"/>
                  </a:lnTo>
                  <a:lnTo>
                    <a:pt x="1247" y="1123"/>
                  </a:lnTo>
                  <a:lnTo>
                    <a:pt x="1244" y="1106"/>
                  </a:lnTo>
                  <a:lnTo>
                    <a:pt x="1234" y="1090"/>
                  </a:lnTo>
                  <a:lnTo>
                    <a:pt x="1181" y="1020"/>
                  </a:lnTo>
                  <a:lnTo>
                    <a:pt x="1192" y="1001"/>
                  </a:lnTo>
                  <a:lnTo>
                    <a:pt x="1214" y="961"/>
                  </a:lnTo>
                  <a:lnTo>
                    <a:pt x="1232" y="919"/>
                  </a:lnTo>
                  <a:lnTo>
                    <a:pt x="1246" y="876"/>
                  </a:lnTo>
                  <a:lnTo>
                    <a:pt x="1253" y="855"/>
                  </a:lnTo>
                  <a:lnTo>
                    <a:pt x="1337" y="846"/>
                  </a:lnTo>
                  <a:lnTo>
                    <a:pt x="1355" y="842"/>
                  </a:lnTo>
                  <a:lnTo>
                    <a:pt x="1370" y="832"/>
                  </a:lnTo>
                  <a:lnTo>
                    <a:pt x="1382" y="819"/>
                  </a:lnTo>
                  <a:lnTo>
                    <a:pt x="1390" y="804"/>
                  </a:lnTo>
                  <a:lnTo>
                    <a:pt x="1392" y="785"/>
                  </a:lnTo>
                  <a:lnTo>
                    <a:pt x="1393" y="689"/>
                  </a:lnTo>
                  <a:lnTo>
                    <a:pt x="1391" y="670"/>
                  </a:lnTo>
                  <a:lnTo>
                    <a:pt x="1383" y="654"/>
                  </a:lnTo>
                  <a:lnTo>
                    <a:pt x="1373" y="641"/>
                  </a:lnTo>
                  <a:lnTo>
                    <a:pt x="1357" y="631"/>
                  </a:lnTo>
                  <a:lnTo>
                    <a:pt x="1340" y="626"/>
                  </a:lnTo>
                  <a:lnTo>
                    <a:pt x="1256" y="615"/>
                  </a:lnTo>
                  <a:lnTo>
                    <a:pt x="1251" y="594"/>
                  </a:lnTo>
                  <a:lnTo>
                    <a:pt x="1239" y="550"/>
                  </a:lnTo>
                  <a:lnTo>
                    <a:pt x="1222" y="509"/>
                  </a:lnTo>
                  <a:lnTo>
                    <a:pt x="1202" y="468"/>
                  </a:lnTo>
                  <a:lnTo>
                    <a:pt x="1192" y="450"/>
                  </a:lnTo>
                  <a:lnTo>
                    <a:pt x="1244" y="385"/>
                  </a:lnTo>
                  <a:lnTo>
                    <a:pt x="1253" y="370"/>
                  </a:lnTo>
                  <a:lnTo>
                    <a:pt x="1257" y="353"/>
                  </a:lnTo>
                  <a:lnTo>
                    <a:pt x="1256" y="335"/>
                  </a:lnTo>
                  <a:lnTo>
                    <a:pt x="1251" y="318"/>
                  </a:lnTo>
                  <a:lnTo>
                    <a:pt x="1240" y="302"/>
                  </a:lnTo>
                  <a:lnTo>
                    <a:pt x="1173" y="234"/>
                  </a:lnTo>
                  <a:lnTo>
                    <a:pt x="1160" y="224"/>
                  </a:lnTo>
                  <a:lnTo>
                    <a:pt x="1145" y="217"/>
                  </a:lnTo>
                  <a:lnTo>
                    <a:pt x="1129" y="215"/>
                  </a:lnTo>
                  <a:lnTo>
                    <a:pt x="1115" y="216"/>
                  </a:lnTo>
                  <a:lnTo>
                    <a:pt x="1102" y="222"/>
                  </a:lnTo>
                  <a:lnTo>
                    <a:pt x="1091" y="228"/>
                  </a:lnTo>
                  <a:lnTo>
                    <a:pt x="1027" y="277"/>
                  </a:lnTo>
                  <a:lnTo>
                    <a:pt x="1008" y="265"/>
                  </a:lnTo>
                  <a:lnTo>
                    <a:pt x="967" y="244"/>
                  </a:lnTo>
                  <a:lnTo>
                    <a:pt x="923" y="224"/>
                  </a:lnTo>
                  <a:lnTo>
                    <a:pt x="879" y="210"/>
                  </a:lnTo>
                  <a:lnTo>
                    <a:pt x="858" y="203"/>
                  </a:lnTo>
                  <a:lnTo>
                    <a:pt x="849" y="122"/>
                  </a:lnTo>
                  <a:lnTo>
                    <a:pt x="845" y="104"/>
                  </a:lnTo>
                  <a:lnTo>
                    <a:pt x="835" y="88"/>
                  </a:lnTo>
                  <a:lnTo>
                    <a:pt x="822" y="76"/>
                  </a:lnTo>
                  <a:lnTo>
                    <a:pt x="807" y="69"/>
                  </a:lnTo>
                  <a:lnTo>
                    <a:pt x="788" y="66"/>
                  </a:lnTo>
                  <a:lnTo>
                    <a:pt x="692" y="64"/>
                  </a:lnTo>
                  <a:close/>
                  <a:moveTo>
                    <a:pt x="692" y="0"/>
                  </a:moveTo>
                  <a:lnTo>
                    <a:pt x="694" y="0"/>
                  </a:lnTo>
                  <a:lnTo>
                    <a:pt x="788" y="1"/>
                  </a:lnTo>
                  <a:lnTo>
                    <a:pt x="816" y="4"/>
                  </a:lnTo>
                  <a:lnTo>
                    <a:pt x="841" y="13"/>
                  </a:lnTo>
                  <a:lnTo>
                    <a:pt x="862" y="26"/>
                  </a:lnTo>
                  <a:lnTo>
                    <a:pt x="882" y="44"/>
                  </a:lnTo>
                  <a:lnTo>
                    <a:pt x="897" y="64"/>
                  </a:lnTo>
                  <a:lnTo>
                    <a:pt x="908" y="88"/>
                  </a:lnTo>
                  <a:lnTo>
                    <a:pt x="913" y="116"/>
                  </a:lnTo>
                  <a:lnTo>
                    <a:pt x="917" y="154"/>
                  </a:lnTo>
                  <a:lnTo>
                    <a:pt x="971" y="174"/>
                  </a:lnTo>
                  <a:lnTo>
                    <a:pt x="1022" y="200"/>
                  </a:lnTo>
                  <a:lnTo>
                    <a:pt x="1051" y="177"/>
                  </a:lnTo>
                  <a:lnTo>
                    <a:pt x="1074" y="163"/>
                  </a:lnTo>
                  <a:lnTo>
                    <a:pt x="1101" y="154"/>
                  </a:lnTo>
                  <a:lnTo>
                    <a:pt x="1129" y="151"/>
                  </a:lnTo>
                  <a:lnTo>
                    <a:pt x="1154" y="153"/>
                  </a:lnTo>
                  <a:lnTo>
                    <a:pt x="1178" y="161"/>
                  </a:lnTo>
                  <a:lnTo>
                    <a:pt x="1200" y="173"/>
                  </a:lnTo>
                  <a:lnTo>
                    <a:pt x="1219" y="189"/>
                  </a:lnTo>
                  <a:lnTo>
                    <a:pt x="1286" y="258"/>
                  </a:lnTo>
                  <a:lnTo>
                    <a:pt x="1303" y="278"/>
                  </a:lnTo>
                  <a:lnTo>
                    <a:pt x="1314" y="302"/>
                  </a:lnTo>
                  <a:lnTo>
                    <a:pt x="1320" y="328"/>
                  </a:lnTo>
                  <a:lnTo>
                    <a:pt x="1321" y="354"/>
                  </a:lnTo>
                  <a:lnTo>
                    <a:pt x="1318" y="379"/>
                  </a:lnTo>
                  <a:lnTo>
                    <a:pt x="1308" y="404"/>
                  </a:lnTo>
                  <a:lnTo>
                    <a:pt x="1294" y="427"/>
                  </a:lnTo>
                  <a:lnTo>
                    <a:pt x="1269" y="458"/>
                  </a:lnTo>
                  <a:lnTo>
                    <a:pt x="1290" y="506"/>
                  </a:lnTo>
                  <a:lnTo>
                    <a:pt x="1307" y="557"/>
                  </a:lnTo>
                  <a:lnTo>
                    <a:pt x="1348" y="562"/>
                  </a:lnTo>
                  <a:lnTo>
                    <a:pt x="1374" y="568"/>
                  </a:lnTo>
                  <a:lnTo>
                    <a:pt x="1398" y="580"/>
                  </a:lnTo>
                  <a:lnTo>
                    <a:pt x="1418" y="595"/>
                  </a:lnTo>
                  <a:lnTo>
                    <a:pt x="1436" y="615"/>
                  </a:lnTo>
                  <a:lnTo>
                    <a:pt x="1448" y="638"/>
                  </a:lnTo>
                  <a:lnTo>
                    <a:pt x="1455" y="663"/>
                  </a:lnTo>
                  <a:lnTo>
                    <a:pt x="1458" y="690"/>
                  </a:lnTo>
                  <a:lnTo>
                    <a:pt x="1457" y="785"/>
                  </a:lnTo>
                  <a:lnTo>
                    <a:pt x="1454" y="812"/>
                  </a:lnTo>
                  <a:lnTo>
                    <a:pt x="1445" y="837"/>
                  </a:lnTo>
                  <a:lnTo>
                    <a:pt x="1432" y="859"/>
                  </a:lnTo>
                  <a:lnTo>
                    <a:pt x="1415" y="879"/>
                  </a:lnTo>
                  <a:lnTo>
                    <a:pt x="1394" y="894"/>
                  </a:lnTo>
                  <a:lnTo>
                    <a:pt x="1370" y="905"/>
                  </a:lnTo>
                  <a:lnTo>
                    <a:pt x="1343" y="911"/>
                  </a:lnTo>
                  <a:lnTo>
                    <a:pt x="1302" y="915"/>
                  </a:lnTo>
                  <a:lnTo>
                    <a:pt x="1282" y="966"/>
                  </a:lnTo>
                  <a:lnTo>
                    <a:pt x="1258" y="1015"/>
                  </a:lnTo>
                  <a:lnTo>
                    <a:pt x="1286" y="1050"/>
                  </a:lnTo>
                  <a:lnTo>
                    <a:pt x="1300" y="1073"/>
                  </a:lnTo>
                  <a:lnTo>
                    <a:pt x="1308" y="1098"/>
                  </a:lnTo>
                  <a:lnTo>
                    <a:pt x="1313" y="1125"/>
                  </a:lnTo>
                  <a:lnTo>
                    <a:pt x="1311" y="1150"/>
                  </a:lnTo>
                  <a:lnTo>
                    <a:pt x="1303" y="1175"/>
                  </a:lnTo>
                  <a:lnTo>
                    <a:pt x="1291" y="1199"/>
                  </a:lnTo>
                  <a:lnTo>
                    <a:pt x="1275" y="1220"/>
                  </a:lnTo>
                  <a:lnTo>
                    <a:pt x="1206" y="1286"/>
                  </a:lnTo>
                  <a:lnTo>
                    <a:pt x="1187" y="1301"/>
                  </a:lnTo>
                  <a:lnTo>
                    <a:pt x="1165" y="1313"/>
                  </a:lnTo>
                  <a:lnTo>
                    <a:pt x="1142" y="1320"/>
                  </a:lnTo>
                  <a:lnTo>
                    <a:pt x="1118" y="1322"/>
                  </a:lnTo>
                  <a:lnTo>
                    <a:pt x="1096" y="1321"/>
                  </a:lnTo>
                  <a:lnTo>
                    <a:pt x="1076" y="1316"/>
                  </a:lnTo>
                  <a:lnTo>
                    <a:pt x="1056" y="1306"/>
                  </a:lnTo>
                  <a:lnTo>
                    <a:pt x="1037" y="1294"/>
                  </a:lnTo>
                  <a:lnTo>
                    <a:pt x="1002" y="1264"/>
                  </a:lnTo>
                  <a:lnTo>
                    <a:pt x="950" y="1287"/>
                  </a:lnTo>
                  <a:lnTo>
                    <a:pt x="898" y="1305"/>
                  </a:lnTo>
                  <a:lnTo>
                    <a:pt x="892" y="1353"/>
                  </a:lnTo>
                  <a:lnTo>
                    <a:pt x="886" y="1378"/>
                  </a:lnTo>
                  <a:lnTo>
                    <a:pt x="874" y="1402"/>
                  </a:lnTo>
                  <a:lnTo>
                    <a:pt x="859" y="1423"/>
                  </a:lnTo>
                  <a:lnTo>
                    <a:pt x="841" y="1439"/>
                  </a:lnTo>
                  <a:lnTo>
                    <a:pt x="818" y="1452"/>
                  </a:lnTo>
                  <a:lnTo>
                    <a:pt x="794" y="1461"/>
                  </a:lnTo>
                  <a:lnTo>
                    <a:pt x="767" y="1463"/>
                  </a:lnTo>
                  <a:lnTo>
                    <a:pt x="764" y="1463"/>
                  </a:lnTo>
                  <a:lnTo>
                    <a:pt x="670" y="1462"/>
                  </a:lnTo>
                  <a:lnTo>
                    <a:pt x="643" y="1459"/>
                  </a:lnTo>
                  <a:lnTo>
                    <a:pt x="618" y="1451"/>
                  </a:lnTo>
                  <a:lnTo>
                    <a:pt x="596" y="1437"/>
                  </a:lnTo>
                  <a:lnTo>
                    <a:pt x="576" y="1420"/>
                  </a:lnTo>
                  <a:lnTo>
                    <a:pt x="561" y="1399"/>
                  </a:lnTo>
                  <a:lnTo>
                    <a:pt x="550" y="1375"/>
                  </a:lnTo>
                  <a:lnTo>
                    <a:pt x="545" y="1348"/>
                  </a:lnTo>
                  <a:lnTo>
                    <a:pt x="539" y="1296"/>
                  </a:lnTo>
                  <a:lnTo>
                    <a:pt x="492" y="1278"/>
                  </a:lnTo>
                  <a:lnTo>
                    <a:pt x="447" y="1256"/>
                  </a:lnTo>
                  <a:lnTo>
                    <a:pt x="406" y="1286"/>
                  </a:lnTo>
                  <a:lnTo>
                    <a:pt x="384" y="1300"/>
                  </a:lnTo>
                  <a:lnTo>
                    <a:pt x="358" y="1310"/>
                  </a:lnTo>
                  <a:lnTo>
                    <a:pt x="329" y="1312"/>
                  </a:lnTo>
                  <a:lnTo>
                    <a:pt x="329" y="1312"/>
                  </a:lnTo>
                  <a:lnTo>
                    <a:pt x="304" y="1310"/>
                  </a:lnTo>
                  <a:lnTo>
                    <a:pt x="280" y="1303"/>
                  </a:lnTo>
                  <a:lnTo>
                    <a:pt x="259" y="1291"/>
                  </a:lnTo>
                  <a:lnTo>
                    <a:pt x="239" y="1274"/>
                  </a:lnTo>
                  <a:lnTo>
                    <a:pt x="172" y="1205"/>
                  </a:lnTo>
                  <a:lnTo>
                    <a:pt x="155" y="1185"/>
                  </a:lnTo>
                  <a:lnTo>
                    <a:pt x="144" y="1161"/>
                  </a:lnTo>
                  <a:lnTo>
                    <a:pt x="138" y="1135"/>
                  </a:lnTo>
                  <a:lnTo>
                    <a:pt x="137" y="1110"/>
                  </a:lnTo>
                  <a:lnTo>
                    <a:pt x="140" y="1084"/>
                  </a:lnTo>
                  <a:lnTo>
                    <a:pt x="150" y="1060"/>
                  </a:lnTo>
                  <a:lnTo>
                    <a:pt x="164" y="1037"/>
                  </a:lnTo>
                  <a:lnTo>
                    <a:pt x="197" y="998"/>
                  </a:lnTo>
                  <a:lnTo>
                    <a:pt x="176" y="953"/>
                  </a:lnTo>
                  <a:lnTo>
                    <a:pt x="160" y="908"/>
                  </a:lnTo>
                  <a:lnTo>
                    <a:pt x="111" y="902"/>
                  </a:lnTo>
                  <a:lnTo>
                    <a:pt x="84" y="895"/>
                  </a:lnTo>
                  <a:lnTo>
                    <a:pt x="61" y="884"/>
                  </a:lnTo>
                  <a:lnTo>
                    <a:pt x="40" y="868"/>
                  </a:lnTo>
                  <a:lnTo>
                    <a:pt x="22" y="848"/>
                  </a:lnTo>
                  <a:lnTo>
                    <a:pt x="11" y="827"/>
                  </a:lnTo>
                  <a:lnTo>
                    <a:pt x="3" y="801"/>
                  </a:lnTo>
                  <a:lnTo>
                    <a:pt x="0" y="774"/>
                  </a:lnTo>
                  <a:lnTo>
                    <a:pt x="1" y="678"/>
                  </a:lnTo>
                  <a:lnTo>
                    <a:pt x="4" y="651"/>
                  </a:lnTo>
                  <a:lnTo>
                    <a:pt x="13" y="627"/>
                  </a:lnTo>
                  <a:lnTo>
                    <a:pt x="26" y="604"/>
                  </a:lnTo>
                  <a:lnTo>
                    <a:pt x="43" y="585"/>
                  </a:lnTo>
                  <a:lnTo>
                    <a:pt x="64" y="570"/>
                  </a:lnTo>
                  <a:lnTo>
                    <a:pt x="88" y="559"/>
                  </a:lnTo>
                  <a:lnTo>
                    <a:pt x="115" y="554"/>
                  </a:lnTo>
                  <a:lnTo>
                    <a:pt x="160" y="548"/>
                  </a:lnTo>
                  <a:lnTo>
                    <a:pt x="177" y="498"/>
                  </a:lnTo>
                  <a:lnTo>
                    <a:pt x="200" y="449"/>
                  </a:lnTo>
                  <a:lnTo>
                    <a:pt x="173" y="413"/>
                  </a:lnTo>
                  <a:lnTo>
                    <a:pt x="158" y="390"/>
                  </a:lnTo>
                  <a:lnTo>
                    <a:pt x="150" y="365"/>
                  </a:lnTo>
                  <a:lnTo>
                    <a:pt x="145" y="340"/>
                  </a:lnTo>
                  <a:lnTo>
                    <a:pt x="148" y="313"/>
                  </a:lnTo>
                  <a:lnTo>
                    <a:pt x="154" y="288"/>
                  </a:lnTo>
                  <a:lnTo>
                    <a:pt x="167" y="265"/>
                  </a:lnTo>
                  <a:lnTo>
                    <a:pt x="183" y="245"/>
                  </a:lnTo>
                  <a:lnTo>
                    <a:pt x="253" y="177"/>
                  </a:lnTo>
                  <a:lnTo>
                    <a:pt x="272" y="162"/>
                  </a:lnTo>
                  <a:lnTo>
                    <a:pt x="293" y="150"/>
                  </a:lnTo>
                  <a:lnTo>
                    <a:pt x="316" y="143"/>
                  </a:lnTo>
                  <a:lnTo>
                    <a:pt x="341" y="141"/>
                  </a:lnTo>
                  <a:lnTo>
                    <a:pt x="362" y="142"/>
                  </a:lnTo>
                  <a:lnTo>
                    <a:pt x="384" y="147"/>
                  </a:lnTo>
                  <a:lnTo>
                    <a:pt x="403" y="157"/>
                  </a:lnTo>
                  <a:lnTo>
                    <a:pt x="421" y="169"/>
                  </a:lnTo>
                  <a:lnTo>
                    <a:pt x="451" y="194"/>
                  </a:lnTo>
                  <a:lnTo>
                    <a:pt x="505" y="169"/>
                  </a:lnTo>
                  <a:lnTo>
                    <a:pt x="561" y="150"/>
                  </a:lnTo>
                  <a:lnTo>
                    <a:pt x="566" y="111"/>
                  </a:lnTo>
                  <a:lnTo>
                    <a:pt x="572" y="85"/>
                  </a:lnTo>
                  <a:lnTo>
                    <a:pt x="583" y="61"/>
                  </a:lnTo>
                  <a:lnTo>
                    <a:pt x="599" y="42"/>
                  </a:lnTo>
                  <a:lnTo>
                    <a:pt x="618" y="24"/>
                  </a:lnTo>
                  <a:lnTo>
                    <a:pt x="640" y="11"/>
                  </a:lnTo>
                  <a:lnTo>
                    <a:pt x="664" y="3"/>
                  </a:lnTo>
                  <a:lnTo>
                    <a:pt x="6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1B9E076C-15D1-468B-90F5-F1A0EF6EF817}"/>
              </a:ext>
            </a:extLst>
          </p:cNvPr>
          <p:cNvGrpSpPr/>
          <p:nvPr/>
        </p:nvGrpSpPr>
        <p:grpSpPr>
          <a:xfrm>
            <a:off x="6792605" y="4266928"/>
            <a:ext cx="672797" cy="820675"/>
            <a:chOff x="4709342" y="3807234"/>
            <a:chExt cx="504598" cy="615506"/>
          </a:xfrm>
        </p:grpSpPr>
        <p:sp>
          <p:nvSpPr>
            <p:cNvPr id="41" name="Text Placeholder 3">
              <a:extLst>
                <a:ext uri="{FF2B5EF4-FFF2-40B4-BE49-F238E27FC236}">
                  <a16:creationId xmlns:a16="http://schemas.microsoft.com/office/drawing/2014/main" xmlns="" id="{1E9253F5-84BD-41BB-AF5E-114F519FA0EE}"/>
                </a:ext>
              </a:extLst>
            </p:cNvPr>
            <p:cNvSpPr txBox="1">
              <a:spLocks/>
            </p:cNvSpPr>
            <p:nvPr/>
          </p:nvSpPr>
          <p:spPr>
            <a:xfrm>
              <a:off x="4758638" y="3807234"/>
              <a:ext cx="455302" cy="61550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algn="l" rtl="0" fontAlgn="base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defRPr lang="en-US" sz="200" b="0" kern="1200" smtClean="0">
                  <a:solidFill>
                    <a:schemeClr val="bg1">
                      <a:lumMod val="7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389626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2pPr>
              <a:lvl3pPr marL="779252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3pPr>
              <a:lvl4pPr marL="1168878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4pPr>
              <a:lvl5pPr marL="1558503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5pPr>
              <a:lvl6pPr marL="1948129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6pPr>
              <a:lvl7pPr marL="2337755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7pPr>
              <a:lvl8pPr marL="2727381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8pPr>
              <a:lvl9pPr marL="3117007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9pPr>
            </a:lstStyle>
            <a:p>
              <a:r>
                <a:rPr lang="en-GB" sz="5333" dirty="0">
                  <a:solidFill>
                    <a:schemeClr val="accent5"/>
                  </a:solidFill>
                  <a:latin typeface="Arial Unicode MS"/>
                </a:rPr>
                <a:t>✓</a:t>
              </a:r>
              <a:r>
                <a:rPr lang="en-GB" sz="5333" dirty="0">
                  <a:solidFill>
                    <a:schemeClr val="accent5"/>
                  </a:solidFill>
                  <a:latin typeface="Arial Narrow" panose="020B0606020202030204" pitchFamily="34" charset="0"/>
                </a:rPr>
                <a:t> 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DB1E7956-1780-4564-B20A-482CD8861815}"/>
                </a:ext>
              </a:extLst>
            </p:cNvPr>
            <p:cNvSpPr/>
            <p:nvPr/>
          </p:nvSpPr>
          <p:spPr>
            <a:xfrm>
              <a:off x="4709342" y="4031079"/>
              <a:ext cx="360000" cy="360000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6000" tIns="96000" rIns="96000" bIns="96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</a:pPr>
              <a:endParaRPr lang="en-GB" sz="2000" b="0" dirty="0"/>
            </a:p>
          </p:txBody>
        </p:sp>
      </p:grpSp>
      <p:sp>
        <p:nvSpPr>
          <p:cNvPr id="45" name="RbNavigator">
            <a:extLst>
              <a:ext uri="{FF2B5EF4-FFF2-40B4-BE49-F238E27FC236}">
                <a16:creationId xmlns:a16="http://schemas.microsoft.com/office/drawing/2014/main" xmlns="" id="{3AD10A08-3B91-45A6-9F02-C97E66631249}"/>
              </a:ext>
            </a:extLst>
          </p:cNvPr>
          <p:cNvSpPr txBox="1"/>
          <p:nvPr/>
        </p:nvSpPr>
        <p:spPr>
          <a:xfrm>
            <a:off x="2820927" y="1"/>
            <a:ext cx="288000" cy="288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+mn-lt"/>
                <a:sym typeface="+mn-lt"/>
              </a:rPr>
              <a:t>1</a:t>
            </a:r>
          </a:p>
        </p:txBody>
      </p:sp>
      <p:sp>
        <p:nvSpPr>
          <p:cNvPr id="46" name="RbSticker">
            <a:extLst>
              <a:ext uri="{FF2B5EF4-FFF2-40B4-BE49-F238E27FC236}">
                <a16:creationId xmlns:a16="http://schemas.microsoft.com/office/drawing/2014/main" xmlns="" id="{912637B8-F480-445A-A0A0-4F986489340C}"/>
              </a:ext>
            </a:extLst>
          </p:cNvPr>
          <p:cNvSpPr txBox="1"/>
          <p:nvPr/>
        </p:nvSpPr>
        <p:spPr>
          <a:xfrm>
            <a:off x="3188804" y="53111"/>
            <a:ext cx="1916422" cy="23544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Visión</a:t>
            </a:r>
            <a:r>
              <a:rPr lang="en-GB" sz="17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&amp; </a:t>
            </a: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Ambición</a:t>
            </a:r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43" name="rbStamp_Instructions">
            <a:extLst>
              <a:ext uri="{FF2B5EF4-FFF2-40B4-BE49-F238E27FC236}">
                <a16:creationId xmlns:a16="http://schemas.microsoft.com/office/drawing/2014/main" xmlns="" id="{86411020-66D6-4C9D-994A-C81E2C41C9A9}"/>
              </a:ext>
            </a:extLst>
          </p:cNvPr>
          <p:cNvSpPr txBox="1">
            <a:spLocks/>
          </p:cNvSpPr>
          <p:nvPr/>
        </p:nvSpPr>
        <p:spPr>
          <a:xfrm>
            <a:off x="7097979" y="2241122"/>
            <a:ext cx="3965796" cy="170328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35812" rIns="0" bIns="0" rtlCol="0" anchor="t">
            <a:spAutoFit/>
          </a:bodyPr>
          <a:lstStyle/>
          <a:p>
            <a:pPr marL="285750" indent="-285750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Taller moderado por el líder del equipo en colaboración con el equipo de liderazgo local</a:t>
            </a:r>
          </a:p>
          <a:p>
            <a:pPr marL="285750" indent="-285750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b="0" dirty="0">
                <a:solidFill>
                  <a:schemeClr val="dk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Debe movilizar a un grupo de 10/15 partes interesadas clave contactadas como parte de la visita de evaluación, o que forman parte del equipo de liderazgo local. </a:t>
            </a:r>
            <a:endParaRPr lang="en-US" sz="1500" b="0" dirty="0">
              <a:solidFill>
                <a:schemeClr val="dk1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311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034F609A-A2EE-460B-B298-ACC00A4CE3EF}"/>
              </a:ext>
            </a:extLst>
          </p:cNvPr>
          <p:cNvGrpSpPr/>
          <p:nvPr/>
        </p:nvGrpSpPr>
        <p:grpSpPr>
          <a:xfrm>
            <a:off x="8224820" y="1213978"/>
            <a:ext cx="3801930" cy="5185610"/>
            <a:chOff x="6414930" y="1620880"/>
            <a:chExt cx="2301753" cy="3230519"/>
          </a:xfrm>
        </p:grpSpPr>
        <p:sp>
          <p:nvSpPr>
            <p:cNvPr id="4" name="rbStamp_Instructions">
              <a:extLst>
                <a:ext uri="{FF2B5EF4-FFF2-40B4-BE49-F238E27FC236}">
                  <a16:creationId xmlns:a16="http://schemas.microsoft.com/office/drawing/2014/main" xmlns="" id="{002A3266-DD01-40BD-B237-065903ACF04C}"/>
                </a:ext>
              </a:extLst>
            </p:cNvPr>
            <p:cNvSpPr txBox="1"/>
            <p:nvPr/>
          </p:nvSpPr>
          <p:spPr>
            <a:xfrm>
              <a:off x="6414931" y="1620880"/>
              <a:ext cx="2301752" cy="323051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txBody>
            <a:bodyPr vert="horz" wrap="square" lIns="61358" tIns="61358" rIns="61358" bIns="92038" rtlCol="0" anchor="t">
              <a:noAutofit/>
            </a:bodyPr>
            <a:lstStyle/>
            <a:p>
              <a:pPr>
                <a:lnSpc>
                  <a:spcPct val="90000"/>
                </a:lnSpc>
                <a:buClr>
                  <a:schemeClr val="tx1"/>
                </a:buClr>
                <a:buSzPct val="100000"/>
              </a:pPr>
              <a:endParaRPr lang="en-GB" sz="1200" dirty="0">
                <a:solidFill>
                  <a:schemeClr val="accent5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5" name="Freeform 5">
              <a:extLst>
                <a:ext uri="{FF2B5EF4-FFF2-40B4-BE49-F238E27FC236}">
                  <a16:creationId xmlns:a16="http://schemas.microsoft.com/office/drawing/2014/main" xmlns="" id="{11826D41-F847-4FA1-A638-D59DB8F79A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414930" y="4466741"/>
              <a:ext cx="2301753" cy="384658"/>
            </a:xfrm>
            <a:custGeom>
              <a:avLst/>
              <a:gdLst>
                <a:gd name="T0" fmla="*/ 3107 w 3187"/>
                <a:gd name="T1" fmla="*/ 302 h 527"/>
                <a:gd name="T2" fmla="*/ 3093 w 3187"/>
                <a:gd name="T3" fmla="*/ 315 h 527"/>
                <a:gd name="T4" fmla="*/ 3067 w 3187"/>
                <a:gd name="T5" fmla="*/ 304 h 527"/>
                <a:gd name="T6" fmla="*/ 2969 w 3187"/>
                <a:gd name="T7" fmla="*/ 299 h 527"/>
                <a:gd name="T8" fmla="*/ 2922 w 3187"/>
                <a:gd name="T9" fmla="*/ 284 h 527"/>
                <a:gd name="T10" fmla="*/ 2886 w 3187"/>
                <a:gd name="T11" fmla="*/ 134 h 527"/>
                <a:gd name="T12" fmla="*/ 2876 w 3187"/>
                <a:gd name="T13" fmla="*/ 186 h 527"/>
                <a:gd name="T14" fmla="*/ 2804 w 3187"/>
                <a:gd name="T15" fmla="*/ 292 h 527"/>
                <a:gd name="T16" fmla="*/ 2674 w 3187"/>
                <a:gd name="T17" fmla="*/ 290 h 527"/>
                <a:gd name="T18" fmla="*/ 2638 w 3187"/>
                <a:gd name="T19" fmla="*/ 290 h 527"/>
                <a:gd name="T20" fmla="*/ 2572 w 3187"/>
                <a:gd name="T21" fmla="*/ 362 h 527"/>
                <a:gd name="T22" fmla="*/ 2529 w 3187"/>
                <a:gd name="T23" fmla="*/ 380 h 527"/>
                <a:gd name="T24" fmla="*/ 2481 w 3187"/>
                <a:gd name="T25" fmla="*/ 393 h 527"/>
                <a:gd name="T26" fmla="*/ 2407 w 3187"/>
                <a:gd name="T27" fmla="*/ 364 h 527"/>
                <a:gd name="T28" fmla="*/ 2325 w 3187"/>
                <a:gd name="T29" fmla="*/ 387 h 527"/>
                <a:gd name="T30" fmla="*/ 2265 w 3187"/>
                <a:gd name="T31" fmla="*/ 330 h 527"/>
                <a:gd name="T32" fmla="*/ 2158 w 3187"/>
                <a:gd name="T33" fmla="*/ 344 h 527"/>
                <a:gd name="T34" fmla="*/ 2123 w 3187"/>
                <a:gd name="T35" fmla="*/ 273 h 527"/>
                <a:gd name="T36" fmla="*/ 2115 w 3187"/>
                <a:gd name="T37" fmla="*/ 208 h 527"/>
                <a:gd name="T38" fmla="*/ 2102 w 3187"/>
                <a:gd name="T39" fmla="*/ 275 h 527"/>
                <a:gd name="T40" fmla="*/ 2068 w 3187"/>
                <a:gd name="T41" fmla="*/ 332 h 527"/>
                <a:gd name="T42" fmla="*/ 2044 w 3187"/>
                <a:gd name="T43" fmla="*/ 276 h 527"/>
                <a:gd name="T44" fmla="*/ 2031 w 3187"/>
                <a:gd name="T45" fmla="*/ 211 h 527"/>
                <a:gd name="T46" fmla="*/ 2021 w 3187"/>
                <a:gd name="T47" fmla="*/ 279 h 527"/>
                <a:gd name="T48" fmla="*/ 1994 w 3187"/>
                <a:gd name="T49" fmla="*/ 331 h 527"/>
                <a:gd name="T50" fmla="*/ 1902 w 3187"/>
                <a:gd name="T51" fmla="*/ 357 h 527"/>
                <a:gd name="T52" fmla="*/ 1856 w 3187"/>
                <a:gd name="T53" fmla="*/ 201 h 527"/>
                <a:gd name="T54" fmla="*/ 1838 w 3187"/>
                <a:gd name="T55" fmla="*/ 112 h 527"/>
                <a:gd name="T56" fmla="*/ 1815 w 3187"/>
                <a:gd name="T57" fmla="*/ 161 h 527"/>
                <a:gd name="T58" fmla="*/ 1709 w 3187"/>
                <a:gd name="T59" fmla="*/ 281 h 527"/>
                <a:gd name="T60" fmla="*/ 1535 w 3187"/>
                <a:gd name="T61" fmla="*/ 360 h 527"/>
                <a:gd name="T62" fmla="*/ 1411 w 3187"/>
                <a:gd name="T63" fmla="*/ 303 h 527"/>
                <a:gd name="T64" fmla="*/ 1319 w 3187"/>
                <a:gd name="T65" fmla="*/ 347 h 527"/>
                <a:gd name="T66" fmla="*/ 1280 w 3187"/>
                <a:gd name="T67" fmla="*/ 331 h 527"/>
                <a:gd name="T68" fmla="*/ 1143 w 3187"/>
                <a:gd name="T69" fmla="*/ 318 h 527"/>
                <a:gd name="T70" fmla="*/ 972 w 3187"/>
                <a:gd name="T71" fmla="*/ 294 h 527"/>
                <a:gd name="T72" fmla="*/ 858 w 3187"/>
                <a:gd name="T73" fmla="*/ 396 h 527"/>
                <a:gd name="T74" fmla="*/ 863 w 3187"/>
                <a:gd name="T75" fmla="*/ 365 h 527"/>
                <a:gd name="T76" fmla="*/ 845 w 3187"/>
                <a:gd name="T77" fmla="*/ 335 h 527"/>
                <a:gd name="T78" fmla="*/ 859 w 3187"/>
                <a:gd name="T79" fmla="*/ 265 h 527"/>
                <a:gd name="T80" fmla="*/ 837 w 3187"/>
                <a:gd name="T81" fmla="*/ 226 h 527"/>
                <a:gd name="T82" fmla="*/ 837 w 3187"/>
                <a:gd name="T83" fmla="*/ 151 h 527"/>
                <a:gd name="T84" fmla="*/ 810 w 3187"/>
                <a:gd name="T85" fmla="*/ 75 h 527"/>
                <a:gd name="T86" fmla="*/ 809 w 3187"/>
                <a:gd name="T87" fmla="*/ 22 h 527"/>
                <a:gd name="T88" fmla="*/ 806 w 3187"/>
                <a:gd name="T89" fmla="*/ 23 h 527"/>
                <a:gd name="T90" fmla="*/ 806 w 3187"/>
                <a:gd name="T91" fmla="*/ 77 h 527"/>
                <a:gd name="T92" fmla="*/ 773 w 3187"/>
                <a:gd name="T93" fmla="*/ 161 h 527"/>
                <a:gd name="T94" fmla="*/ 776 w 3187"/>
                <a:gd name="T95" fmla="*/ 234 h 527"/>
                <a:gd name="T96" fmla="*/ 765 w 3187"/>
                <a:gd name="T97" fmla="*/ 268 h 527"/>
                <a:gd name="T98" fmla="*/ 768 w 3187"/>
                <a:gd name="T99" fmla="*/ 338 h 527"/>
                <a:gd name="T100" fmla="*/ 756 w 3187"/>
                <a:gd name="T101" fmla="*/ 368 h 527"/>
                <a:gd name="T102" fmla="*/ 673 w 3187"/>
                <a:gd name="T103" fmla="*/ 360 h 527"/>
                <a:gd name="T104" fmla="*/ 467 w 3187"/>
                <a:gd name="T105" fmla="*/ 316 h 527"/>
                <a:gd name="T106" fmla="*/ 338 w 3187"/>
                <a:gd name="T107" fmla="*/ 282 h 527"/>
                <a:gd name="T108" fmla="*/ 160 w 3187"/>
                <a:gd name="T109" fmla="*/ 380 h 527"/>
                <a:gd name="T110" fmla="*/ 53 w 3187"/>
                <a:gd name="T111" fmla="*/ 417 h 527"/>
                <a:gd name="T112" fmla="*/ 35 w 3187"/>
                <a:gd name="T113" fmla="*/ 463 h 527"/>
                <a:gd name="T114" fmla="*/ 10 w 3187"/>
                <a:gd name="T115" fmla="*/ 464 h 527"/>
                <a:gd name="T116" fmla="*/ 920 w 3187"/>
                <a:gd name="T117" fmla="*/ 527 h 527"/>
                <a:gd name="T118" fmla="*/ 755 w 3187"/>
                <a:gd name="T119" fmla="*/ 388 h 527"/>
                <a:gd name="T120" fmla="*/ 751 w 3187"/>
                <a:gd name="T121" fmla="*/ 440 h 527"/>
                <a:gd name="T122" fmla="*/ 807 w 3187"/>
                <a:gd name="T123" fmla="*/ 327 h 527"/>
                <a:gd name="T124" fmla="*/ 819 w 3187"/>
                <a:gd name="T125" fmla="*/ 27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87" h="527">
                  <a:moveTo>
                    <a:pt x="3156" y="414"/>
                  </a:moveTo>
                  <a:cubicBezTo>
                    <a:pt x="3156" y="385"/>
                    <a:pt x="3156" y="385"/>
                    <a:pt x="3156" y="385"/>
                  </a:cubicBezTo>
                  <a:cubicBezTo>
                    <a:pt x="3153" y="385"/>
                    <a:pt x="3153" y="385"/>
                    <a:pt x="3153" y="385"/>
                  </a:cubicBezTo>
                  <a:cubicBezTo>
                    <a:pt x="3153" y="370"/>
                    <a:pt x="3153" y="370"/>
                    <a:pt x="3153" y="370"/>
                  </a:cubicBezTo>
                  <a:cubicBezTo>
                    <a:pt x="3155" y="370"/>
                    <a:pt x="3155" y="370"/>
                    <a:pt x="3155" y="370"/>
                  </a:cubicBezTo>
                  <a:cubicBezTo>
                    <a:pt x="3155" y="368"/>
                    <a:pt x="3155" y="368"/>
                    <a:pt x="3155" y="368"/>
                  </a:cubicBezTo>
                  <a:cubicBezTo>
                    <a:pt x="3161" y="368"/>
                    <a:pt x="3161" y="368"/>
                    <a:pt x="3161" y="368"/>
                  </a:cubicBezTo>
                  <a:cubicBezTo>
                    <a:pt x="3161" y="364"/>
                    <a:pt x="3161" y="364"/>
                    <a:pt x="3161" y="364"/>
                  </a:cubicBezTo>
                  <a:cubicBezTo>
                    <a:pt x="3150" y="364"/>
                    <a:pt x="3150" y="364"/>
                    <a:pt x="3150" y="364"/>
                  </a:cubicBezTo>
                  <a:cubicBezTo>
                    <a:pt x="3108" y="319"/>
                    <a:pt x="3108" y="319"/>
                    <a:pt x="3108" y="319"/>
                  </a:cubicBezTo>
                  <a:cubicBezTo>
                    <a:pt x="3108" y="312"/>
                    <a:pt x="3108" y="312"/>
                    <a:pt x="3108" y="312"/>
                  </a:cubicBezTo>
                  <a:cubicBezTo>
                    <a:pt x="3107" y="311"/>
                    <a:pt x="3107" y="311"/>
                    <a:pt x="3107" y="311"/>
                  </a:cubicBezTo>
                  <a:cubicBezTo>
                    <a:pt x="3107" y="305"/>
                    <a:pt x="3107" y="305"/>
                    <a:pt x="3107" y="305"/>
                  </a:cubicBezTo>
                  <a:cubicBezTo>
                    <a:pt x="3110" y="302"/>
                    <a:pt x="3110" y="302"/>
                    <a:pt x="3110" y="302"/>
                  </a:cubicBezTo>
                  <a:cubicBezTo>
                    <a:pt x="3107" y="302"/>
                    <a:pt x="3107" y="302"/>
                    <a:pt x="3107" y="302"/>
                  </a:cubicBezTo>
                  <a:cubicBezTo>
                    <a:pt x="3103" y="296"/>
                    <a:pt x="3103" y="296"/>
                    <a:pt x="3103" y="296"/>
                  </a:cubicBezTo>
                  <a:cubicBezTo>
                    <a:pt x="3101" y="302"/>
                    <a:pt x="3101" y="302"/>
                    <a:pt x="3101" y="302"/>
                  </a:cubicBezTo>
                  <a:cubicBezTo>
                    <a:pt x="3098" y="302"/>
                    <a:pt x="3098" y="302"/>
                    <a:pt x="3098" y="302"/>
                  </a:cubicBezTo>
                  <a:cubicBezTo>
                    <a:pt x="3102" y="306"/>
                    <a:pt x="3102" y="306"/>
                    <a:pt x="3102" y="306"/>
                  </a:cubicBezTo>
                  <a:cubicBezTo>
                    <a:pt x="3100" y="306"/>
                    <a:pt x="3100" y="306"/>
                    <a:pt x="3100" y="306"/>
                  </a:cubicBezTo>
                  <a:cubicBezTo>
                    <a:pt x="3102" y="309"/>
                    <a:pt x="3102" y="309"/>
                    <a:pt x="3102" y="309"/>
                  </a:cubicBezTo>
                  <a:cubicBezTo>
                    <a:pt x="3102" y="313"/>
                    <a:pt x="3102" y="313"/>
                    <a:pt x="3102" y="313"/>
                  </a:cubicBezTo>
                  <a:cubicBezTo>
                    <a:pt x="3101" y="313"/>
                    <a:pt x="3101" y="313"/>
                    <a:pt x="3101" y="313"/>
                  </a:cubicBezTo>
                  <a:cubicBezTo>
                    <a:pt x="3101" y="319"/>
                    <a:pt x="3101" y="319"/>
                    <a:pt x="3101" y="319"/>
                  </a:cubicBezTo>
                  <a:cubicBezTo>
                    <a:pt x="3095" y="326"/>
                    <a:pt x="3095" y="326"/>
                    <a:pt x="3095" y="326"/>
                  </a:cubicBezTo>
                  <a:cubicBezTo>
                    <a:pt x="3095" y="317"/>
                    <a:pt x="3095" y="317"/>
                    <a:pt x="3095" y="317"/>
                  </a:cubicBezTo>
                  <a:cubicBezTo>
                    <a:pt x="3097" y="317"/>
                    <a:pt x="3097" y="317"/>
                    <a:pt x="3097" y="317"/>
                  </a:cubicBezTo>
                  <a:cubicBezTo>
                    <a:pt x="3097" y="316"/>
                    <a:pt x="3097" y="316"/>
                    <a:pt x="3097" y="316"/>
                  </a:cubicBezTo>
                  <a:cubicBezTo>
                    <a:pt x="3093" y="316"/>
                    <a:pt x="3093" y="316"/>
                    <a:pt x="3093" y="316"/>
                  </a:cubicBezTo>
                  <a:cubicBezTo>
                    <a:pt x="3093" y="315"/>
                    <a:pt x="3093" y="315"/>
                    <a:pt x="3093" y="315"/>
                  </a:cubicBezTo>
                  <a:cubicBezTo>
                    <a:pt x="3089" y="315"/>
                    <a:pt x="3089" y="315"/>
                    <a:pt x="3089" y="315"/>
                  </a:cubicBezTo>
                  <a:cubicBezTo>
                    <a:pt x="3089" y="316"/>
                    <a:pt x="3089" y="316"/>
                    <a:pt x="3089" y="316"/>
                  </a:cubicBezTo>
                  <a:cubicBezTo>
                    <a:pt x="3085" y="316"/>
                    <a:pt x="3085" y="316"/>
                    <a:pt x="3085" y="316"/>
                  </a:cubicBezTo>
                  <a:cubicBezTo>
                    <a:pt x="3085" y="317"/>
                    <a:pt x="3085" y="317"/>
                    <a:pt x="3085" y="317"/>
                  </a:cubicBezTo>
                  <a:cubicBezTo>
                    <a:pt x="3087" y="317"/>
                    <a:pt x="3087" y="317"/>
                    <a:pt x="3087" y="317"/>
                  </a:cubicBezTo>
                  <a:cubicBezTo>
                    <a:pt x="3087" y="331"/>
                    <a:pt x="3087" y="331"/>
                    <a:pt x="3087" y="331"/>
                  </a:cubicBezTo>
                  <a:cubicBezTo>
                    <a:pt x="3080" y="331"/>
                    <a:pt x="3080" y="331"/>
                    <a:pt x="3080" y="331"/>
                  </a:cubicBezTo>
                  <a:cubicBezTo>
                    <a:pt x="3080" y="326"/>
                    <a:pt x="3080" y="326"/>
                    <a:pt x="3080" y="326"/>
                  </a:cubicBezTo>
                  <a:cubicBezTo>
                    <a:pt x="3075" y="321"/>
                    <a:pt x="3075" y="321"/>
                    <a:pt x="3075" y="321"/>
                  </a:cubicBezTo>
                  <a:cubicBezTo>
                    <a:pt x="3075" y="307"/>
                    <a:pt x="3075" y="307"/>
                    <a:pt x="3075" y="307"/>
                  </a:cubicBezTo>
                  <a:cubicBezTo>
                    <a:pt x="3078" y="307"/>
                    <a:pt x="3078" y="307"/>
                    <a:pt x="3078" y="307"/>
                  </a:cubicBezTo>
                  <a:cubicBezTo>
                    <a:pt x="3078" y="306"/>
                    <a:pt x="3078" y="306"/>
                    <a:pt x="3078" y="306"/>
                  </a:cubicBezTo>
                  <a:cubicBezTo>
                    <a:pt x="3073" y="306"/>
                    <a:pt x="3073" y="306"/>
                    <a:pt x="3073" y="306"/>
                  </a:cubicBezTo>
                  <a:cubicBezTo>
                    <a:pt x="3073" y="304"/>
                    <a:pt x="3073" y="304"/>
                    <a:pt x="3073" y="304"/>
                  </a:cubicBezTo>
                  <a:cubicBezTo>
                    <a:pt x="3067" y="304"/>
                    <a:pt x="3067" y="304"/>
                    <a:pt x="3067" y="304"/>
                  </a:cubicBezTo>
                  <a:cubicBezTo>
                    <a:pt x="3067" y="306"/>
                    <a:pt x="3067" y="306"/>
                    <a:pt x="3067" y="306"/>
                  </a:cubicBezTo>
                  <a:cubicBezTo>
                    <a:pt x="3063" y="306"/>
                    <a:pt x="3063" y="306"/>
                    <a:pt x="3063" y="306"/>
                  </a:cubicBezTo>
                  <a:cubicBezTo>
                    <a:pt x="3063" y="307"/>
                    <a:pt x="3063" y="307"/>
                    <a:pt x="3063" y="307"/>
                  </a:cubicBezTo>
                  <a:cubicBezTo>
                    <a:pt x="3066" y="307"/>
                    <a:pt x="3066" y="307"/>
                    <a:pt x="3066" y="307"/>
                  </a:cubicBezTo>
                  <a:cubicBezTo>
                    <a:pt x="3066" y="326"/>
                    <a:pt x="3066" y="326"/>
                    <a:pt x="3066" y="326"/>
                  </a:cubicBezTo>
                  <a:cubicBezTo>
                    <a:pt x="3008" y="326"/>
                    <a:pt x="3008" y="326"/>
                    <a:pt x="3008" y="326"/>
                  </a:cubicBezTo>
                  <a:cubicBezTo>
                    <a:pt x="3008" y="302"/>
                    <a:pt x="3008" y="302"/>
                    <a:pt x="3008" y="302"/>
                  </a:cubicBezTo>
                  <a:cubicBezTo>
                    <a:pt x="3008" y="302"/>
                    <a:pt x="3008" y="302"/>
                    <a:pt x="3008" y="302"/>
                  </a:cubicBezTo>
                  <a:cubicBezTo>
                    <a:pt x="3008" y="324"/>
                    <a:pt x="3008" y="324"/>
                    <a:pt x="3008" y="324"/>
                  </a:cubicBezTo>
                  <a:cubicBezTo>
                    <a:pt x="2967" y="324"/>
                    <a:pt x="2967" y="324"/>
                    <a:pt x="2967" y="324"/>
                  </a:cubicBezTo>
                  <a:cubicBezTo>
                    <a:pt x="2967" y="315"/>
                    <a:pt x="2967" y="315"/>
                    <a:pt x="2967" y="315"/>
                  </a:cubicBezTo>
                  <a:cubicBezTo>
                    <a:pt x="2968" y="315"/>
                    <a:pt x="2968" y="315"/>
                    <a:pt x="2968" y="315"/>
                  </a:cubicBezTo>
                  <a:cubicBezTo>
                    <a:pt x="2968" y="301"/>
                    <a:pt x="2968" y="301"/>
                    <a:pt x="2968" y="301"/>
                  </a:cubicBezTo>
                  <a:cubicBezTo>
                    <a:pt x="2969" y="301"/>
                    <a:pt x="2969" y="301"/>
                    <a:pt x="2969" y="301"/>
                  </a:cubicBezTo>
                  <a:cubicBezTo>
                    <a:pt x="2969" y="299"/>
                    <a:pt x="2969" y="299"/>
                    <a:pt x="2969" y="299"/>
                  </a:cubicBezTo>
                  <a:cubicBezTo>
                    <a:pt x="2965" y="299"/>
                    <a:pt x="2965" y="299"/>
                    <a:pt x="2965" y="299"/>
                  </a:cubicBezTo>
                  <a:cubicBezTo>
                    <a:pt x="2964" y="297"/>
                    <a:pt x="2964" y="297"/>
                    <a:pt x="2964" y="297"/>
                  </a:cubicBezTo>
                  <a:cubicBezTo>
                    <a:pt x="2959" y="297"/>
                    <a:pt x="2959" y="297"/>
                    <a:pt x="2959" y="297"/>
                  </a:cubicBezTo>
                  <a:cubicBezTo>
                    <a:pt x="2959" y="301"/>
                    <a:pt x="2959" y="301"/>
                    <a:pt x="2959" y="301"/>
                  </a:cubicBezTo>
                  <a:cubicBezTo>
                    <a:pt x="2956" y="301"/>
                    <a:pt x="2956" y="301"/>
                    <a:pt x="2956" y="301"/>
                  </a:cubicBezTo>
                  <a:cubicBezTo>
                    <a:pt x="2956" y="315"/>
                    <a:pt x="2956" y="315"/>
                    <a:pt x="2956" y="315"/>
                  </a:cubicBezTo>
                  <a:cubicBezTo>
                    <a:pt x="2957" y="315"/>
                    <a:pt x="2957" y="315"/>
                    <a:pt x="2957" y="315"/>
                  </a:cubicBezTo>
                  <a:cubicBezTo>
                    <a:pt x="2957" y="323"/>
                    <a:pt x="2957" y="323"/>
                    <a:pt x="2957" y="323"/>
                  </a:cubicBezTo>
                  <a:cubicBezTo>
                    <a:pt x="2927" y="323"/>
                    <a:pt x="2927" y="323"/>
                    <a:pt x="2927" y="323"/>
                  </a:cubicBezTo>
                  <a:cubicBezTo>
                    <a:pt x="2927" y="296"/>
                    <a:pt x="2927" y="296"/>
                    <a:pt x="2927" y="296"/>
                  </a:cubicBezTo>
                  <a:cubicBezTo>
                    <a:pt x="2928" y="296"/>
                    <a:pt x="2928" y="296"/>
                    <a:pt x="2928" y="296"/>
                  </a:cubicBezTo>
                  <a:cubicBezTo>
                    <a:pt x="2928" y="294"/>
                    <a:pt x="2928" y="294"/>
                    <a:pt x="2928" y="294"/>
                  </a:cubicBezTo>
                  <a:cubicBezTo>
                    <a:pt x="2919" y="294"/>
                    <a:pt x="2919" y="294"/>
                    <a:pt x="2919" y="294"/>
                  </a:cubicBezTo>
                  <a:cubicBezTo>
                    <a:pt x="2919" y="284"/>
                    <a:pt x="2919" y="284"/>
                    <a:pt x="2919" y="284"/>
                  </a:cubicBezTo>
                  <a:cubicBezTo>
                    <a:pt x="2922" y="284"/>
                    <a:pt x="2922" y="284"/>
                    <a:pt x="2922" y="284"/>
                  </a:cubicBezTo>
                  <a:cubicBezTo>
                    <a:pt x="2920" y="282"/>
                    <a:pt x="2920" y="282"/>
                    <a:pt x="2920" y="282"/>
                  </a:cubicBezTo>
                  <a:cubicBezTo>
                    <a:pt x="2920" y="226"/>
                    <a:pt x="2920" y="226"/>
                    <a:pt x="2920" y="226"/>
                  </a:cubicBezTo>
                  <a:cubicBezTo>
                    <a:pt x="2930" y="222"/>
                    <a:pt x="2919" y="219"/>
                    <a:pt x="2919" y="219"/>
                  </a:cubicBezTo>
                  <a:cubicBezTo>
                    <a:pt x="2915" y="198"/>
                    <a:pt x="2892" y="186"/>
                    <a:pt x="2892" y="186"/>
                  </a:cubicBezTo>
                  <a:cubicBezTo>
                    <a:pt x="2892" y="171"/>
                    <a:pt x="2892" y="171"/>
                    <a:pt x="2892" y="171"/>
                  </a:cubicBezTo>
                  <a:cubicBezTo>
                    <a:pt x="2894" y="171"/>
                    <a:pt x="2894" y="171"/>
                    <a:pt x="2894" y="171"/>
                  </a:cubicBezTo>
                  <a:cubicBezTo>
                    <a:pt x="2892" y="165"/>
                    <a:pt x="2887" y="164"/>
                    <a:pt x="2887" y="164"/>
                  </a:cubicBezTo>
                  <a:cubicBezTo>
                    <a:pt x="2887" y="159"/>
                    <a:pt x="2887" y="159"/>
                    <a:pt x="2887" y="159"/>
                  </a:cubicBezTo>
                  <a:cubicBezTo>
                    <a:pt x="2886" y="157"/>
                    <a:pt x="2886" y="157"/>
                    <a:pt x="2886" y="157"/>
                  </a:cubicBezTo>
                  <a:cubicBezTo>
                    <a:pt x="2886" y="156"/>
                    <a:pt x="2886" y="156"/>
                    <a:pt x="2886" y="156"/>
                  </a:cubicBezTo>
                  <a:cubicBezTo>
                    <a:pt x="2886" y="144"/>
                    <a:pt x="2886" y="144"/>
                    <a:pt x="2886" y="144"/>
                  </a:cubicBezTo>
                  <a:cubicBezTo>
                    <a:pt x="2889" y="144"/>
                    <a:pt x="2889" y="144"/>
                    <a:pt x="2889" y="144"/>
                  </a:cubicBezTo>
                  <a:cubicBezTo>
                    <a:pt x="2889" y="142"/>
                    <a:pt x="2889" y="142"/>
                    <a:pt x="2889" y="142"/>
                  </a:cubicBezTo>
                  <a:cubicBezTo>
                    <a:pt x="2886" y="142"/>
                    <a:pt x="2886" y="142"/>
                    <a:pt x="2886" y="142"/>
                  </a:cubicBezTo>
                  <a:cubicBezTo>
                    <a:pt x="2886" y="134"/>
                    <a:pt x="2886" y="134"/>
                    <a:pt x="2886" y="134"/>
                  </a:cubicBezTo>
                  <a:cubicBezTo>
                    <a:pt x="2890" y="134"/>
                    <a:pt x="2890" y="134"/>
                    <a:pt x="2890" y="134"/>
                  </a:cubicBezTo>
                  <a:cubicBezTo>
                    <a:pt x="2890" y="128"/>
                    <a:pt x="2885" y="127"/>
                    <a:pt x="2885" y="127"/>
                  </a:cubicBezTo>
                  <a:cubicBezTo>
                    <a:pt x="2884" y="121"/>
                    <a:pt x="2884" y="121"/>
                    <a:pt x="2884" y="121"/>
                  </a:cubicBezTo>
                  <a:cubicBezTo>
                    <a:pt x="2883" y="126"/>
                    <a:pt x="2883" y="126"/>
                    <a:pt x="2883" y="126"/>
                  </a:cubicBezTo>
                  <a:cubicBezTo>
                    <a:pt x="2880" y="128"/>
                    <a:pt x="2880" y="134"/>
                    <a:pt x="2880" y="134"/>
                  </a:cubicBezTo>
                  <a:cubicBezTo>
                    <a:pt x="2884" y="134"/>
                    <a:pt x="2884" y="134"/>
                    <a:pt x="2884" y="134"/>
                  </a:cubicBezTo>
                  <a:cubicBezTo>
                    <a:pt x="2884" y="143"/>
                    <a:pt x="2884" y="143"/>
                    <a:pt x="2884" y="143"/>
                  </a:cubicBezTo>
                  <a:cubicBezTo>
                    <a:pt x="2879" y="143"/>
                    <a:pt x="2879" y="143"/>
                    <a:pt x="2879" y="143"/>
                  </a:cubicBezTo>
                  <a:cubicBezTo>
                    <a:pt x="2879" y="145"/>
                    <a:pt x="2879" y="145"/>
                    <a:pt x="2879" y="145"/>
                  </a:cubicBezTo>
                  <a:cubicBezTo>
                    <a:pt x="2883" y="145"/>
                    <a:pt x="2883" y="145"/>
                    <a:pt x="2883" y="145"/>
                  </a:cubicBezTo>
                  <a:cubicBezTo>
                    <a:pt x="2883" y="157"/>
                    <a:pt x="2883" y="157"/>
                    <a:pt x="2883" y="157"/>
                  </a:cubicBezTo>
                  <a:cubicBezTo>
                    <a:pt x="2882" y="159"/>
                    <a:pt x="2882" y="159"/>
                    <a:pt x="2882" y="159"/>
                  </a:cubicBezTo>
                  <a:cubicBezTo>
                    <a:pt x="2881" y="160"/>
                    <a:pt x="2881" y="163"/>
                    <a:pt x="2881" y="163"/>
                  </a:cubicBezTo>
                  <a:cubicBezTo>
                    <a:pt x="2875" y="166"/>
                    <a:pt x="2876" y="172"/>
                    <a:pt x="2876" y="172"/>
                  </a:cubicBezTo>
                  <a:cubicBezTo>
                    <a:pt x="2876" y="186"/>
                    <a:pt x="2876" y="186"/>
                    <a:pt x="2876" y="186"/>
                  </a:cubicBezTo>
                  <a:cubicBezTo>
                    <a:pt x="2854" y="192"/>
                    <a:pt x="2848" y="214"/>
                    <a:pt x="2848" y="214"/>
                  </a:cubicBezTo>
                  <a:cubicBezTo>
                    <a:pt x="2839" y="220"/>
                    <a:pt x="2844" y="225"/>
                    <a:pt x="2844" y="225"/>
                  </a:cubicBezTo>
                  <a:cubicBezTo>
                    <a:pt x="2844" y="281"/>
                    <a:pt x="2844" y="281"/>
                    <a:pt x="2844" y="281"/>
                  </a:cubicBezTo>
                  <a:cubicBezTo>
                    <a:pt x="2841" y="283"/>
                    <a:pt x="2841" y="283"/>
                    <a:pt x="2841" y="283"/>
                  </a:cubicBezTo>
                  <a:cubicBezTo>
                    <a:pt x="2844" y="283"/>
                    <a:pt x="2844" y="283"/>
                    <a:pt x="2844" y="283"/>
                  </a:cubicBezTo>
                  <a:cubicBezTo>
                    <a:pt x="2844" y="299"/>
                    <a:pt x="2844" y="299"/>
                    <a:pt x="2844" y="299"/>
                  </a:cubicBezTo>
                  <a:cubicBezTo>
                    <a:pt x="2836" y="307"/>
                    <a:pt x="2836" y="307"/>
                    <a:pt x="2836" y="307"/>
                  </a:cubicBezTo>
                  <a:cubicBezTo>
                    <a:pt x="2836" y="313"/>
                    <a:pt x="2836" y="313"/>
                    <a:pt x="2836" y="313"/>
                  </a:cubicBezTo>
                  <a:cubicBezTo>
                    <a:pt x="2801" y="313"/>
                    <a:pt x="2801" y="313"/>
                    <a:pt x="2801" y="313"/>
                  </a:cubicBezTo>
                  <a:cubicBezTo>
                    <a:pt x="2801" y="306"/>
                    <a:pt x="2801" y="306"/>
                    <a:pt x="2801" y="306"/>
                  </a:cubicBezTo>
                  <a:cubicBezTo>
                    <a:pt x="2803" y="306"/>
                    <a:pt x="2803" y="306"/>
                    <a:pt x="2803" y="306"/>
                  </a:cubicBezTo>
                  <a:cubicBezTo>
                    <a:pt x="2803" y="304"/>
                    <a:pt x="2803" y="304"/>
                    <a:pt x="2803" y="304"/>
                  </a:cubicBezTo>
                  <a:cubicBezTo>
                    <a:pt x="2801" y="304"/>
                    <a:pt x="2801" y="304"/>
                    <a:pt x="2801" y="304"/>
                  </a:cubicBezTo>
                  <a:cubicBezTo>
                    <a:pt x="2801" y="304"/>
                    <a:pt x="2800" y="292"/>
                    <a:pt x="2801" y="292"/>
                  </a:cubicBezTo>
                  <a:cubicBezTo>
                    <a:pt x="2801" y="292"/>
                    <a:pt x="2804" y="292"/>
                    <a:pt x="2804" y="292"/>
                  </a:cubicBezTo>
                  <a:cubicBezTo>
                    <a:pt x="2804" y="290"/>
                    <a:pt x="2804" y="290"/>
                    <a:pt x="2804" y="290"/>
                  </a:cubicBezTo>
                  <a:cubicBezTo>
                    <a:pt x="2800" y="290"/>
                    <a:pt x="2800" y="290"/>
                    <a:pt x="2800" y="290"/>
                  </a:cubicBezTo>
                  <a:cubicBezTo>
                    <a:pt x="2800" y="289"/>
                    <a:pt x="2800" y="289"/>
                    <a:pt x="2800" y="289"/>
                  </a:cubicBezTo>
                  <a:cubicBezTo>
                    <a:pt x="2797" y="289"/>
                    <a:pt x="2797" y="289"/>
                    <a:pt x="2797" y="289"/>
                  </a:cubicBezTo>
                  <a:cubicBezTo>
                    <a:pt x="2793" y="289"/>
                    <a:pt x="2793" y="289"/>
                    <a:pt x="2793" y="289"/>
                  </a:cubicBezTo>
                  <a:cubicBezTo>
                    <a:pt x="2793" y="290"/>
                    <a:pt x="2793" y="290"/>
                    <a:pt x="2793" y="290"/>
                  </a:cubicBezTo>
                  <a:cubicBezTo>
                    <a:pt x="2790" y="290"/>
                    <a:pt x="2790" y="290"/>
                    <a:pt x="2790" y="290"/>
                  </a:cubicBezTo>
                  <a:cubicBezTo>
                    <a:pt x="2790" y="291"/>
                    <a:pt x="2790" y="291"/>
                    <a:pt x="2790" y="291"/>
                  </a:cubicBezTo>
                  <a:cubicBezTo>
                    <a:pt x="2792" y="291"/>
                    <a:pt x="2792" y="291"/>
                    <a:pt x="2792" y="291"/>
                  </a:cubicBezTo>
                  <a:cubicBezTo>
                    <a:pt x="2792" y="299"/>
                    <a:pt x="2792" y="299"/>
                    <a:pt x="2792" y="299"/>
                  </a:cubicBezTo>
                  <a:cubicBezTo>
                    <a:pt x="2791" y="300"/>
                    <a:pt x="2791" y="300"/>
                    <a:pt x="2791" y="300"/>
                  </a:cubicBezTo>
                  <a:cubicBezTo>
                    <a:pt x="2791" y="309"/>
                    <a:pt x="2791" y="309"/>
                    <a:pt x="2791" y="309"/>
                  </a:cubicBezTo>
                  <a:cubicBezTo>
                    <a:pt x="2677" y="309"/>
                    <a:pt x="2677" y="309"/>
                    <a:pt x="2677" y="309"/>
                  </a:cubicBezTo>
                  <a:cubicBezTo>
                    <a:pt x="2677" y="293"/>
                    <a:pt x="2677" y="293"/>
                    <a:pt x="2677" y="293"/>
                  </a:cubicBezTo>
                  <a:cubicBezTo>
                    <a:pt x="2674" y="290"/>
                    <a:pt x="2674" y="290"/>
                    <a:pt x="2674" y="290"/>
                  </a:cubicBezTo>
                  <a:cubicBezTo>
                    <a:pt x="2674" y="286"/>
                    <a:pt x="2674" y="286"/>
                    <a:pt x="2674" y="286"/>
                  </a:cubicBezTo>
                  <a:cubicBezTo>
                    <a:pt x="2677" y="286"/>
                    <a:pt x="2677" y="286"/>
                    <a:pt x="2677" y="286"/>
                  </a:cubicBezTo>
                  <a:cubicBezTo>
                    <a:pt x="2677" y="284"/>
                    <a:pt x="2677" y="284"/>
                    <a:pt x="2677" y="284"/>
                  </a:cubicBezTo>
                  <a:cubicBezTo>
                    <a:pt x="2677" y="284"/>
                    <a:pt x="2674" y="284"/>
                    <a:pt x="2673" y="284"/>
                  </a:cubicBezTo>
                  <a:cubicBezTo>
                    <a:pt x="2672" y="284"/>
                    <a:pt x="2672" y="282"/>
                    <a:pt x="2672" y="282"/>
                  </a:cubicBezTo>
                  <a:cubicBezTo>
                    <a:pt x="2667" y="282"/>
                    <a:pt x="2667" y="282"/>
                    <a:pt x="2667" y="282"/>
                  </a:cubicBezTo>
                  <a:cubicBezTo>
                    <a:pt x="2667" y="284"/>
                    <a:pt x="2667" y="284"/>
                    <a:pt x="2667" y="284"/>
                  </a:cubicBezTo>
                  <a:cubicBezTo>
                    <a:pt x="2665" y="284"/>
                    <a:pt x="2665" y="284"/>
                    <a:pt x="2665" y="284"/>
                  </a:cubicBezTo>
                  <a:cubicBezTo>
                    <a:pt x="2665" y="313"/>
                    <a:pt x="2665" y="313"/>
                    <a:pt x="2665" y="313"/>
                  </a:cubicBezTo>
                  <a:cubicBezTo>
                    <a:pt x="2650" y="313"/>
                    <a:pt x="2650" y="313"/>
                    <a:pt x="2650" y="313"/>
                  </a:cubicBezTo>
                  <a:cubicBezTo>
                    <a:pt x="2639" y="297"/>
                    <a:pt x="2639" y="297"/>
                    <a:pt x="2639" y="297"/>
                  </a:cubicBezTo>
                  <a:cubicBezTo>
                    <a:pt x="2639" y="291"/>
                    <a:pt x="2639" y="291"/>
                    <a:pt x="2639" y="291"/>
                  </a:cubicBezTo>
                  <a:cubicBezTo>
                    <a:pt x="2642" y="291"/>
                    <a:pt x="2642" y="291"/>
                    <a:pt x="2642" y="291"/>
                  </a:cubicBezTo>
                  <a:cubicBezTo>
                    <a:pt x="2642" y="290"/>
                    <a:pt x="2642" y="290"/>
                    <a:pt x="2642" y="290"/>
                  </a:cubicBezTo>
                  <a:cubicBezTo>
                    <a:pt x="2638" y="290"/>
                    <a:pt x="2638" y="290"/>
                    <a:pt x="2638" y="290"/>
                  </a:cubicBezTo>
                  <a:cubicBezTo>
                    <a:pt x="2638" y="286"/>
                    <a:pt x="2638" y="286"/>
                    <a:pt x="2638" y="286"/>
                  </a:cubicBezTo>
                  <a:cubicBezTo>
                    <a:pt x="2636" y="286"/>
                    <a:pt x="2636" y="286"/>
                    <a:pt x="2636" y="286"/>
                  </a:cubicBezTo>
                  <a:cubicBezTo>
                    <a:pt x="2636" y="270"/>
                    <a:pt x="2636" y="270"/>
                    <a:pt x="2636" y="270"/>
                  </a:cubicBezTo>
                  <a:cubicBezTo>
                    <a:pt x="2633" y="270"/>
                    <a:pt x="2633" y="270"/>
                    <a:pt x="2633" y="270"/>
                  </a:cubicBezTo>
                  <a:cubicBezTo>
                    <a:pt x="2633" y="285"/>
                    <a:pt x="2633" y="285"/>
                    <a:pt x="2633" y="285"/>
                  </a:cubicBezTo>
                  <a:cubicBezTo>
                    <a:pt x="2629" y="285"/>
                    <a:pt x="2629" y="285"/>
                    <a:pt x="2629" y="285"/>
                  </a:cubicBezTo>
                  <a:cubicBezTo>
                    <a:pt x="2629" y="295"/>
                    <a:pt x="2629" y="295"/>
                    <a:pt x="2629" y="295"/>
                  </a:cubicBezTo>
                  <a:cubicBezTo>
                    <a:pt x="2584" y="346"/>
                    <a:pt x="2584" y="346"/>
                    <a:pt x="2584" y="346"/>
                  </a:cubicBezTo>
                  <a:cubicBezTo>
                    <a:pt x="2576" y="346"/>
                    <a:pt x="2576" y="346"/>
                    <a:pt x="2576" y="346"/>
                  </a:cubicBezTo>
                  <a:cubicBezTo>
                    <a:pt x="2581" y="351"/>
                    <a:pt x="2581" y="351"/>
                    <a:pt x="2581" y="351"/>
                  </a:cubicBezTo>
                  <a:cubicBezTo>
                    <a:pt x="2581" y="356"/>
                    <a:pt x="2581" y="356"/>
                    <a:pt x="2581" y="356"/>
                  </a:cubicBezTo>
                  <a:cubicBezTo>
                    <a:pt x="2579" y="358"/>
                    <a:pt x="2579" y="358"/>
                    <a:pt x="2579" y="358"/>
                  </a:cubicBezTo>
                  <a:cubicBezTo>
                    <a:pt x="2582" y="361"/>
                    <a:pt x="2582" y="361"/>
                    <a:pt x="2582" y="361"/>
                  </a:cubicBezTo>
                  <a:cubicBezTo>
                    <a:pt x="2582" y="362"/>
                    <a:pt x="2582" y="362"/>
                    <a:pt x="2582" y="362"/>
                  </a:cubicBezTo>
                  <a:cubicBezTo>
                    <a:pt x="2576" y="362"/>
                    <a:pt x="2572" y="362"/>
                    <a:pt x="2572" y="362"/>
                  </a:cubicBezTo>
                  <a:cubicBezTo>
                    <a:pt x="2572" y="360"/>
                    <a:pt x="2572" y="360"/>
                    <a:pt x="2572" y="360"/>
                  </a:cubicBezTo>
                  <a:cubicBezTo>
                    <a:pt x="2568" y="360"/>
                    <a:pt x="2568" y="360"/>
                    <a:pt x="2568" y="360"/>
                  </a:cubicBezTo>
                  <a:cubicBezTo>
                    <a:pt x="2568" y="354"/>
                    <a:pt x="2568" y="354"/>
                    <a:pt x="2568" y="354"/>
                  </a:cubicBezTo>
                  <a:cubicBezTo>
                    <a:pt x="2565" y="354"/>
                    <a:pt x="2565" y="354"/>
                    <a:pt x="2565" y="354"/>
                  </a:cubicBezTo>
                  <a:cubicBezTo>
                    <a:pt x="2565" y="359"/>
                    <a:pt x="2565" y="359"/>
                    <a:pt x="2565" y="359"/>
                  </a:cubicBezTo>
                  <a:cubicBezTo>
                    <a:pt x="2549" y="359"/>
                    <a:pt x="2549" y="359"/>
                    <a:pt x="2549" y="359"/>
                  </a:cubicBezTo>
                  <a:cubicBezTo>
                    <a:pt x="2549" y="355"/>
                    <a:pt x="2549" y="355"/>
                    <a:pt x="2549" y="355"/>
                  </a:cubicBezTo>
                  <a:cubicBezTo>
                    <a:pt x="2547" y="355"/>
                    <a:pt x="2547" y="355"/>
                    <a:pt x="2547" y="355"/>
                  </a:cubicBezTo>
                  <a:cubicBezTo>
                    <a:pt x="2547" y="393"/>
                    <a:pt x="2547" y="393"/>
                    <a:pt x="2547" y="393"/>
                  </a:cubicBezTo>
                  <a:cubicBezTo>
                    <a:pt x="2543" y="393"/>
                    <a:pt x="2543" y="393"/>
                    <a:pt x="2543" y="393"/>
                  </a:cubicBezTo>
                  <a:cubicBezTo>
                    <a:pt x="2541" y="395"/>
                    <a:pt x="2541" y="395"/>
                    <a:pt x="2541" y="395"/>
                  </a:cubicBezTo>
                  <a:cubicBezTo>
                    <a:pt x="2541" y="395"/>
                    <a:pt x="2541" y="392"/>
                    <a:pt x="2541" y="390"/>
                  </a:cubicBezTo>
                  <a:cubicBezTo>
                    <a:pt x="2541" y="388"/>
                    <a:pt x="2531" y="390"/>
                    <a:pt x="2531" y="390"/>
                  </a:cubicBezTo>
                  <a:cubicBezTo>
                    <a:pt x="2531" y="382"/>
                    <a:pt x="2531" y="382"/>
                    <a:pt x="2531" y="382"/>
                  </a:cubicBezTo>
                  <a:cubicBezTo>
                    <a:pt x="2529" y="380"/>
                    <a:pt x="2529" y="380"/>
                    <a:pt x="2529" y="380"/>
                  </a:cubicBezTo>
                  <a:cubicBezTo>
                    <a:pt x="2529" y="361"/>
                    <a:pt x="2529" y="361"/>
                    <a:pt x="2529" y="361"/>
                  </a:cubicBezTo>
                  <a:cubicBezTo>
                    <a:pt x="2525" y="361"/>
                    <a:pt x="2525" y="361"/>
                    <a:pt x="2525" y="361"/>
                  </a:cubicBezTo>
                  <a:cubicBezTo>
                    <a:pt x="2515" y="348"/>
                    <a:pt x="2505" y="362"/>
                    <a:pt x="2505" y="362"/>
                  </a:cubicBezTo>
                  <a:cubicBezTo>
                    <a:pt x="2501" y="362"/>
                    <a:pt x="2501" y="362"/>
                    <a:pt x="2501" y="362"/>
                  </a:cubicBezTo>
                  <a:cubicBezTo>
                    <a:pt x="2501" y="380"/>
                    <a:pt x="2501" y="380"/>
                    <a:pt x="2501" y="380"/>
                  </a:cubicBezTo>
                  <a:cubicBezTo>
                    <a:pt x="2499" y="380"/>
                    <a:pt x="2499" y="380"/>
                    <a:pt x="2499" y="380"/>
                  </a:cubicBezTo>
                  <a:cubicBezTo>
                    <a:pt x="2499" y="394"/>
                    <a:pt x="2499" y="394"/>
                    <a:pt x="2499" y="394"/>
                  </a:cubicBezTo>
                  <a:cubicBezTo>
                    <a:pt x="2499" y="394"/>
                    <a:pt x="2491" y="393"/>
                    <a:pt x="2490" y="394"/>
                  </a:cubicBezTo>
                  <a:cubicBezTo>
                    <a:pt x="2489" y="395"/>
                    <a:pt x="2490" y="375"/>
                    <a:pt x="2490" y="375"/>
                  </a:cubicBezTo>
                  <a:cubicBezTo>
                    <a:pt x="2488" y="377"/>
                    <a:pt x="2488" y="377"/>
                    <a:pt x="2488" y="377"/>
                  </a:cubicBezTo>
                  <a:cubicBezTo>
                    <a:pt x="2488" y="372"/>
                    <a:pt x="2488" y="372"/>
                    <a:pt x="2488" y="372"/>
                  </a:cubicBezTo>
                  <a:cubicBezTo>
                    <a:pt x="2485" y="372"/>
                    <a:pt x="2485" y="372"/>
                    <a:pt x="2485" y="372"/>
                  </a:cubicBezTo>
                  <a:cubicBezTo>
                    <a:pt x="2485" y="375"/>
                    <a:pt x="2485" y="375"/>
                    <a:pt x="2485" y="375"/>
                  </a:cubicBezTo>
                  <a:cubicBezTo>
                    <a:pt x="2481" y="375"/>
                    <a:pt x="2481" y="375"/>
                    <a:pt x="2481" y="375"/>
                  </a:cubicBezTo>
                  <a:cubicBezTo>
                    <a:pt x="2481" y="393"/>
                    <a:pt x="2481" y="393"/>
                    <a:pt x="2481" y="393"/>
                  </a:cubicBezTo>
                  <a:cubicBezTo>
                    <a:pt x="2464" y="393"/>
                    <a:pt x="2467" y="363"/>
                    <a:pt x="2467" y="363"/>
                  </a:cubicBezTo>
                  <a:cubicBezTo>
                    <a:pt x="2463" y="363"/>
                    <a:pt x="2463" y="363"/>
                    <a:pt x="2463" y="363"/>
                  </a:cubicBezTo>
                  <a:cubicBezTo>
                    <a:pt x="2463" y="363"/>
                    <a:pt x="2463" y="356"/>
                    <a:pt x="2454" y="357"/>
                  </a:cubicBezTo>
                  <a:cubicBezTo>
                    <a:pt x="2445" y="357"/>
                    <a:pt x="2444" y="364"/>
                    <a:pt x="2444" y="364"/>
                  </a:cubicBezTo>
                  <a:cubicBezTo>
                    <a:pt x="2440" y="364"/>
                    <a:pt x="2440" y="364"/>
                    <a:pt x="2440" y="364"/>
                  </a:cubicBezTo>
                  <a:cubicBezTo>
                    <a:pt x="2440" y="393"/>
                    <a:pt x="2431" y="395"/>
                    <a:pt x="2431" y="395"/>
                  </a:cubicBezTo>
                  <a:cubicBezTo>
                    <a:pt x="2431" y="363"/>
                    <a:pt x="2431" y="363"/>
                    <a:pt x="2431" y="363"/>
                  </a:cubicBezTo>
                  <a:cubicBezTo>
                    <a:pt x="2428" y="363"/>
                    <a:pt x="2428" y="363"/>
                    <a:pt x="2428" y="363"/>
                  </a:cubicBezTo>
                  <a:cubicBezTo>
                    <a:pt x="2428" y="363"/>
                    <a:pt x="2428" y="363"/>
                    <a:pt x="2428" y="363"/>
                  </a:cubicBezTo>
                  <a:cubicBezTo>
                    <a:pt x="2420" y="363"/>
                    <a:pt x="2420" y="363"/>
                    <a:pt x="2420" y="363"/>
                  </a:cubicBezTo>
                  <a:cubicBezTo>
                    <a:pt x="2420" y="397"/>
                    <a:pt x="2420" y="397"/>
                    <a:pt x="2420" y="397"/>
                  </a:cubicBezTo>
                  <a:cubicBezTo>
                    <a:pt x="2405" y="395"/>
                    <a:pt x="2405" y="369"/>
                    <a:pt x="2405" y="369"/>
                  </a:cubicBezTo>
                  <a:cubicBezTo>
                    <a:pt x="2405" y="365"/>
                    <a:pt x="2405" y="365"/>
                    <a:pt x="2405" y="365"/>
                  </a:cubicBezTo>
                  <a:cubicBezTo>
                    <a:pt x="2407" y="365"/>
                    <a:pt x="2407" y="365"/>
                    <a:pt x="2407" y="365"/>
                  </a:cubicBezTo>
                  <a:cubicBezTo>
                    <a:pt x="2407" y="364"/>
                    <a:pt x="2407" y="364"/>
                    <a:pt x="2407" y="364"/>
                  </a:cubicBezTo>
                  <a:cubicBezTo>
                    <a:pt x="2409" y="364"/>
                    <a:pt x="2409" y="364"/>
                    <a:pt x="2409" y="364"/>
                  </a:cubicBezTo>
                  <a:cubicBezTo>
                    <a:pt x="2390" y="358"/>
                    <a:pt x="2390" y="358"/>
                    <a:pt x="2390" y="358"/>
                  </a:cubicBezTo>
                  <a:cubicBezTo>
                    <a:pt x="2374" y="364"/>
                    <a:pt x="2374" y="364"/>
                    <a:pt x="2374" y="364"/>
                  </a:cubicBezTo>
                  <a:cubicBezTo>
                    <a:pt x="2374" y="365"/>
                    <a:pt x="2374" y="365"/>
                    <a:pt x="2374" y="365"/>
                  </a:cubicBezTo>
                  <a:cubicBezTo>
                    <a:pt x="2377" y="365"/>
                    <a:pt x="2377" y="365"/>
                    <a:pt x="2377" y="365"/>
                  </a:cubicBezTo>
                  <a:cubicBezTo>
                    <a:pt x="2377" y="369"/>
                    <a:pt x="2377" y="369"/>
                    <a:pt x="2377" y="369"/>
                  </a:cubicBezTo>
                  <a:cubicBezTo>
                    <a:pt x="2378" y="369"/>
                    <a:pt x="2378" y="369"/>
                    <a:pt x="2378" y="369"/>
                  </a:cubicBezTo>
                  <a:cubicBezTo>
                    <a:pt x="2378" y="402"/>
                    <a:pt x="2363" y="398"/>
                    <a:pt x="2363" y="398"/>
                  </a:cubicBezTo>
                  <a:cubicBezTo>
                    <a:pt x="2363" y="374"/>
                    <a:pt x="2363" y="374"/>
                    <a:pt x="2363" y="374"/>
                  </a:cubicBezTo>
                  <a:cubicBezTo>
                    <a:pt x="2361" y="374"/>
                    <a:pt x="2361" y="374"/>
                    <a:pt x="2361" y="374"/>
                  </a:cubicBezTo>
                  <a:cubicBezTo>
                    <a:pt x="2361" y="386"/>
                    <a:pt x="2361" y="386"/>
                    <a:pt x="2361" y="386"/>
                  </a:cubicBezTo>
                  <a:cubicBezTo>
                    <a:pt x="2342" y="386"/>
                    <a:pt x="2342" y="386"/>
                    <a:pt x="2342" y="386"/>
                  </a:cubicBezTo>
                  <a:cubicBezTo>
                    <a:pt x="2335" y="374"/>
                    <a:pt x="2335" y="374"/>
                    <a:pt x="2335" y="374"/>
                  </a:cubicBezTo>
                  <a:cubicBezTo>
                    <a:pt x="2332" y="374"/>
                    <a:pt x="2332" y="374"/>
                    <a:pt x="2332" y="374"/>
                  </a:cubicBezTo>
                  <a:cubicBezTo>
                    <a:pt x="2325" y="387"/>
                    <a:pt x="2325" y="387"/>
                    <a:pt x="2325" y="387"/>
                  </a:cubicBezTo>
                  <a:cubicBezTo>
                    <a:pt x="2316" y="387"/>
                    <a:pt x="2316" y="387"/>
                    <a:pt x="2316" y="387"/>
                  </a:cubicBezTo>
                  <a:cubicBezTo>
                    <a:pt x="2316" y="354"/>
                    <a:pt x="2316" y="354"/>
                    <a:pt x="2316" y="354"/>
                  </a:cubicBezTo>
                  <a:cubicBezTo>
                    <a:pt x="2313" y="351"/>
                    <a:pt x="2313" y="351"/>
                    <a:pt x="2313" y="351"/>
                  </a:cubicBezTo>
                  <a:cubicBezTo>
                    <a:pt x="2313" y="340"/>
                    <a:pt x="2313" y="340"/>
                    <a:pt x="2313" y="340"/>
                  </a:cubicBezTo>
                  <a:cubicBezTo>
                    <a:pt x="2312" y="340"/>
                    <a:pt x="2312" y="340"/>
                    <a:pt x="2312" y="340"/>
                  </a:cubicBezTo>
                  <a:cubicBezTo>
                    <a:pt x="2312" y="352"/>
                    <a:pt x="2312" y="352"/>
                    <a:pt x="2312" y="352"/>
                  </a:cubicBezTo>
                  <a:cubicBezTo>
                    <a:pt x="2310" y="352"/>
                    <a:pt x="2310" y="352"/>
                    <a:pt x="2310" y="352"/>
                  </a:cubicBezTo>
                  <a:cubicBezTo>
                    <a:pt x="2310" y="340"/>
                    <a:pt x="2310" y="340"/>
                    <a:pt x="2310" y="340"/>
                  </a:cubicBezTo>
                  <a:cubicBezTo>
                    <a:pt x="2310" y="341"/>
                    <a:pt x="2310" y="341"/>
                    <a:pt x="2310" y="341"/>
                  </a:cubicBezTo>
                  <a:cubicBezTo>
                    <a:pt x="2310" y="351"/>
                    <a:pt x="2310" y="351"/>
                    <a:pt x="2310" y="351"/>
                  </a:cubicBezTo>
                  <a:cubicBezTo>
                    <a:pt x="2301" y="351"/>
                    <a:pt x="2301" y="351"/>
                    <a:pt x="2301" y="351"/>
                  </a:cubicBezTo>
                  <a:cubicBezTo>
                    <a:pt x="2301" y="390"/>
                    <a:pt x="2301" y="390"/>
                    <a:pt x="2301" y="390"/>
                  </a:cubicBezTo>
                  <a:cubicBezTo>
                    <a:pt x="2275" y="338"/>
                    <a:pt x="2275" y="338"/>
                    <a:pt x="2275" y="338"/>
                  </a:cubicBezTo>
                  <a:cubicBezTo>
                    <a:pt x="2275" y="330"/>
                    <a:pt x="2275" y="330"/>
                    <a:pt x="2275" y="330"/>
                  </a:cubicBezTo>
                  <a:cubicBezTo>
                    <a:pt x="2265" y="330"/>
                    <a:pt x="2265" y="330"/>
                    <a:pt x="2265" y="330"/>
                  </a:cubicBezTo>
                  <a:cubicBezTo>
                    <a:pt x="2265" y="338"/>
                    <a:pt x="2265" y="338"/>
                    <a:pt x="2265" y="338"/>
                  </a:cubicBezTo>
                  <a:cubicBezTo>
                    <a:pt x="2240" y="379"/>
                    <a:pt x="2240" y="379"/>
                    <a:pt x="2240" y="379"/>
                  </a:cubicBezTo>
                  <a:cubicBezTo>
                    <a:pt x="2222" y="379"/>
                    <a:pt x="2222" y="379"/>
                    <a:pt x="2222" y="379"/>
                  </a:cubicBezTo>
                  <a:cubicBezTo>
                    <a:pt x="2206" y="342"/>
                    <a:pt x="2206" y="342"/>
                    <a:pt x="2206" y="342"/>
                  </a:cubicBezTo>
                  <a:cubicBezTo>
                    <a:pt x="2206" y="330"/>
                    <a:pt x="2206" y="330"/>
                    <a:pt x="2206" y="330"/>
                  </a:cubicBezTo>
                  <a:cubicBezTo>
                    <a:pt x="2198" y="330"/>
                    <a:pt x="2198" y="330"/>
                    <a:pt x="2198" y="330"/>
                  </a:cubicBezTo>
                  <a:cubicBezTo>
                    <a:pt x="2198" y="341"/>
                    <a:pt x="2198" y="341"/>
                    <a:pt x="2198" y="341"/>
                  </a:cubicBezTo>
                  <a:cubicBezTo>
                    <a:pt x="2167" y="389"/>
                    <a:pt x="2167" y="389"/>
                    <a:pt x="2167" y="389"/>
                  </a:cubicBezTo>
                  <a:cubicBezTo>
                    <a:pt x="2167" y="389"/>
                    <a:pt x="2156" y="389"/>
                    <a:pt x="2153" y="389"/>
                  </a:cubicBezTo>
                  <a:cubicBezTo>
                    <a:pt x="2153" y="360"/>
                    <a:pt x="2153" y="360"/>
                    <a:pt x="2153" y="360"/>
                  </a:cubicBezTo>
                  <a:cubicBezTo>
                    <a:pt x="2160" y="360"/>
                    <a:pt x="2160" y="360"/>
                    <a:pt x="2160" y="360"/>
                  </a:cubicBezTo>
                  <a:cubicBezTo>
                    <a:pt x="2160" y="358"/>
                    <a:pt x="2160" y="358"/>
                    <a:pt x="2160" y="358"/>
                  </a:cubicBezTo>
                  <a:cubicBezTo>
                    <a:pt x="2154" y="358"/>
                    <a:pt x="2154" y="358"/>
                    <a:pt x="2154" y="358"/>
                  </a:cubicBezTo>
                  <a:cubicBezTo>
                    <a:pt x="2154" y="344"/>
                    <a:pt x="2154" y="344"/>
                    <a:pt x="2154" y="344"/>
                  </a:cubicBezTo>
                  <a:cubicBezTo>
                    <a:pt x="2158" y="344"/>
                    <a:pt x="2158" y="344"/>
                    <a:pt x="2158" y="344"/>
                  </a:cubicBezTo>
                  <a:cubicBezTo>
                    <a:pt x="2158" y="343"/>
                    <a:pt x="2158" y="343"/>
                    <a:pt x="2158" y="343"/>
                  </a:cubicBezTo>
                  <a:cubicBezTo>
                    <a:pt x="2153" y="343"/>
                    <a:pt x="2153" y="343"/>
                    <a:pt x="2153" y="343"/>
                  </a:cubicBezTo>
                  <a:cubicBezTo>
                    <a:pt x="2153" y="318"/>
                    <a:pt x="2153" y="318"/>
                    <a:pt x="2153" y="318"/>
                  </a:cubicBezTo>
                  <a:cubicBezTo>
                    <a:pt x="2152" y="318"/>
                    <a:pt x="2152" y="318"/>
                    <a:pt x="2152" y="318"/>
                  </a:cubicBezTo>
                  <a:cubicBezTo>
                    <a:pt x="2152" y="342"/>
                    <a:pt x="2152" y="342"/>
                    <a:pt x="2152" y="342"/>
                  </a:cubicBezTo>
                  <a:cubicBezTo>
                    <a:pt x="2145" y="342"/>
                    <a:pt x="2145" y="342"/>
                    <a:pt x="2145" y="342"/>
                  </a:cubicBezTo>
                  <a:cubicBezTo>
                    <a:pt x="2145" y="325"/>
                    <a:pt x="2145" y="325"/>
                    <a:pt x="2145" y="325"/>
                  </a:cubicBezTo>
                  <a:cubicBezTo>
                    <a:pt x="2135" y="298"/>
                    <a:pt x="2135" y="298"/>
                    <a:pt x="2135" y="298"/>
                  </a:cubicBezTo>
                  <a:cubicBezTo>
                    <a:pt x="2140" y="298"/>
                    <a:pt x="2140" y="298"/>
                    <a:pt x="2140" y="298"/>
                  </a:cubicBezTo>
                  <a:cubicBezTo>
                    <a:pt x="2140" y="295"/>
                    <a:pt x="2140" y="295"/>
                    <a:pt x="2140" y="295"/>
                  </a:cubicBezTo>
                  <a:cubicBezTo>
                    <a:pt x="2137" y="295"/>
                    <a:pt x="2137" y="295"/>
                    <a:pt x="2137" y="295"/>
                  </a:cubicBezTo>
                  <a:cubicBezTo>
                    <a:pt x="2125" y="275"/>
                    <a:pt x="2125" y="275"/>
                    <a:pt x="2125" y="275"/>
                  </a:cubicBezTo>
                  <a:cubicBezTo>
                    <a:pt x="2128" y="275"/>
                    <a:pt x="2128" y="275"/>
                    <a:pt x="2128" y="275"/>
                  </a:cubicBezTo>
                  <a:cubicBezTo>
                    <a:pt x="2128" y="273"/>
                    <a:pt x="2128" y="273"/>
                    <a:pt x="2128" y="273"/>
                  </a:cubicBezTo>
                  <a:cubicBezTo>
                    <a:pt x="2123" y="273"/>
                    <a:pt x="2123" y="273"/>
                    <a:pt x="2123" y="273"/>
                  </a:cubicBezTo>
                  <a:cubicBezTo>
                    <a:pt x="2123" y="266"/>
                    <a:pt x="2123" y="266"/>
                    <a:pt x="2123" y="266"/>
                  </a:cubicBezTo>
                  <a:cubicBezTo>
                    <a:pt x="2126" y="265"/>
                    <a:pt x="2134" y="258"/>
                    <a:pt x="2128" y="253"/>
                  </a:cubicBezTo>
                  <a:cubicBezTo>
                    <a:pt x="2123" y="249"/>
                    <a:pt x="2120" y="239"/>
                    <a:pt x="2118" y="233"/>
                  </a:cubicBezTo>
                  <a:cubicBezTo>
                    <a:pt x="2118" y="232"/>
                    <a:pt x="2119" y="232"/>
                    <a:pt x="2119" y="231"/>
                  </a:cubicBezTo>
                  <a:cubicBezTo>
                    <a:pt x="2119" y="229"/>
                    <a:pt x="2118" y="228"/>
                    <a:pt x="2117" y="228"/>
                  </a:cubicBezTo>
                  <a:cubicBezTo>
                    <a:pt x="2117" y="224"/>
                    <a:pt x="2117" y="224"/>
                    <a:pt x="2117" y="224"/>
                  </a:cubicBezTo>
                  <a:cubicBezTo>
                    <a:pt x="2120" y="224"/>
                    <a:pt x="2120" y="224"/>
                    <a:pt x="2120" y="224"/>
                  </a:cubicBezTo>
                  <a:cubicBezTo>
                    <a:pt x="2120" y="223"/>
                    <a:pt x="2120" y="223"/>
                    <a:pt x="2120" y="223"/>
                  </a:cubicBezTo>
                  <a:cubicBezTo>
                    <a:pt x="2116" y="223"/>
                    <a:pt x="2116" y="223"/>
                    <a:pt x="2116" y="223"/>
                  </a:cubicBezTo>
                  <a:cubicBezTo>
                    <a:pt x="2116" y="208"/>
                    <a:pt x="2116" y="208"/>
                    <a:pt x="2116" y="208"/>
                  </a:cubicBezTo>
                  <a:cubicBezTo>
                    <a:pt x="2118" y="208"/>
                    <a:pt x="2118" y="208"/>
                    <a:pt x="2118" y="208"/>
                  </a:cubicBezTo>
                  <a:cubicBezTo>
                    <a:pt x="2118" y="208"/>
                    <a:pt x="2118" y="208"/>
                    <a:pt x="2118" y="208"/>
                  </a:cubicBezTo>
                  <a:cubicBezTo>
                    <a:pt x="2116" y="208"/>
                    <a:pt x="2116" y="208"/>
                    <a:pt x="2116" y="208"/>
                  </a:cubicBezTo>
                  <a:cubicBezTo>
                    <a:pt x="2115" y="198"/>
                    <a:pt x="2115" y="198"/>
                    <a:pt x="2115" y="198"/>
                  </a:cubicBezTo>
                  <a:cubicBezTo>
                    <a:pt x="2115" y="208"/>
                    <a:pt x="2115" y="208"/>
                    <a:pt x="2115" y="208"/>
                  </a:cubicBezTo>
                  <a:cubicBezTo>
                    <a:pt x="2112" y="208"/>
                    <a:pt x="2112" y="208"/>
                    <a:pt x="2112" y="208"/>
                  </a:cubicBezTo>
                  <a:cubicBezTo>
                    <a:pt x="2112" y="208"/>
                    <a:pt x="2112" y="208"/>
                    <a:pt x="2112" y="208"/>
                  </a:cubicBezTo>
                  <a:cubicBezTo>
                    <a:pt x="2115" y="208"/>
                    <a:pt x="2115" y="208"/>
                    <a:pt x="2115" y="208"/>
                  </a:cubicBezTo>
                  <a:cubicBezTo>
                    <a:pt x="2114" y="223"/>
                    <a:pt x="2114" y="223"/>
                    <a:pt x="2114" y="223"/>
                  </a:cubicBezTo>
                  <a:cubicBezTo>
                    <a:pt x="2110" y="223"/>
                    <a:pt x="2110" y="223"/>
                    <a:pt x="2110" y="223"/>
                  </a:cubicBezTo>
                  <a:cubicBezTo>
                    <a:pt x="2110" y="224"/>
                    <a:pt x="2110" y="224"/>
                    <a:pt x="2110" y="224"/>
                  </a:cubicBezTo>
                  <a:cubicBezTo>
                    <a:pt x="2114" y="224"/>
                    <a:pt x="2114" y="224"/>
                    <a:pt x="2114" y="224"/>
                  </a:cubicBezTo>
                  <a:cubicBezTo>
                    <a:pt x="2114" y="228"/>
                    <a:pt x="2114" y="228"/>
                    <a:pt x="2114" y="228"/>
                  </a:cubicBezTo>
                  <a:cubicBezTo>
                    <a:pt x="2113" y="228"/>
                    <a:pt x="2112" y="229"/>
                    <a:pt x="2112" y="231"/>
                  </a:cubicBezTo>
                  <a:cubicBezTo>
                    <a:pt x="2112" y="232"/>
                    <a:pt x="2113" y="233"/>
                    <a:pt x="2114" y="233"/>
                  </a:cubicBezTo>
                  <a:cubicBezTo>
                    <a:pt x="2114" y="238"/>
                    <a:pt x="2112" y="245"/>
                    <a:pt x="2105" y="250"/>
                  </a:cubicBezTo>
                  <a:cubicBezTo>
                    <a:pt x="2095" y="258"/>
                    <a:pt x="2105" y="264"/>
                    <a:pt x="2105" y="264"/>
                  </a:cubicBezTo>
                  <a:cubicBezTo>
                    <a:pt x="2105" y="274"/>
                    <a:pt x="2105" y="274"/>
                    <a:pt x="2105" y="274"/>
                  </a:cubicBezTo>
                  <a:cubicBezTo>
                    <a:pt x="2102" y="274"/>
                    <a:pt x="2102" y="274"/>
                    <a:pt x="2102" y="274"/>
                  </a:cubicBezTo>
                  <a:cubicBezTo>
                    <a:pt x="2102" y="275"/>
                    <a:pt x="2102" y="275"/>
                    <a:pt x="2102" y="275"/>
                  </a:cubicBezTo>
                  <a:cubicBezTo>
                    <a:pt x="2104" y="275"/>
                    <a:pt x="2104" y="275"/>
                    <a:pt x="2104" y="275"/>
                  </a:cubicBezTo>
                  <a:cubicBezTo>
                    <a:pt x="2095" y="296"/>
                    <a:pt x="2095" y="296"/>
                    <a:pt x="2095" y="296"/>
                  </a:cubicBezTo>
                  <a:cubicBezTo>
                    <a:pt x="2091" y="296"/>
                    <a:pt x="2091" y="296"/>
                    <a:pt x="2091" y="296"/>
                  </a:cubicBezTo>
                  <a:cubicBezTo>
                    <a:pt x="2091" y="298"/>
                    <a:pt x="2091" y="298"/>
                    <a:pt x="2091" y="298"/>
                  </a:cubicBezTo>
                  <a:cubicBezTo>
                    <a:pt x="2095" y="298"/>
                    <a:pt x="2095" y="298"/>
                    <a:pt x="2095" y="298"/>
                  </a:cubicBezTo>
                  <a:cubicBezTo>
                    <a:pt x="2087" y="323"/>
                    <a:pt x="2087" y="323"/>
                    <a:pt x="2087" y="323"/>
                  </a:cubicBezTo>
                  <a:cubicBezTo>
                    <a:pt x="2087" y="340"/>
                    <a:pt x="2087" y="340"/>
                    <a:pt x="2087" y="340"/>
                  </a:cubicBezTo>
                  <a:cubicBezTo>
                    <a:pt x="2076" y="340"/>
                    <a:pt x="2076" y="340"/>
                    <a:pt x="2076" y="340"/>
                  </a:cubicBezTo>
                  <a:cubicBezTo>
                    <a:pt x="2076" y="320"/>
                    <a:pt x="2076" y="320"/>
                    <a:pt x="2076" y="320"/>
                  </a:cubicBezTo>
                  <a:cubicBezTo>
                    <a:pt x="2074" y="320"/>
                    <a:pt x="2074" y="320"/>
                    <a:pt x="2074" y="320"/>
                  </a:cubicBezTo>
                  <a:cubicBezTo>
                    <a:pt x="2074" y="341"/>
                    <a:pt x="2074" y="341"/>
                    <a:pt x="2074" y="341"/>
                  </a:cubicBezTo>
                  <a:cubicBezTo>
                    <a:pt x="2070" y="341"/>
                    <a:pt x="2070" y="341"/>
                    <a:pt x="2070" y="341"/>
                  </a:cubicBezTo>
                  <a:cubicBezTo>
                    <a:pt x="2070" y="320"/>
                    <a:pt x="2070" y="320"/>
                    <a:pt x="2070" y="320"/>
                  </a:cubicBezTo>
                  <a:cubicBezTo>
                    <a:pt x="2068" y="320"/>
                    <a:pt x="2068" y="320"/>
                    <a:pt x="2068" y="320"/>
                  </a:cubicBezTo>
                  <a:cubicBezTo>
                    <a:pt x="2068" y="332"/>
                    <a:pt x="2068" y="332"/>
                    <a:pt x="2068" y="332"/>
                  </a:cubicBezTo>
                  <a:cubicBezTo>
                    <a:pt x="2068" y="341"/>
                    <a:pt x="2068" y="341"/>
                    <a:pt x="2068" y="341"/>
                  </a:cubicBezTo>
                  <a:cubicBezTo>
                    <a:pt x="2060" y="341"/>
                    <a:pt x="2060" y="341"/>
                    <a:pt x="2060" y="341"/>
                  </a:cubicBezTo>
                  <a:cubicBezTo>
                    <a:pt x="2060" y="329"/>
                    <a:pt x="2060" y="329"/>
                    <a:pt x="2060" y="329"/>
                  </a:cubicBezTo>
                  <a:cubicBezTo>
                    <a:pt x="2061" y="329"/>
                    <a:pt x="2061" y="329"/>
                    <a:pt x="2061" y="329"/>
                  </a:cubicBezTo>
                  <a:cubicBezTo>
                    <a:pt x="2062" y="327"/>
                    <a:pt x="2062" y="327"/>
                    <a:pt x="2062" y="327"/>
                  </a:cubicBezTo>
                  <a:cubicBezTo>
                    <a:pt x="2059" y="327"/>
                    <a:pt x="2059" y="327"/>
                    <a:pt x="2059" y="327"/>
                  </a:cubicBezTo>
                  <a:cubicBezTo>
                    <a:pt x="2059" y="320"/>
                    <a:pt x="2059" y="320"/>
                    <a:pt x="2059" y="320"/>
                  </a:cubicBezTo>
                  <a:cubicBezTo>
                    <a:pt x="2051" y="311"/>
                    <a:pt x="2051" y="311"/>
                    <a:pt x="2051" y="311"/>
                  </a:cubicBezTo>
                  <a:cubicBezTo>
                    <a:pt x="2051" y="299"/>
                    <a:pt x="2051" y="299"/>
                    <a:pt x="2051" y="299"/>
                  </a:cubicBezTo>
                  <a:cubicBezTo>
                    <a:pt x="2054" y="299"/>
                    <a:pt x="2054" y="299"/>
                    <a:pt x="2054" y="299"/>
                  </a:cubicBezTo>
                  <a:cubicBezTo>
                    <a:pt x="2054" y="296"/>
                    <a:pt x="2054" y="296"/>
                    <a:pt x="2054" y="296"/>
                  </a:cubicBezTo>
                  <a:cubicBezTo>
                    <a:pt x="2050" y="296"/>
                    <a:pt x="2050" y="296"/>
                    <a:pt x="2050" y="296"/>
                  </a:cubicBezTo>
                  <a:cubicBezTo>
                    <a:pt x="2050" y="287"/>
                    <a:pt x="2050" y="287"/>
                    <a:pt x="2050" y="287"/>
                  </a:cubicBezTo>
                  <a:cubicBezTo>
                    <a:pt x="2041" y="279"/>
                    <a:pt x="2041" y="279"/>
                    <a:pt x="2041" y="279"/>
                  </a:cubicBezTo>
                  <a:cubicBezTo>
                    <a:pt x="2044" y="276"/>
                    <a:pt x="2044" y="276"/>
                    <a:pt x="2044" y="276"/>
                  </a:cubicBezTo>
                  <a:cubicBezTo>
                    <a:pt x="2040" y="276"/>
                    <a:pt x="2040" y="276"/>
                    <a:pt x="2040" y="276"/>
                  </a:cubicBezTo>
                  <a:cubicBezTo>
                    <a:pt x="2040" y="269"/>
                    <a:pt x="2040" y="269"/>
                    <a:pt x="2040" y="269"/>
                  </a:cubicBezTo>
                  <a:cubicBezTo>
                    <a:pt x="2046" y="266"/>
                    <a:pt x="2050" y="260"/>
                    <a:pt x="2043" y="254"/>
                  </a:cubicBezTo>
                  <a:cubicBezTo>
                    <a:pt x="2035" y="248"/>
                    <a:pt x="2035" y="234"/>
                    <a:pt x="2035" y="233"/>
                  </a:cubicBezTo>
                  <a:cubicBezTo>
                    <a:pt x="2035" y="232"/>
                    <a:pt x="2036" y="232"/>
                    <a:pt x="2036" y="231"/>
                  </a:cubicBezTo>
                  <a:cubicBezTo>
                    <a:pt x="2036" y="229"/>
                    <a:pt x="2035" y="228"/>
                    <a:pt x="2034" y="228"/>
                  </a:cubicBezTo>
                  <a:cubicBezTo>
                    <a:pt x="2036" y="226"/>
                    <a:pt x="2036" y="226"/>
                    <a:pt x="2036" y="226"/>
                  </a:cubicBezTo>
                  <a:cubicBezTo>
                    <a:pt x="2033" y="223"/>
                    <a:pt x="2033" y="223"/>
                    <a:pt x="2033" y="223"/>
                  </a:cubicBezTo>
                  <a:cubicBezTo>
                    <a:pt x="2033" y="212"/>
                    <a:pt x="2033" y="212"/>
                    <a:pt x="2033" y="212"/>
                  </a:cubicBezTo>
                  <a:cubicBezTo>
                    <a:pt x="2037" y="212"/>
                    <a:pt x="2037" y="212"/>
                    <a:pt x="2037" y="212"/>
                  </a:cubicBezTo>
                  <a:cubicBezTo>
                    <a:pt x="2037" y="211"/>
                    <a:pt x="2037" y="211"/>
                    <a:pt x="2037" y="211"/>
                  </a:cubicBezTo>
                  <a:cubicBezTo>
                    <a:pt x="2033" y="211"/>
                    <a:pt x="2033" y="211"/>
                    <a:pt x="2033" y="211"/>
                  </a:cubicBezTo>
                  <a:cubicBezTo>
                    <a:pt x="2033" y="203"/>
                    <a:pt x="2033" y="203"/>
                    <a:pt x="2033" y="203"/>
                  </a:cubicBezTo>
                  <a:cubicBezTo>
                    <a:pt x="2031" y="203"/>
                    <a:pt x="2031" y="203"/>
                    <a:pt x="2031" y="203"/>
                  </a:cubicBezTo>
                  <a:cubicBezTo>
                    <a:pt x="2031" y="211"/>
                    <a:pt x="2031" y="211"/>
                    <a:pt x="2031" y="211"/>
                  </a:cubicBezTo>
                  <a:cubicBezTo>
                    <a:pt x="2028" y="211"/>
                    <a:pt x="2028" y="211"/>
                    <a:pt x="2028" y="211"/>
                  </a:cubicBezTo>
                  <a:cubicBezTo>
                    <a:pt x="2028" y="213"/>
                    <a:pt x="2028" y="213"/>
                    <a:pt x="2028" y="213"/>
                  </a:cubicBezTo>
                  <a:cubicBezTo>
                    <a:pt x="2031" y="213"/>
                    <a:pt x="2031" y="213"/>
                    <a:pt x="2031" y="213"/>
                  </a:cubicBezTo>
                  <a:cubicBezTo>
                    <a:pt x="2031" y="223"/>
                    <a:pt x="2031" y="223"/>
                    <a:pt x="2031" y="223"/>
                  </a:cubicBezTo>
                  <a:cubicBezTo>
                    <a:pt x="2029" y="226"/>
                    <a:pt x="2029" y="226"/>
                    <a:pt x="2029" y="226"/>
                  </a:cubicBezTo>
                  <a:cubicBezTo>
                    <a:pt x="2031" y="227"/>
                    <a:pt x="2031" y="227"/>
                    <a:pt x="2031" y="227"/>
                  </a:cubicBezTo>
                  <a:cubicBezTo>
                    <a:pt x="2031" y="227"/>
                    <a:pt x="2031" y="228"/>
                    <a:pt x="2031" y="228"/>
                  </a:cubicBezTo>
                  <a:cubicBezTo>
                    <a:pt x="2030" y="228"/>
                    <a:pt x="2029" y="229"/>
                    <a:pt x="2029" y="231"/>
                  </a:cubicBezTo>
                  <a:cubicBezTo>
                    <a:pt x="2029" y="232"/>
                    <a:pt x="2030" y="233"/>
                    <a:pt x="2032" y="234"/>
                  </a:cubicBezTo>
                  <a:cubicBezTo>
                    <a:pt x="2032" y="234"/>
                    <a:pt x="2032" y="234"/>
                    <a:pt x="2032" y="234"/>
                  </a:cubicBezTo>
                  <a:cubicBezTo>
                    <a:pt x="2032" y="234"/>
                    <a:pt x="2034" y="244"/>
                    <a:pt x="2023" y="253"/>
                  </a:cubicBezTo>
                  <a:cubicBezTo>
                    <a:pt x="2012" y="262"/>
                    <a:pt x="2023" y="266"/>
                    <a:pt x="2023" y="266"/>
                  </a:cubicBezTo>
                  <a:cubicBezTo>
                    <a:pt x="2023" y="277"/>
                    <a:pt x="2023" y="277"/>
                    <a:pt x="2023" y="277"/>
                  </a:cubicBezTo>
                  <a:cubicBezTo>
                    <a:pt x="2019" y="277"/>
                    <a:pt x="2019" y="277"/>
                    <a:pt x="2019" y="277"/>
                  </a:cubicBezTo>
                  <a:cubicBezTo>
                    <a:pt x="2021" y="279"/>
                    <a:pt x="2021" y="279"/>
                    <a:pt x="2021" y="279"/>
                  </a:cubicBezTo>
                  <a:cubicBezTo>
                    <a:pt x="2013" y="285"/>
                    <a:pt x="2013" y="285"/>
                    <a:pt x="2013" y="285"/>
                  </a:cubicBezTo>
                  <a:cubicBezTo>
                    <a:pt x="2013" y="285"/>
                    <a:pt x="2014" y="296"/>
                    <a:pt x="2013" y="297"/>
                  </a:cubicBezTo>
                  <a:cubicBezTo>
                    <a:pt x="2013" y="297"/>
                    <a:pt x="2009" y="297"/>
                    <a:pt x="2009" y="297"/>
                  </a:cubicBezTo>
                  <a:cubicBezTo>
                    <a:pt x="2009" y="300"/>
                    <a:pt x="2009" y="300"/>
                    <a:pt x="2009" y="300"/>
                  </a:cubicBezTo>
                  <a:cubicBezTo>
                    <a:pt x="2012" y="300"/>
                    <a:pt x="2012" y="300"/>
                    <a:pt x="2012" y="300"/>
                  </a:cubicBezTo>
                  <a:cubicBezTo>
                    <a:pt x="2002" y="326"/>
                    <a:pt x="2002" y="326"/>
                    <a:pt x="2002" y="326"/>
                  </a:cubicBezTo>
                  <a:cubicBezTo>
                    <a:pt x="2002" y="341"/>
                    <a:pt x="2002" y="341"/>
                    <a:pt x="2002" y="341"/>
                  </a:cubicBezTo>
                  <a:cubicBezTo>
                    <a:pt x="1996" y="341"/>
                    <a:pt x="1996" y="341"/>
                    <a:pt x="1996" y="341"/>
                  </a:cubicBezTo>
                  <a:cubicBezTo>
                    <a:pt x="1996" y="332"/>
                    <a:pt x="1996" y="332"/>
                    <a:pt x="1996" y="332"/>
                  </a:cubicBezTo>
                  <a:cubicBezTo>
                    <a:pt x="1997" y="332"/>
                    <a:pt x="1997" y="332"/>
                    <a:pt x="1997" y="332"/>
                  </a:cubicBezTo>
                  <a:cubicBezTo>
                    <a:pt x="1997" y="329"/>
                    <a:pt x="1997" y="329"/>
                    <a:pt x="1997" y="329"/>
                  </a:cubicBezTo>
                  <a:cubicBezTo>
                    <a:pt x="1995" y="320"/>
                    <a:pt x="1995" y="320"/>
                    <a:pt x="1995" y="320"/>
                  </a:cubicBezTo>
                  <a:cubicBezTo>
                    <a:pt x="1995" y="330"/>
                    <a:pt x="1995" y="330"/>
                    <a:pt x="1995" y="330"/>
                  </a:cubicBezTo>
                  <a:cubicBezTo>
                    <a:pt x="1992" y="330"/>
                    <a:pt x="1992" y="330"/>
                    <a:pt x="1992" y="330"/>
                  </a:cubicBezTo>
                  <a:cubicBezTo>
                    <a:pt x="1994" y="331"/>
                    <a:pt x="1994" y="331"/>
                    <a:pt x="1994" y="331"/>
                  </a:cubicBezTo>
                  <a:cubicBezTo>
                    <a:pt x="1994" y="343"/>
                    <a:pt x="1994" y="343"/>
                    <a:pt x="1994" y="343"/>
                  </a:cubicBezTo>
                  <a:cubicBezTo>
                    <a:pt x="1990" y="343"/>
                    <a:pt x="1990" y="343"/>
                    <a:pt x="1990" y="343"/>
                  </a:cubicBezTo>
                  <a:cubicBezTo>
                    <a:pt x="1992" y="345"/>
                    <a:pt x="1992" y="345"/>
                    <a:pt x="1992" y="345"/>
                  </a:cubicBezTo>
                  <a:cubicBezTo>
                    <a:pt x="1992" y="359"/>
                    <a:pt x="1992" y="359"/>
                    <a:pt x="1992" y="359"/>
                  </a:cubicBezTo>
                  <a:cubicBezTo>
                    <a:pt x="1987" y="359"/>
                    <a:pt x="1987" y="359"/>
                    <a:pt x="1987" y="359"/>
                  </a:cubicBezTo>
                  <a:cubicBezTo>
                    <a:pt x="1992" y="364"/>
                    <a:pt x="1992" y="364"/>
                    <a:pt x="1992" y="364"/>
                  </a:cubicBezTo>
                  <a:cubicBezTo>
                    <a:pt x="1992" y="385"/>
                    <a:pt x="1992" y="385"/>
                    <a:pt x="1992" y="385"/>
                  </a:cubicBezTo>
                  <a:cubicBezTo>
                    <a:pt x="1909" y="385"/>
                    <a:pt x="1909" y="385"/>
                    <a:pt x="1909" y="385"/>
                  </a:cubicBezTo>
                  <a:cubicBezTo>
                    <a:pt x="1909" y="383"/>
                    <a:pt x="1909" y="383"/>
                    <a:pt x="1909" y="383"/>
                  </a:cubicBezTo>
                  <a:cubicBezTo>
                    <a:pt x="1902" y="375"/>
                    <a:pt x="1902" y="375"/>
                    <a:pt x="1902" y="375"/>
                  </a:cubicBezTo>
                  <a:cubicBezTo>
                    <a:pt x="1902" y="367"/>
                    <a:pt x="1902" y="367"/>
                    <a:pt x="1902" y="367"/>
                  </a:cubicBezTo>
                  <a:cubicBezTo>
                    <a:pt x="1905" y="367"/>
                    <a:pt x="1905" y="367"/>
                    <a:pt x="1905" y="367"/>
                  </a:cubicBezTo>
                  <a:cubicBezTo>
                    <a:pt x="1905" y="367"/>
                    <a:pt x="1905" y="367"/>
                    <a:pt x="1905" y="367"/>
                  </a:cubicBezTo>
                  <a:cubicBezTo>
                    <a:pt x="1902" y="367"/>
                    <a:pt x="1902" y="367"/>
                    <a:pt x="1902" y="367"/>
                  </a:cubicBezTo>
                  <a:cubicBezTo>
                    <a:pt x="1902" y="357"/>
                    <a:pt x="1902" y="357"/>
                    <a:pt x="1902" y="357"/>
                  </a:cubicBezTo>
                  <a:cubicBezTo>
                    <a:pt x="1901" y="357"/>
                    <a:pt x="1901" y="357"/>
                    <a:pt x="1901" y="357"/>
                  </a:cubicBezTo>
                  <a:cubicBezTo>
                    <a:pt x="1901" y="367"/>
                    <a:pt x="1901" y="367"/>
                    <a:pt x="1901" y="367"/>
                  </a:cubicBezTo>
                  <a:cubicBezTo>
                    <a:pt x="1897" y="367"/>
                    <a:pt x="1897" y="367"/>
                    <a:pt x="1897" y="367"/>
                  </a:cubicBezTo>
                  <a:cubicBezTo>
                    <a:pt x="1897" y="368"/>
                    <a:pt x="1897" y="368"/>
                    <a:pt x="1897" y="368"/>
                  </a:cubicBezTo>
                  <a:cubicBezTo>
                    <a:pt x="1901" y="368"/>
                    <a:pt x="1901" y="368"/>
                    <a:pt x="1901" y="368"/>
                  </a:cubicBezTo>
                  <a:cubicBezTo>
                    <a:pt x="1901" y="376"/>
                    <a:pt x="1901" y="376"/>
                    <a:pt x="1901" y="376"/>
                  </a:cubicBezTo>
                  <a:cubicBezTo>
                    <a:pt x="1892" y="376"/>
                    <a:pt x="1892" y="376"/>
                    <a:pt x="1892" y="376"/>
                  </a:cubicBezTo>
                  <a:cubicBezTo>
                    <a:pt x="1892" y="302"/>
                    <a:pt x="1892" y="302"/>
                    <a:pt x="1892" y="302"/>
                  </a:cubicBezTo>
                  <a:cubicBezTo>
                    <a:pt x="1901" y="293"/>
                    <a:pt x="1901" y="293"/>
                    <a:pt x="1901" y="293"/>
                  </a:cubicBezTo>
                  <a:cubicBezTo>
                    <a:pt x="1894" y="293"/>
                    <a:pt x="1894" y="293"/>
                    <a:pt x="1894" y="293"/>
                  </a:cubicBezTo>
                  <a:cubicBezTo>
                    <a:pt x="1894" y="274"/>
                    <a:pt x="1894" y="274"/>
                    <a:pt x="1894" y="274"/>
                  </a:cubicBezTo>
                  <a:cubicBezTo>
                    <a:pt x="1897" y="271"/>
                    <a:pt x="1897" y="271"/>
                    <a:pt x="1897" y="271"/>
                  </a:cubicBezTo>
                  <a:cubicBezTo>
                    <a:pt x="1895" y="269"/>
                    <a:pt x="1895" y="269"/>
                    <a:pt x="1895" y="269"/>
                  </a:cubicBezTo>
                  <a:cubicBezTo>
                    <a:pt x="1889" y="229"/>
                    <a:pt x="1856" y="206"/>
                    <a:pt x="1856" y="206"/>
                  </a:cubicBezTo>
                  <a:cubicBezTo>
                    <a:pt x="1856" y="201"/>
                    <a:pt x="1856" y="201"/>
                    <a:pt x="1856" y="201"/>
                  </a:cubicBezTo>
                  <a:cubicBezTo>
                    <a:pt x="1852" y="201"/>
                    <a:pt x="1852" y="201"/>
                    <a:pt x="1852" y="201"/>
                  </a:cubicBezTo>
                  <a:cubicBezTo>
                    <a:pt x="1852" y="189"/>
                    <a:pt x="1852" y="189"/>
                    <a:pt x="1852" y="189"/>
                  </a:cubicBezTo>
                  <a:cubicBezTo>
                    <a:pt x="1848" y="189"/>
                    <a:pt x="1848" y="189"/>
                    <a:pt x="1848" y="189"/>
                  </a:cubicBezTo>
                  <a:cubicBezTo>
                    <a:pt x="1848" y="161"/>
                    <a:pt x="1848" y="161"/>
                    <a:pt x="1848" y="161"/>
                  </a:cubicBezTo>
                  <a:cubicBezTo>
                    <a:pt x="1852" y="161"/>
                    <a:pt x="1852" y="161"/>
                    <a:pt x="1852" y="161"/>
                  </a:cubicBezTo>
                  <a:cubicBezTo>
                    <a:pt x="1852" y="158"/>
                    <a:pt x="1852" y="158"/>
                    <a:pt x="1852" y="158"/>
                  </a:cubicBezTo>
                  <a:cubicBezTo>
                    <a:pt x="1848" y="158"/>
                    <a:pt x="1848" y="158"/>
                    <a:pt x="1848" y="158"/>
                  </a:cubicBezTo>
                  <a:cubicBezTo>
                    <a:pt x="1844" y="150"/>
                    <a:pt x="1835" y="145"/>
                    <a:pt x="1835" y="145"/>
                  </a:cubicBezTo>
                  <a:cubicBezTo>
                    <a:pt x="1833" y="143"/>
                    <a:pt x="1833" y="143"/>
                    <a:pt x="1833" y="143"/>
                  </a:cubicBezTo>
                  <a:cubicBezTo>
                    <a:pt x="1833" y="136"/>
                    <a:pt x="1833" y="136"/>
                    <a:pt x="1833" y="136"/>
                  </a:cubicBezTo>
                  <a:cubicBezTo>
                    <a:pt x="1838" y="136"/>
                    <a:pt x="1838" y="136"/>
                    <a:pt x="1838" y="136"/>
                  </a:cubicBezTo>
                  <a:cubicBezTo>
                    <a:pt x="1833" y="132"/>
                    <a:pt x="1833" y="132"/>
                    <a:pt x="1833" y="132"/>
                  </a:cubicBezTo>
                  <a:cubicBezTo>
                    <a:pt x="1833" y="113"/>
                    <a:pt x="1833" y="113"/>
                    <a:pt x="1833" y="113"/>
                  </a:cubicBezTo>
                  <a:cubicBezTo>
                    <a:pt x="1838" y="113"/>
                    <a:pt x="1838" y="113"/>
                    <a:pt x="1838" y="113"/>
                  </a:cubicBezTo>
                  <a:cubicBezTo>
                    <a:pt x="1838" y="112"/>
                    <a:pt x="1838" y="112"/>
                    <a:pt x="1838" y="112"/>
                  </a:cubicBezTo>
                  <a:cubicBezTo>
                    <a:pt x="1833" y="112"/>
                    <a:pt x="1833" y="112"/>
                    <a:pt x="1833" y="112"/>
                  </a:cubicBezTo>
                  <a:cubicBezTo>
                    <a:pt x="1833" y="101"/>
                    <a:pt x="1833" y="101"/>
                    <a:pt x="1833" y="101"/>
                  </a:cubicBezTo>
                  <a:cubicBezTo>
                    <a:pt x="1831" y="101"/>
                    <a:pt x="1831" y="101"/>
                    <a:pt x="1831" y="101"/>
                  </a:cubicBezTo>
                  <a:cubicBezTo>
                    <a:pt x="1831" y="112"/>
                    <a:pt x="1831" y="112"/>
                    <a:pt x="1831" y="112"/>
                  </a:cubicBezTo>
                  <a:cubicBezTo>
                    <a:pt x="1825" y="112"/>
                    <a:pt x="1825" y="112"/>
                    <a:pt x="1825" y="112"/>
                  </a:cubicBezTo>
                  <a:cubicBezTo>
                    <a:pt x="1825" y="114"/>
                    <a:pt x="1825" y="114"/>
                    <a:pt x="1825" y="114"/>
                  </a:cubicBezTo>
                  <a:cubicBezTo>
                    <a:pt x="1831" y="114"/>
                    <a:pt x="1831" y="114"/>
                    <a:pt x="1831" y="114"/>
                  </a:cubicBezTo>
                  <a:cubicBezTo>
                    <a:pt x="1831" y="134"/>
                    <a:pt x="1831" y="134"/>
                    <a:pt x="1831" y="134"/>
                  </a:cubicBezTo>
                  <a:cubicBezTo>
                    <a:pt x="1828" y="137"/>
                    <a:pt x="1828" y="137"/>
                    <a:pt x="1828" y="137"/>
                  </a:cubicBezTo>
                  <a:cubicBezTo>
                    <a:pt x="1831" y="137"/>
                    <a:pt x="1831" y="137"/>
                    <a:pt x="1831" y="137"/>
                  </a:cubicBezTo>
                  <a:cubicBezTo>
                    <a:pt x="1831" y="142"/>
                    <a:pt x="1831" y="142"/>
                    <a:pt x="1831" y="142"/>
                  </a:cubicBezTo>
                  <a:cubicBezTo>
                    <a:pt x="1828" y="145"/>
                    <a:pt x="1828" y="145"/>
                    <a:pt x="1828" y="145"/>
                  </a:cubicBezTo>
                  <a:cubicBezTo>
                    <a:pt x="1820" y="149"/>
                    <a:pt x="1818" y="159"/>
                    <a:pt x="1818" y="159"/>
                  </a:cubicBezTo>
                  <a:cubicBezTo>
                    <a:pt x="1815" y="159"/>
                    <a:pt x="1815" y="159"/>
                    <a:pt x="1815" y="159"/>
                  </a:cubicBezTo>
                  <a:cubicBezTo>
                    <a:pt x="1815" y="161"/>
                    <a:pt x="1815" y="161"/>
                    <a:pt x="1815" y="161"/>
                  </a:cubicBezTo>
                  <a:cubicBezTo>
                    <a:pt x="1815" y="191"/>
                    <a:pt x="1815" y="191"/>
                    <a:pt x="1815" y="191"/>
                  </a:cubicBezTo>
                  <a:cubicBezTo>
                    <a:pt x="1812" y="191"/>
                    <a:pt x="1812" y="191"/>
                    <a:pt x="1812" y="191"/>
                  </a:cubicBezTo>
                  <a:cubicBezTo>
                    <a:pt x="1812" y="205"/>
                    <a:pt x="1812" y="205"/>
                    <a:pt x="1812" y="205"/>
                  </a:cubicBezTo>
                  <a:cubicBezTo>
                    <a:pt x="1771" y="225"/>
                    <a:pt x="1768" y="272"/>
                    <a:pt x="1768" y="272"/>
                  </a:cubicBezTo>
                  <a:cubicBezTo>
                    <a:pt x="1765" y="272"/>
                    <a:pt x="1765" y="272"/>
                    <a:pt x="1765" y="272"/>
                  </a:cubicBezTo>
                  <a:cubicBezTo>
                    <a:pt x="1768" y="275"/>
                    <a:pt x="1768" y="275"/>
                    <a:pt x="1768" y="275"/>
                  </a:cubicBezTo>
                  <a:cubicBezTo>
                    <a:pt x="1768" y="292"/>
                    <a:pt x="1768" y="292"/>
                    <a:pt x="1768" y="292"/>
                  </a:cubicBezTo>
                  <a:cubicBezTo>
                    <a:pt x="1763" y="292"/>
                    <a:pt x="1763" y="292"/>
                    <a:pt x="1763" y="292"/>
                  </a:cubicBezTo>
                  <a:cubicBezTo>
                    <a:pt x="1768" y="297"/>
                    <a:pt x="1768" y="297"/>
                    <a:pt x="1768" y="297"/>
                  </a:cubicBezTo>
                  <a:cubicBezTo>
                    <a:pt x="1768" y="383"/>
                    <a:pt x="1768" y="383"/>
                    <a:pt x="1768" y="383"/>
                  </a:cubicBezTo>
                  <a:cubicBezTo>
                    <a:pt x="1738" y="383"/>
                    <a:pt x="1738" y="383"/>
                    <a:pt x="1738" y="383"/>
                  </a:cubicBezTo>
                  <a:cubicBezTo>
                    <a:pt x="1726" y="400"/>
                    <a:pt x="1726" y="400"/>
                    <a:pt x="1726" y="400"/>
                  </a:cubicBezTo>
                  <a:cubicBezTo>
                    <a:pt x="1726" y="319"/>
                    <a:pt x="1726" y="319"/>
                    <a:pt x="1726" y="319"/>
                  </a:cubicBezTo>
                  <a:cubicBezTo>
                    <a:pt x="1709" y="319"/>
                    <a:pt x="1709" y="319"/>
                    <a:pt x="1709" y="319"/>
                  </a:cubicBezTo>
                  <a:cubicBezTo>
                    <a:pt x="1709" y="281"/>
                    <a:pt x="1709" y="281"/>
                    <a:pt x="1709" y="281"/>
                  </a:cubicBezTo>
                  <a:cubicBezTo>
                    <a:pt x="1692" y="267"/>
                    <a:pt x="1677" y="281"/>
                    <a:pt x="1677" y="281"/>
                  </a:cubicBezTo>
                  <a:cubicBezTo>
                    <a:pt x="1677" y="319"/>
                    <a:pt x="1677" y="319"/>
                    <a:pt x="1677" y="319"/>
                  </a:cubicBezTo>
                  <a:cubicBezTo>
                    <a:pt x="1660" y="319"/>
                    <a:pt x="1660" y="319"/>
                    <a:pt x="1660" y="319"/>
                  </a:cubicBezTo>
                  <a:cubicBezTo>
                    <a:pt x="1660" y="378"/>
                    <a:pt x="1660" y="378"/>
                    <a:pt x="1660" y="378"/>
                  </a:cubicBezTo>
                  <a:cubicBezTo>
                    <a:pt x="1655" y="378"/>
                    <a:pt x="1655" y="378"/>
                    <a:pt x="1655" y="378"/>
                  </a:cubicBezTo>
                  <a:cubicBezTo>
                    <a:pt x="1632" y="331"/>
                    <a:pt x="1632" y="331"/>
                    <a:pt x="1632" y="331"/>
                  </a:cubicBezTo>
                  <a:cubicBezTo>
                    <a:pt x="1609" y="377"/>
                    <a:pt x="1609" y="377"/>
                    <a:pt x="1609" y="377"/>
                  </a:cubicBezTo>
                  <a:cubicBezTo>
                    <a:pt x="1606" y="377"/>
                    <a:pt x="1606" y="377"/>
                    <a:pt x="1606" y="377"/>
                  </a:cubicBezTo>
                  <a:cubicBezTo>
                    <a:pt x="1606" y="357"/>
                    <a:pt x="1606" y="357"/>
                    <a:pt x="1606" y="357"/>
                  </a:cubicBezTo>
                  <a:cubicBezTo>
                    <a:pt x="1598" y="357"/>
                    <a:pt x="1598" y="357"/>
                    <a:pt x="1598" y="357"/>
                  </a:cubicBezTo>
                  <a:cubicBezTo>
                    <a:pt x="1571" y="328"/>
                    <a:pt x="1571" y="328"/>
                    <a:pt x="1571" y="328"/>
                  </a:cubicBezTo>
                  <a:cubicBezTo>
                    <a:pt x="1571" y="322"/>
                    <a:pt x="1571" y="322"/>
                    <a:pt x="1571" y="322"/>
                  </a:cubicBezTo>
                  <a:cubicBezTo>
                    <a:pt x="1566" y="322"/>
                    <a:pt x="1566" y="322"/>
                    <a:pt x="1566" y="322"/>
                  </a:cubicBezTo>
                  <a:cubicBezTo>
                    <a:pt x="1566" y="328"/>
                    <a:pt x="1566" y="328"/>
                    <a:pt x="1566" y="328"/>
                  </a:cubicBezTo>
                  <a:cubicBezTo>
                    <a:pt x="1535" y="360"/>
                    <a:pt x="1535" y="360"/>
                    <a:pt x="1535" y="360"/>
                  </a:cubicBezTo>
                  <a:cubicBezTo>
                    <a:pt x="1535" y="315"/>
                    <a:pt x="1535" y="315"/>
                    <a:pt x="1535" y="315"/>
                  </a:cubicBezTo>
                  <a:cubicBezTo>
                    <a:pt x="1532" y="313"/>
                    <a:pt x="1532" y="313"/>
                    <a:pt x="1532" y="313"/>
                  </a:cubicBezTo>
                  <a:cubicBezTo>
                    <a:pt x="1532" y="297"/>
                    <a:pt x="1532" y="297"/>
                    <a:pt x="1532" y="297"/>
                  </a:cubicBezTo>
                  <a:cubicBezTo>
                    <a:pt x="1510" y="297"/>
                    <a:pt x="1510" y="297"/>
                    <a:pt x="1510" y="297"/>
                  </a:cubicBezTo>
                  <a:cubicBezTo>
                    <a:pt x="1510" y="297"/>
                    <a:pt x="1507" y="286"/>
                    <a:pt x="1495" y="285"/>
                  </a:cubicBezTo>
                  <a:cubicBezTo>
                    <a:pt x="1483" y="284"/>
                    <a:pt x="1481" y="298"/>
                    <a:pt x="1481" y="298"/>
                  </a:cubicBezTo>
                  <a:cubicBezTo>
                    <a:pt x="1457" y="298"/>
                    <a:pt x="1457" y="298"/>
                    <a:pt x="1457" y="298"/>
                  </a:cubicBezTo>
                  <a:cubicBezTo>
                    <a:pt x="1457" y="315"/>
                    <a:pt x="1457" y="315"/>
                    <a:pt x="1457" y="315"/>
                  </a:cubicBezTo>
                  <a:cubicBezTo>
                    <a:pt x="1455" y="317"/>
                    <a:pt x="1455" y="317"/>
                    <a:pt x="1455" y="317"/>
                  </a:cubicBezTo>
                  <a:cubicBezTo>
                    <a:pt x="1455" y="345"/>
                    <a:pt x="1455" y="345"/>
                    <a:pt x="1455" y="345"/>
                  </a:cubicBezTo>
                  <a:cubicBezTo>
                    <a:pt x="1450" y="345"/>
                    <a:pt x="1450" y="345"/>
                    <a:pt x="1450" y="345"/>
                  </a:cubicBezTo>
                  <a:cubicBezTo>
                    <a:pt x="1432" y="313"/>
                    <a:pt x="1432" y="313"/>
                    <a:pt x="1432" y="313"/>
                  </a:cubicBezTo>
                  <a:cubicBezTo>
                    <a:pt x="1432" y="300"/>
                    <a:pt x="1432" y="300"/>
                    <a:pt x="1432" y="300"/>
                  </a:cubicBezTo>
                  <a:cubicBezTo>
                    <a:pt x="1435" y="303"/>
                    <a:pt x="1438" y="293"/>
                    <a:pt x="1421" y="294"/>
                  </a:cubicBezTo>
                  <a:cubicBezTo>
                    <a:pt x="1405" y="294"/>
                    <a:pt x="1411" y="303"/>
                    <a:pt x="1411" y="303"/>
                  </a:cubicBezTo>
                  <a:cubicBezTo>
                    <a:pt x="1411" y="315"/>
                    <a:pt x="1411" y="315"/>
                    <a:pt x="1411" y="315"/>
                  </a:cubicBezTo>
                  <a:cubicBezTo>
                    <a:pt x="1396" y="338"/>
                    <a:pt x="1396" y="338"/>
                    <a:pt x="1396" y="338"/>
                  </a:cubicBezTo>
                  <a:cubicBezTo>
                    <a:pt x="1394" y="336"/>
                    <a:pt x="1394" y="336"/>
                    <a:pt x="1394" y="336"/>
                  </a:cubicBezTo>
                  <a:cubicBezTo>
                    <a:pt x="1394" y="331"/>
                    <a:pt x="1394" y="331"/>
                    <a:pt x="1394" y="331"/>
                  </a:cubicBezTo>
                  <a:cubicBezTo>
                    <a:pt x="1391" y="331"/>
                    <a:pt x="1391" y="331"/>
                    <a:pt x="1391" y="331"/>
                  </a:cubicBezTo>
                  <a:cubicBezTo>
                    <a:pt x="1391" y="336"/>
                    <a:pt x="1391" y="336"/>
                    <a:pt x="1391" y="336"/>
                  </a:cubicBezTo>
                  <a:cubicBezTo>
                    <a:pt x="1382" y="344"/>
                    <a:pt x="1382" y="344"/>
                    <a:pt x="1382" y="344"/>
                  </a:cubicBezTo>
                  <a:cubicBezTo>
                    <a:pt x="1360" y="313"/>
                    <a:pt x="1360" y="313"/>
                    <a:pt x="1360" y="313"/>
                  </a:cubicBezTo>
                  <a:cubicBezTo>
                    <a:pt x="1360" y="301"/>
                    <a:pt x="1360" y="301"/>
                    <a:pt x="1360" y="301"/>
                  </a:cubicBezTo>
                  <a:cubicBezTo>
                    <a:pt x="1362" y="299"/>
                    <a:pt x="1362" y="299"/>
                    <a:pt x="1362" y="299"/>
                  </a:cubicBezTo>
                  <a:cubicBezTo>
                    <a:pt x="1353" y="293"/>
                    <a:pt x="1345" y="299"/>
                    <a:pt x="1345" y="299"/>
                  </a:cubicBezTo>
                  <a:cubicBezTo>
                    <a:pt x="1347" y="301"/>
                    <a:pt x="1347" y="301"/>
                    <a:pt x="1347" y="301"/>
                  </a:cubicBezTo>
                  <a:cubicBezTo>
                    <a:pt x="1347" y="313"/>
                    <a:pt x="1347" y="313"/>
                    <a:pt x="1347" y="313"/>
                  </a:cubicBezTo>
                  <a:cubicBezTo>
                    <a:pt x="1326" y="347"/>
                    <a:pt x="1326" y="347"/>
                    <a:pt x="1326" y="347"/>
                  </a:cubicBezTo>
                  <a:cubicBezTo>
                    <a:pt x="1319" y="347"/>
                    <a:pt x="1319" y="347"/>
                    <a:pt x="1319" y="347"/>
                  </a:cubicBezTo>
                  <a:cubicBezTo>
                    <a:pt x="1321" y="345"/>
                    <a:pt x="1321" y="345"/>
                    <a:pt x="1321" y="345"/>
                  </a:cubicBezTo>
                  <a:cubicBezTo>
                    <a:pt x="1321" y="342"/>
                    <a:pt x="1321" y="342"/>
                    <a:pt x="1321" y="342"/>
                  </a:cubicBezTo>
                  <a:cubicBezTo>
                    <a:pt x="1319" y="344"/>
                    <a:pt x="1319" y="344"/>
                    <a:pt x="1319" y="344"/>
                  </a:cubicBezTo>
                  <a:cubicBezTo>
                    <a:pt x="1316" y="344"/>
                    <a:pt x="1316" y="344"/>
                    <a:pt x="1316" y="344"/>
                  </a:cubicBezTo>
                  <a:cubicBezTo>
                    <a:pt x="1316" y="319"/>
                    <a:pt x="1316" y="319"/>
                    <a:pt x="1316" y="319"/>
                  </a:cubicBezTo>
                  <a:cubicBezTo>
                    <a:pt x="1311" y="319"/>
                    <a:pt x="1311" y="319"/>
                    <a:pt x="1311" y="319"/>
                  </a:cubicBezTo>
                  <a:cubicBezTo>
                    <a:pt x="1311" y="343"/>
                    <a:pt x="1311" y="343"/>
                    <a:pt x="1311" y="343"/>
                  </a:cubicBezTo>
                  <a:cubicBezTo>
                    <a:pt x="1301" y="343"/>
                    <a:pt x="1301" y="343"/>
                    <a:pt x="1301" y="343"/>
                  </a:cubicBezTo>
                  <a:cubicBezTo>
                    <a:pt x="1295" y="335"/>
                    <a:pt x="1295" y="335"/>
                    <a:pt x="1295" y="335"/>
                  </a:cubicBezTo>
                  <a:cubicBezTo>
                    <a:pt x="1295" y="326"/>
                    <a:pt x="1295" y="326"/>
                    <a:pt x="1295" y="326"/>
                  </a:cubicBezTo>
                  <a:cubicBezTo>
                    <a:pt x="1296" y="325"/>
                    <a:pt x="1296" y="325"/>
                    <a:pt x="1296" y="325"/>
                  </a:cubicBezTo>
                  <a:cubicBezTo>
                    <a:pt x="1290" y="320"/>
                    <a:pt x="1290" y="320"/>
                    <a:pt x="1290" y="320"/>
                  </a:cubicBezTo>
                  <a:cubicBezTo>
                    <a:pt x="1286" y="320"/>
                    <a:pt x="1286" y="320"/>
                    <a:pt x="1286" y="320"/>
                  </a:cubicBezTo>
                  <a:cubicBezTo>
                    <a:pt x="1280" y="324"/>
                    <a:pt x="1280" y="324"/>
                    <a:pt x="1280" y="324"/>
                  </a:cubicBezTo>
                  <a:cubicBezTo>
                    <a:pt x="1280" y="331"/>
                    <a:pt x="1280" y="331"/>
                    <a:pt x="1280" y="331"/>
                  </a:cubicBezTo>
                  <a:cubicBezTo>
                    <a:pt x="1273" y="331"/>
                    <a:pt x="1273" y="331"/>
                    <a:pt x="1273" y="331"/>
                  </a:cubicBezTo>
                  <a:cubicBezTo>
                    <a:pt x="1264" y="344"/>
                    <a:pt x="1264" y="344"/>
                    <a:pt x="1264" y="344"/>
                  </a:cubicBezTo>
                  <a:cubicBezTo>
                    <a:pt x="1246" y="344"/>
                    <a:pt x="1246" y="344"/>
                    <a:pt x="1246" y="344"/>
                  </a:cubicBezTo>
                  <a:cubicBezTo>
                    <a:pt x="1246" y="309"/>
                    <a:pt x="1246" y="309"/>
                    <a:pt x="1246" y="309"/>
                  </a:cubicBezTo>
                  <a:cubicBezTo>
                    <a:pt x="1237" y="309"/>
                    <a:pt x="1237" y="309"/>
                    <a:pt x="1237" y="309"/>
                  </a:cubicBezTo>
                  <a:cubicBezTo>
                    <a:pt x="1237" y="337"/>
                    <a:pt x="1237" y="337"/>
                    <a:pt x="1237" y="337"/>
                  </a:cubicBezTo>
                  <a:cubicBezTo>
                    <a:pt x="1225" y="337"/>
                    <a:pt x="1225" y="337"/>
                    <a:pt x="1225" y="337"/>
                  </a:cubicBezTo>
                  <a:cubicBezTo>
                    <a:pt x="1216" y="323"/>
                    <a:pt x="1216" y="323"/>
                    <a:pt x="1216" y="323"/>
                  </a:cubicBezTo>
                  <a:cubicBezTo>
                    <a:pt x="1204" y="337"/>
                    <a:pt x="1204" y="337"/>
                    <a:pt x="1204" y="337"/>
                  </a:cubicBezTo>
                  <a:cubicBezTo>
                    <a:pt x="1180" y="337"/>
                    <a:pt x="1180" y="337"/>
                    <a:pt x="1180" y="337"/>
                  </a:cubicBezTo>
                  <a:cubicBezTo>
                    <a:pt x="1180" y="350"/>
                    <a:pt x="1180" y="350"/>
                    <a:pt x="1180" y="350"/>
                  </a:cubicBezTo>
                  <a:cubicBezTo>
                    <a:pt x="1169" y="350"/>
                    <a:pt x="1169" y="350"/>
                    <a:pt x="1169" y="350"/>
                  </a:cubicBezTo>
                  <a:cubicBezTo>
                    <a:pt x="1156" y="324"/>
                    <a:pt x="1156" y="324"/>
                    <a:pt x="1156" y="324"/>
                  </a:cubicBezTo>
                  <a:cubicBezTo>
                    <a:pt x="1156" y="318"/>
                    <a:pt x="1156" y="318"/>
                    <a:pt x="1156" y="318"/>
                  </a:cubicBezTo>
                  <a:cubicBezTo>
                    <a:pt x="1143" y="318"/>
                    <a:pt x="1143" y="318"/>
                    <a:pt x="1143" y="318"/>
                  </a:cubicBezTo>
                  <a:cubicBezTo>
                    <a:pt x="1143" y="325"/>
                    <a:pt x="1143" y="325"/>
                    <a:pt x="1143" y="325"/>
                  </a:cubicBezTo>
                  <a:cubicBezTo>
                    <a:pt x="1130" y="349"/>
                    <a:pt x="1130" y="349"/>
                    <a:pt x="1130" y="349"/>
                  </a:cubicBezTo>
                  <a:cubicBezTo>
                    <a:pt x="1122" y="349"/>
                    <a:pt x="1122" y="349"/>
                    <a:pt x="1122" y="349"/>
                  </a:cubicBezTo>
                  <a:cubicBezTo>
                    <a:pt x="1122" y="383"/>
                    <a:pt x="1122" y="383"/>
                    <a:pt x="1122" y="383"/>
                  </a:cubicBezTo>
                  <a:cubicBezTo>
                    <a:pt x="1118" y="383"/>
                    <a:pt x="1118" y="383"/>
                    <a:pt x="1118" y="383"/>
                  </a:cubicBezTo>
                  <a:cubicBezTo>
                    <a:pt x="1115" y="380"/>
                    <a:pt x="1115" y="380"/>
                    <a:pt x="1115" y="380"/>
                  </a:cubicBezTo>
                  <a:cubicBezTo>
                    <a:pt x="1095" y="380"/>
                    <a:pt x="1095" y="380"/>
                    <a:pt x="1095" y="380"/>
                  </a:cubicBezTo>
                  <a:cubicBezTo>
                    <a:pt x="1085" y="370"/>
                    <a:pt x="1085" y="370"/>
                    <a:pt x="1085" y="370"/>
                  </a:cubicBezTo>
                  <a:cubicBezTo>
                    <a:pt x="1085" y="328"/>
                    <a:pt x="1085" y="328"/>
                    <a:pt x="1085" y="328"/>
                  </a:cubicBezTo>
                  <a:cubicBezTo>
                    <a:pt x="1079" y="294"/>
                    <a:pt x="1079" y="294"/>
                    <a:pt x="1079" y="294"/>
                  </a:cubicBezTo>
                  <a:cubicBezTo>
                    <a:pt x="1070" y="294"/>
                    <a:pt x="1070" y="294"/>
                    <a:pt x="1070" y="294"/>
                  </a:cubicBezTo>
                  <a:cubicBezTo>
                    <a:pt x="1070" y="299"/>
                    <a:pt x="1070" y="299"/>
                    <a:pt x="1070" y="299"/>
                  </a:cubicBezTo>
                  <a:cubicBezTo>
                    <a:pt x="976" y="299"/>
                    <a:pt x="976" y="299"/>
                    <a:pt x="976" y="299"/>
                  </a:cubicBezTo>
                  <a:cubicBezTo>
                    <a:pt x="976" y="294"/>
                    <a:pt x="976" y="294"/>
                    <a:pt x="976" y="294"/>
                  </a:cubicBezTo>
                  <a:cubicBezTo>
                    <a:pt x="972" y="294"/>
                    <a:pt x="972" y="294"/>
                    <a:pt x="972" y="294"/>
                  </a:cubicBezTo>
                  <a:cubicBezTo>
                    <a:pt x="967" y="308"/>
                    <a:pt x="967" y="308"/>
                    <a:pt x="967" y="308"/>
                  </a:cubicBezTo>
                  <a:cubicBezTo>
                    <a:pt x="964" y="308"/>
                    <a:pt x="964" y="308"/>
                    <a:pt x="964" y="308"/>
                  </a:cubicBezTo>
                  <a:cubicBezTo>
                    <a:pt x="964" y="320"/>
                    <a:pt x="964" y="320"/>
                    <a:pt x="964" y="320"/>
                  </a:cubicBezTo>
                  <a:cubicBezTo>
                    <a:pt x="956" y="320"/>
                    <a:pt x="956" y="320"/>
                    <a:pt x="956" y="320"/>
                  </a:cubicBezTo>
                  <a:cubicBezTo>
                    <a:pt x="960" y="323"/>
                    <a:pt x="960" y="323"/>
                    <a:pt x="960" y="323"/>
                  </a:cubicBezTo>
                  <a:cubicBezTo>
                    <a:pt x="960" y="350"/>
                    <a:pt x="960" y="350"/>
                    <a:pt x="960" y="350"/>
                  </a:cubicBezTo>
                  <a:cubicBezTo>
                    <a:pt x="946" y="341"/>
                    <a:pt x="946" y="341"/>
                    <a:pt x="946" y="341"/>
                  </a:cubicBezTo>
                  <a:cubicBezTo>
                    <a:pt x="934" y="350"/>
                    <a:pt x="934" y="350"/>
                    <a:pt x="934" y="350"/>
                  </a:cubicBezTo>
                  <a:cubicBezTo>
                    <a:pt x="930" y="339"/>
                    <a:pt x="930" y="339"/>
                    <a:pt x="930" y="339"/>
                  </a:cubicBezTo>
                  <a:cubicBezTo>
                    <a:pt x="904" y="339"/>
                    <a:pt x="904" y="339"/>
                    <a:pt x="904" y="339"/>
                  </a:cubicBezTo>
                  <a:cubicBezTo>
                    <a:pt x="903" y="396"/>
                    <a:pt x="903" y="396"/>
                    <a:pt x="903" y="396"/>
                  </a:cubicBezTo>
                  <a:cubicBezTo>
                    <a:pt x="893" y="428"/>
                    <a:pt x="893" y="428"/>
                    <a:pt x="893" y="428"/>
                  </a:cubicBezTo>
                  <a:cubicBezTo>
                    <a:pt x="854" y="428"/>
                    <a:pt x="854" y="428"/>
                    <a:pt x="854" y="428"/>
                  </a:cubicBezTo>
                  <a:cubicBezTo>
                    <a:pt x="854" y="396"/>
                    <a:pt x="854" y="396"/>
                    <a:pt x="854" y="396"/>
                  </a:cubicBezTo>
                  <a:cubicBezTo>
                    <a:pt x="858" y="396"/>
                    <a:pt x="858" y="396"/>
                    <a:pt x="858" y="396"/>
                  </a:cubicBezTo>
                  <a:cubicBezTo>
                    <a:pt x="856" y="394"/>
                    <a:pt x="856" y="394"/>
                    <a:pt x="856" y="394"/>
                  </a:cubicBezTo>
                  <a:cubicBezTo>
                    <a:pt x="856" y="388"/>
                    <a:pt x="856" y="388"/>
                    <a:pt x="856" y="388"/>
                  </a:cubicBezTo>
                  <a:cubicBezTo>
                    <a:pt x="861" y="388"/>
                    <a:pt x="861" y="388"/>
                    <a:pt x="861" y="388"/>
                  </a:cubicBezTo>
                  <a:cubicBezTo>
                    <a:pt x="861" y="385"/>
                    <a:pt x="861" y="385"/>
                    <a:pt x="861" y="385"/>
                  </a:cubicBezTo>
                  <a:cubicBezTo>
                    <a:pt x="864" y="385"/>
                    <a:pt x="864" y="385"/>
                    <a:pt x="864" y="385"/>
                  </a:cubicBezTo>
                  <a:cubicBezTo>
                    <a:pt x="864" y="381"/>
                    <a:pt x="864" y="381"/>
                    <a:pt x="864" y="381"/>
                  </a:cubicBezTo>
                  <a:cubicBezTo>
                    <a:pt x="872" y="381"/>
                    <a:pt x="872" y="381"/>
                    <a:pt x="872" y="381"/>
                  </a:cubicBezTo>
                  <a:cubicBezTo>
                    <a:pt x="872" y="377"/>
                    <a:pt x="872" y="377"/>
                    <a:pt x="872" y="377"/>
                  </a:cubicBezTo>
                  <a:cubicBezTo>
                    <a:pt x="858" y="377"/>
                    <a:pt x="858" y="377"/>
                    <a:pt x="858" y="377"/>
                  </a:cubicBezTo>
                  <a:cubicBezTo>
                    <a:pt x="858" y="371"/>
                    <a:pt x="858" y="371"/>
                    <a:pt x="858" y="371"/>
                  </a:cubicBezTo>
                  <a:cubicBezTo>
                    <a:pt x="854" y="371"/>
                    <a:pt x="854" y="371"/>
                    <a:pt x="854" y="371"/>
                  </a:cubicBezTo>
                  <a:cubicBezTo>
                    <a:pt x="854" y="368"/>
                    <a:pt x="854" y="368"/>
                    <a:pt x="854" y="368"/>
                  </a:cubicBezTo>
                  <a:cubicBezTo>
                    <a:pt x="860" y="368"/>
                    <a:pt x="860" y="368"/>
                    <a:pt x="860" y="368"/>
                  </a:cubicBezTo>
                  <a:cubicBezTo>
                    <a:pt x="860" y="365"/>
                    <a:pt x="860" y="365"/>
                    <a:pt x="860" y="365"/>
                  </a:cubicBezTo>
                  <a:cubicBezTo>
                    <a:pt x="863" y="365"/>
                    <a:pt x="863" y="365"/>
                    <a:pt x="863" y="365"/>
                  </a:cubicBezTo>
                  <a:cubicBezTo>
                    <a:pt x="865" y="363"/>
                    <a:pt x="865" y="363"/>
                    <a:pt x="865" y="363"/>
                  </a:cubicBezTo>
                  <a:cubicBezTo>
                    <a:pt x="852" y="363"/>
                    <a:pt x="852" y="363"/>
                    <a:pt x="852" y="363"/>
                  </a:cubicBezTo>
                  <a:cubicBezTo>
                    <a:pt x="852" y="359"/>
                    <a:pt x="852" y="359"/>
                    <a:pt x="852" y="359"/>
                  </a:cubicBezTo>
                  <a:cubicBezTo>
                    <a:pt x="849" y="359"/>
                    <a:pt x="849" y="359"/>
                    <a:pt x="849" y="359"/>
                  </a:cubicBezTo>
                  <a:cubicBezTo>
                    <a:pt x="849" y="349"/>
                    <a:pt x="849" y="349"/>
                    <a:pt x="849" y="349"/>
                  </a:cubicBezTo>
                  <a:cubicBezTo>
                    <a:pt x="851" y="347"/>
                    <a:pt x="851" y="347"/>
                    <a:pt x="851" y="347"/>
                  </a:cubicBezTo>
                  <a:cubicBezTo>
                    <a:pt x="851" y="346"/>
                    <a:pt x="851" y="346"/>
                    <a:pt x="851" y="346"/>
                  </a:cubicBezTo>
                  <a:cubicBezTo>
                    <a:pt x="848" y="346"/>
                    <a:pt x="848" y="346"/>
                    <a:pt x="848" y="346"/>
                  </a:cubicBezTo>
                  <a:cubicBezTo>
                    <a:pt x="848" y="342"/>
                    <a:pt x="848" y="342"/>
                    <a:pt x="848" y="342"/>
                  </a:cubicBezTo>
                  <a:cubicBezTo>
                    <a:pt x="845" y="340"/>
                    <a:pt x="845" y="340"/>
                    <a:pt x="845" y="340"/>
                  </a:cubicBezTo>
                  <a:cubicBezTo>
                    <a:pt x="847" y="339"/>
                    <a:pt x="847" y="339"/>
                    <a:pt x="847" y="339"/>
                  </a:cubicBezTo>
                  <a:cubicBezTo>
                    <a:pt x="850" y="339"/>
                    <a:pt x="850" y="339"/>
                    <a:pt x="850" y="339"/>
                  </a:cubicBezTo>
                  <a:cubicBezTo>
                    <a:pt x="849" y="338"/>
                    <a:pt x="849" y="338"/>
                    <a:pt x="849" y="338"/>
                  </a:cubicBezTo>
                  <a:cubicBezTo>
                    <a:pt x="845" y="338"/>
                    <a:pt x="845" y="338"/>
                    <a:pt x="845" y="338"/>
                  </a:cubicBezTo>
                  <a:cubicBezTo>
                    <a:pt x="845" y="335"/>
                    <a:pt x="845" y="335"/>
                    <a:pt x="845" y="335"/>
                  </a:cubicBezTo>
                  <a:cubicBezTo>
                    <a:pt x="848" y="335"/>
                    <a:pt x="848" y="335"/>
                    <a:pt x="848" y="335"/>
                  </a:cubicBezTo>
                  <a:cubicBezTo>
                    <a:pt x="847" y="334"/>
                    <a:pt x="847" y="334"/>
                    <a:pt x="847" y="334"/>
                  </a:cubicBezTo>
                  <a:cubicBezTo>
                    <a:pt x="846" y="333"/>
                    <a:pt x="846" y="333"/>
                    <a:pt x="846" y="333"/>
                  </a:cubicBezTo>
                  <a:cubicBezTo>
                    <a:pt x="846" y="283"/>
                    <a:pt x="846" y="283"/>
                    <a:pt x="846" y="283"/>
                  </a:cubicBezTo>
                  <a:cubicBezTo>
                    <a:pt x="850" y="283"/>
                    <a:pt x="850" y="283"/>
                    <a:pt x="850" y="283"/>
                  </a:cubicBezTo>
                  <a:cubicBezTo>
                    <a:pt x="850" y="280"/>
                    <a:pt x="850" y="280"/>
                    <a:pt x="850" y="280"/>
                  </a:cubicBezTo>
                  <a:cubicBezTo>
                    <a:pt x="849" y="279"/>
                    <a:pt x="849" y="279"/>
                    <a:pt x="849" y="279"/>
                  </a:cubicBezTo>
                  <a:cubicBezTo>
                    <a:pt x="849" y="274"/>
                    <a:pt x="849" y="274"/>
                    <a:pt x="849" y="274"/>
                  </a:cubicBezTo>
                  <a:cubicBezTo>
                    <a:pt x="850" y="274"/>
                    <a:pt x="850" y="274"/>
                    <a:pt x="850" y="274"/>
                  </a:cubicBezTo>
                  <a:cubicBezTo>
                    <a:pt x="850" y="272"/>
                    <a:pt x="850" y="272"/>
                    <a:pt x="850" y="272"/>
                  </a:cubicBezTo>
                  <a:cubicBezTo>
                    <a:pt x="848" y="272"/>
                    <a:pt x="848" y="272"/>
                    <a:pt x="848" y="272"/>
                  </a:cubicBezTo>
                  <a:cubicBezTo>
                    <a:pt x="848" y="268"/>
                    <a:pt x="848" y="268"/>
                    <a:pt x="848" y="268"/>
                  </a:cubicBezTo>
                  <a:cubicBezTo>
                    <a:pt x="851" y="268"/>
                    <a:pt x="851" y="268"/>
                    <a:pt x="851" y="268"/>
                  </a:cubicBezTo>
                  <a:cubicBezTo>
                    <a:pt x="851" y="265"/>
                    <a:pt x="851" y="265"/>
                    <a:pt x="851" y="265"/>
                  </a:cubicBezTo>
                  <a:cubicBezTo>
                    <a:pt x="859" y="265"/>
                    <a:pt x="859" y="265"/>
                    <a:pt x="859" y="265"/>
                  </a:cubicBezTo>
                  <a:cubicBezTo>
                    <a:pt x="859" y="262"/>
                    <a:pt x="859" y="262"/>
                    <a:pt x="859" y="262"/>
                  </a:cubicBezTo>
                  <a:cubicBezTo>
                    <a:pt x="850" y="262"/>
                    <a:pt x="850" y="262"/>
                    <a:pt x="850" y="262"/>
                  </a:cubicBezTo>
                  <a:cubicBezTo>
                    <a:pt x="852" y="261"/>
                    <a:pt x="852" y="261"/>
                    <a:pt x="852" y="261"/>
                  </a:cubicBezTo>
                  <a:cubicBezTo>
                    <a:pt x="852" y="261"/>
                    <a:pt x="850" y="262"/>
                    <a:pt x="849" y="261"/>
                  </a:cubicBezTo>
                  <a:cubicBezTo>
                    <a:pt x="848" y="260"/>
                    <a:pt x="849" y="251"/>
                    <a:pt x="849" y="251"/>
                  </a:cubicBezTo>
                  <a:cubicBezTo>
                    <a:pt x="852" y="251"/>
                    <a:pt x="852" y="251"/>
                    <a:pt x="852" y="251"/>
                  </a:cubicBezTo>
                  <a:cubicBezTo>
                    <a:pt x="852" y="249"/>
                    <a:pt x="852" y="249"/>
                    <a:pt x="852" y="249"/>
                  </a:cubicBezTo>
                  <a:cubicBezTo>
                    <a:pt x="854" y="249"/>
                    <a:pt x="854" y="249"/>
                    <a:pt x="854" y="249"/>
                  </a:cubicBezTo>
                  <a:cubicBezTo>
                    <a:pt x="853" y="247"/>
                    <a:pt x="853" y="247"/>
                    <a:pt x="853" y="247"/>
                  </a:cubicBezTo>
                  <a:cubicBezTo>
                    <a:pt x="845" y="247"/>
                    <a:pt x="845" y="247"/>
                    <a:pt x="845" y="247"/>
                  </a:cubicBezTo>
                  <a:cubicBezTo>
                    <a:pt x="845" y="242"/>
                    <a:pt x="845" y="242"/>
                    <a:pt x="845" y="242"/>
                  </a:cubicBezTo>
                  <a:cubicBezTo>
                    <a:pt x="847" y="241"/>
                    <a:pt x="847" y="241"/>
                    <a:pt x="847" y="241"/>
                  </a:cubicBezTo>
                  <a:cubicBezTo>
                    <a:pt x="840" y="234"/>
                    <a:pt x="840" y="234"/>
                    <a:pt x="840" y="234"/>
                  </a:cubicBezTo>
                  <a:cubicBezTo>
                    <a:pt x="837" y="231"/>
                    <a:pt x="837" y="231"/>
                    <a:pt x="837" y="231"/>
                  </a:cubicBezTo>
                  <a:cubicBezTo>
                    <a:pt x="837" y="226"/>
                    <a:pt x="837" y="226"/>
                    <a:pt x="837" y="226"/>
                  </a:cubicBezTo>
                  <a:cubicBezTo>
                    <a:pt x="837" y="184"/>
                    <a:pt x="837" y="184"/>
                    <a:pt x="837" y="184"/>
                  </a:cubicBezTo>
                  <a:cubicBezTo>
                    <a:pt x="839" y="182"/>
                    <a:pt x="839" y="182"/>
                    <a:pt x="839" y="182"/>
                  </a:cubicBezTo>
                  <a:cubicBezTo>
                    <a:pt x="839" y="180"/>
                    <a:pt x="839" y="180"/>
                    <a:pt x="839" y="180"/>
                  </a:cubicBezTo>
                  <a:cubicBezTo>
                    <a:pt x="839" y="177"/>
                    <a:pt x="839" y="177"/>
                    <a:pt x="839" y="177"/>
                  </a:cubicBezTo>
                  <a:cubicBezTo>
                    <a:pt x="841" y="176"/>
                    <a:pt x="841" y="176"/>
                    <a:pt x="841" y="176"/>
                  </a:cubicBezTo>
                  <a:cubicBezTo>
                    <a:pt x="839" y="176"/>
                    <a:pt x="839" y="176"/>
                    <a:pt x="839" y="176"/>
                  </a:cubicBezTo>
                  <a:cubicBezTo>
                    <a:pt x="839" y="171"/>
                    <a:pt x="839" y="171"/>
                    <a:pt x="839" y="171"/>
                  </a:cubicBezTo>
                  <a:cubicBezTo>
                    <a:pt x="841" y="170"/>
                    <a:pt x="841" y="170"/>
                    <a:pt x="841" y="170"/>
                  </a:cubicBezTo>
                  <a:cubicBezTo>
                    <a:pt x="839" y="170"/>
                    <a:pt x="839" y="170"/>
                    <a:pt x="839" y="170"/>
                  </a:cubicBezTo>
                  <a:cubicBezTo>
                    <a:pt x="839" y="164"/>
                    <a:pt x="839" y="164"/>
                    <a:pt x="839" y="164"/>
                  </a:cubicBezTo>
                  <a:cubicBezTo>
                    <a:pt x="848" y="164"/>
                    <a:pt x="848" y="164"/>
                    <a:pt x="848" y="164"/>
                  </a:cubicBezTo>
                  <a:cubicBezTo>
                    <a:pt x="851" y="161"/>
                    <a:pt x="851" y="161"/>
                    <a:pt x="851" y="161"/>
                  </a:cubicBezTo>
                  <a:cubicBezTo>
                    <a:pt x="843" y="161"/>
                    <a:pt x="843" y="161"/>
                    <a:pt x="843" y="161"/>
                  </a:cubicBezTo>
                  <a:cubicBezTo>
                    <a:pt x="837" y="156"/>
                    <a:pt x="837" y="156"/>
                    <a:pt x="837" y="156"/>
                  </a:cubicBezTo>
                  <a:cubicBezTo>
                    <a:pt x="837" y="151"/>
                    <a:pt x="837" y="151"/>
                    <a:pt x="837" y="151"/>
                  </a:cubicBezTo>
                  <a:cubicBezTo>
                    <a:pt x="841" y="148"/>
                    <a:pt x="841" y="148"/>
                    <a:pt x="841" y="148"/>
                  </a:cubicBezTo>
                  <a:cubicBezTo>
                    <a:pt x="836" y="144"/>
                    <a:pt x="836" y="144"/>
                    <a:pt x="836" y="144"/>
                  </a:cubicBezTo>
                  <a:cubicBezTo>
                    <a:pt x="836" y="139"/>
                    <a:pt x="836" y="139"/>
                    <a:pt x="836" y="139"/>
                  </a:cubicBezTo>
                  <a:cubicBezTo>
                    <a:pt x="828" y="139"/>
                    <a:pt x="828" y="139"/>
                    <a:pt x="828" y="139"/>
                  </a:cubicBezTo>
                  <a:cubicBezTo>
                    <a:pt x="828" y="143"/>
                    <a:pt x="828" y="143"/>
                    <a:pt x="828" y="143"/>
                  </a:cubicBezTo>
                  <a:cubicBezTo>
                    <a:pt x="825" y="143"/>
                    <a:pt x="825" y="143"/>
                    <a:pt x="825" y="143"/>
                  </a:cubicBezTo>
                  <a:cubicBezTo>
                    <a:pt x="825" y="143"/>
                    <a:pt x="820" y="135"/>
                    <a:pt x="819" y="127"/>
                  </a:cubicBezTo>
                  <a:cubicBezTo>
                    <a:pt x="819" y="125"/>
                    <a:pt x="819" y="125"/>
                    <a:pt x="819" y="125"/>
                  </a:cubicBezTo>
                  <a:cubicBezTo>
                    <a:pt x="819" y="125"/>
                    <a:pt x="822" y="125"/>
                    <a:pt x="824" y="127"/>
                  </a:cubicBezTo>
                  <a:cubicBezTo>
                    <a:pt x="824" y="120"/>
                    <a:pt x="824" y="120"/>
                    <a:pt x="824" y="120"/>
                  </a:cubicBezTo>
                  <a:cubicBezTo>
                    <a:pt x="824" y="120"/>
                    <a:pt x="843" y="100"/>
                    <a:pt x="812" y="83"/>
                  </a:cubicBezTo>
                  <a:cubicBezTo>
                    <a:pt x="812" y="79"/>
                    <a:pt x="812" y="79"/>
                    <a:pt x="812" y="79"/>
                  </a:cubicBezTo>
                  <a:cubicBezTo>
                    <a:pt x="810" y="77"/>
                    <a:pt x="810" y="77"/>
                    <a:pt x="810" y="77"/>
                  </a:cubicBezTo>
                  <a:cubicBezTo>
                    <a:pt x="810" y="75"/>
                    <a:pt x="810" y="75"/>
                    <a:pt x="810" y="75"/>
                  </a:cubicBezTo>
                  <a:cubicBezTo>
                    <a:pt x="810" y="75"/>
                    <a:pt x="810" y="75"/>
                    <a:pt x="810" y="75"/>
                  </a:cubicBezTo>
                  <a:cubicBezTo>
                    <a:pt x="813" y="74"/>
                    <a:pt x="815" y="71"/>
                    <a:pt x="815" y="68"/>
                  </a:cubicBezTo>
                  <a:cubicBezTo>
                    <a:pt x="815" y="65"/>
                    <a:pt x="813" y="62"/>
                    <a:pt x="810" y="61"/>
                  </a:cubicBezTo>
                  <a:cubicBezTo>
                    <a:pt x="810" y="61"/>
                    <a:pt x="810" y="61"/>
                    <a:pt x="809" y="61"/>
                  </a:cubicBezTo>
                  <a:cubicBezTo>
                    <a:pt x="809" y="58"/>
                    <a:pt x="809" y="58"/>
                    <a:pt x="809" y="58"/>
                  </a:cubicBezTo>
                  <a:cubicBezTo>
                    <a:pt x="813" y="58"/>
                    <a:pt x="813" y="58"/>
                    <a:pt x="813" y="58"/>
                  </a:cubicBezTo>
                  <a:cubicBezTo>
                    <a:pt x="813" y="57"/>
                    <a:pt x="813" y="57"/>
                    <a:pt x="813" y="57"/>
                  </a:cubicBezTo>
                  <a:cubicBezTo>
                    <a:pt x="809" y="57"/>
                    <a:pt x="809" y="57"/>
                    <a:pt x="809" y="57"/>
                  </a:cubicBezTo>
                  <a:cubicBezTo>
                    <a:pt x="809" y="40"/>
                    <a:pt x="809" y="40"/>
                    <a:pt x="809" y="40"/>
                  </a:cubicBezTo>
                  <a:cubicBezTo>
                    <a:pt x="817" y="40"/>
                    <a:pt x="817" y="40"/>
                    <a:pt x="817" y="40"/>
                  </a:cubicBezTo>
                  <a:cubicBezTo>
                    <a:pt x="818" y="39"/>
                    <a:pt x="818" y="39"/>
                    <a:pt x="818" y="39"/>
                  </a:cubicBezTo>
                  <a:cubicBezTo>
                    <a:pt x="809" y="39"/>
                    <a:pt x="809" y="39"/>
                    <a:pt x="809" y="39"/>
                  </a:cubicBezTo>
                  <a:cubicBezTo>
                    <a:pt x="809" y="23"/>
                    <a:pt x="809" y="23"/>
                    <a:pt x="809" y="23"/>
                  </a:cubicBezTo>
                  <a:cubicBezTo>
                    <a:pt x="810" y="23"/>
                    <a:pt x="810" y="23"/>
                    <a:pt x="810" y="23"/>
                  </a:cubicBezTo>
                  <a:cubicBezTo>
                    <a:pt x="810" y="22"/>
                    <a:pt x="810" y="22"/>
                    <a:pt x="810" y="22"/>
                  </a:cubicBezTo>
                  <a:cubicBezTo>
                    <a:pt x="809" y="22"/>
                    <a:pt x="809" y="22"/>
                    <a:pt x="809" y="22"/>
                  </a:cubicBezTo>
                  <a:cubicBezTo>
                    <a:pt x="809" y="12"/>
                    <a:pt x="809" y="12"/>
                    <a:pt x="809" y="12"/>
                  </a:cubicBezTo>
                  <a:cubicBezTo>
                    <a:pt x="813" y="12"/>
                    <a:pt x="812" y="3"/>
                    <a:pt x="812" y="3"/>
                  </a:cubicBezTo>
                  <a:cubicBezTo>
                    <a:pt x="812" y="3"/>
                    <a:pt x="810" y="8"/>
                    <a:pt x="808" y="8"/>
                  </a:cubicBezTo>
                  <a:cubicBezTo>
                    <a:pt x="808" y="8"/>
                    <a:pt x="808" y="8"/>
                    <a:pt x="808" y="8"/>
                  </a:cubicBezTo>
                  <a:cubicBezTo>
                    <a:pt x="808" y="8"/>
                    <a:pt x="808" y="8"/>
                    <a:pt x="808" y="8"/>
                  </a:cubicBezTo>
                  <a:cubicBezTo>
                    <a:pt x="808" y="8"/>
                    <a:pt x="808" y="8"/>
                    <a:pt x="808" y="8"/>
                  </a:cubicBezTo>
                  <a:cubicBezTo>
                    <a:pt x="808" y="8"/>
                    <a:pt x="808" y="8"/>
                    <a:pt x="808" y="8"/>
                  </a:cubicBezTo>
                  <a:cubicBezTo>
                    <a:pt x="808" y="8"/>
                    <a:pt x="808" y="8"/>
                    <a:pt x="808" y="8"/>
                  </a:cubicBezTo>
                  <a:cubicBezTo>
                    <a:pt x="808" y="8"/>
                    <a:pt x="808" y="8"/>
                    <a:pt x="808" y="8"/>
                  </a:cubicBezTo>
                  <a:cubicBezTo>
                    <a:pt x="808" y="8"/>
                    <a:pt x="808" y="8"/>
                    <a:pt x="808" y="8"/>
                  </a:cubicBezTo>
                  <a:cubicBezTo>
                    <a:pt x="806" y="7"/>
                    <a:pt x="806" y="8"/>
                    <a:pt x="804" y="0"/>
                  </a:cubicBezTo>
                  <a:cubicBezTo>
                    <a:pt x="804" y="0"/>
                    <a:pt x="802" y="11"/>
                    <a:pt x="807" y="12"/>
                  </a:cubicBezTo>
                  <a:cubicBezTo>
                    <a:pt x="807" y="22"/>
                    <a:pt x="807" y="22"/>
                    <a:pt x="807" y="22"/>
                  </a:cubicBezTo>
                  <a:cubicBezTo>
                    <a:pt x="806" y="22"/>
                    <a:pt x="806" y="22"/>
                    <a:pt x="806" y="22"/>
                  </a:cubicBezTo>
                  <a:cubicBezTo>
                    <a:pt x="806" y="23"/>
                    <a:pt x="806" y="23"/>
                    <a:pt x="806" y="23"/>
                  </a:cubicBezTo>
                  <a:cubicBezTo>
                    <a:pt x="807" y="23"/>
                    <a:pt x="807" y="23"/>
                    <a:pt x="807" y="23"/>
                  </a:cubicBezTo>
                  <a:cubicBezTo>
                    <a:pt x="807" y="39"/>
                    <a:pt x="807" y="39"/>
                    <a:pt x="807" y="39"/>
                  </a:cubicBezTo>
                  <a:cubicBezTo>
                    <a:pt x="798" y="39"/>
                    <a:pt x="798" y="39"/>
                    <a:pt x="798" y="39"/>
                  </a:cubicBezTo>
                  <a:cubicBezTo>
                    <a:pt x="799" y="40"/>
                    <a:pt x="799" y="40"/>
                    <a:pt x="799" y="40"/>
                  </a:cubicBezTo>
                  <a:cubicBezTo>
                    <a:pt x="807" y="40"/>
                    <a:pt x="807" y="40"/>
                    <a:pt x="807" y="40"/>
                  </a:cubicBezTo>
                  <a:cubicBezTo>
                    <a:pt x="807" y="57"/>
                    <a:pt x="807" y="57"/>
                    <a:pt x="807" y="57"/>
                  </a:cubicBezTo>
                  <a:cubicBezTo>
                    <a:pt x="803" y="57"/>
                    <a:pt x="803" y="57"/>
                    <a:pt x="803" y="57"/>
                  </a:cubicBezTo>
                  <a:cubicBezTo>
                    <a:pt x="803" y="58"/>
                    <a:pt x="803" y="58"/>
                    <a:pt x="803" y="58"/>
                  </a:cubicBezTo>
                  <a:cubicBezTo>
                    <a:pt x="807" y="58"/>
                    <a:pt x="807" y="58"/>
                    <a:pt x="807" y="58"/>
                  </a:cubicBezTo>
                  <a:cubicBezTo>
                    <a:pt x="807" y="61"/>
                    <a:pt x="807" y="61"/>
                    <a:pt x="807" y="61"/>
                  </a:cubicBezTo>
                  <a:cubicBezTo>
                    <a:pt x="806" y="61"/>
                    <a:pt x="806" y="61"/>
                    <a:pt x="806" y="61"/>
                  </a:cubicBezTo>
                  <a:cubicBezTo>
                    <a:pt x="803" y="62"/>
                    <a:pt x="801" y="65"/>
                    <a:pt x="801" y="68"/>
                  </a:cubicBezTo>
                  <a:cubicBezTo>
                    <a:pt x="801" y="71"/>
                    <a:pt x="803" y="74"/>
                    <a:pt x="806" y="75"/>
                  </a:cubicBezTo>
                  <a:cubicBezTo>
                    <a:pt x="806" y="75"/>
                    <a:pt x="806" y="75"/>
                    <a:pt x="806" y="75"/>
                  </a:cubicBezTo>
                  <a:cubicBezTo>
                    <a:pt x="806" y="77"/>
                    <a:pt x="806" y="77"/>
                    <a:pt x="806" y="77"/>
                  </a:cubicBezTo>
                  <a:cubicBezTo>
                    <a:pt x="804" y="79"/>
                    <a:pt x="804" y="79"/>
                    <a:pt x="804" y="79"/>
                  </a:cubicBezTo>
                  <a:cubicBezTo>
                    <a:pt x="804" y="83"/>
                    <a:pt x="804" y="83"/>
                    <a:pt x="804" y="83"/>
                  </a:cubicBezTo>
                  <a:cubicBezTo>
                    <a:pt x="773" y="100"/>
                    <a:pt x="792" y="120"/>
                    <a:pt x="792" y="120"/>
                  </a:cubicBezTo>
                  <a:cubicBezTo>
                    <a:pt x="792" y="127"/>
                    <a:pt x="792" y="127"/>
                    <a:pt x="792" y="127"/>
                  </a:cubicBezTo>
                  <a:cubicBezTo>
                    <a:pt x="794" y="125"/>
                    <a:pt x="797" y="125"/>
                    <a:pt x="797" y="125"/>
                  </a:cubicBezTo>
                  <a:cubicBezTo>
                    <a:pt x="797" y="127"/>
                    <a:pt x="797" y="127"/>
                    <a:pt x="797" y="127"/>
                  </a:cubicBezTo>
                  <a:cubicBezTo>
                    <a:pt x="796" y="135"/>
                    <a:pt x="791" y="143"/>
                    <a:pt x="791" y="143"/>
                  </a:cubicBezTo>
                  <a:cubicBezTo>
                    <a:pt x="788" y="143"/>
                    <a:pt x="788" y="143"/>
                    <a:pt x="788" y="143"/>
                  </a:cubicBezTo>
                  <a:cubicBezTo>
                    <a:pt x="788" y="139"/>
                    <a:pt x="788" y="139"/>
                    <a:pt x="788" y="139"/>
                  </a:cubicBezTo>
                  <a:cubicBezTo>
                    <a:pt x="780" y="139"/>
                    <a:pt x="780" y="139"/>
                    <a:pt x="780" y="139"/>
                  </a:cubicBezTo>
                  <a:cubicBezTo>
                    <a:pt x="780" y="144"/>
                    <a:pt x="780" y="144"/>
                    <a:pt x="780" y="144"/>
                  </a:cubicBezTo>
                  <a:cubicBezTo>
                    <a:pt x="775" y="148"/>
                    <a:pt x="775" y="148"/>
                    <a:pt x="775" y="148"/>
                  </a:cubicBezTo>
                  <a:cubicBezTo>
                    <a:pt x="779" y="151"/>
                    <a:pt x="779" y="151"/>
                    <a:pt x="779" y="151"/>
                  </a:cubicBezTo>
                  <a:cubicBezTo>
                    <a:pt x="779" y="156"/>
                    <a:pt x="779" y="156"/>
                    <a:pt x="779" y="156"/>
                  </a:cubicBezTo>
                  <a:cubicBezTo>
                    <a:pt x="773" y="161"/>
                    <a:pt x="773" y="161"/>
                    <a:pt x="773" y="161"/>
                  </a:cubicBezTo>
                  <a:cubicBezTo>
                    <a:pt x="765" y="161"/>
                    <a:pt x="765" y="161"/>
                    <a:pt x="765" y="161"/>
                  </a:cubicBezTo>
                  <a:cubicBezTo>
                    <a:pt x="769" y="164"/>
                    <a:pt x="769" y="164"/>
                    <a:pt x="769" y="164"/>
                  </a:cubicBezTo>
                  <a:cubicBezTo>
                    <a:pt x="777" y="164"/>
                    <a:pt x="777" y="164"/>
                    <a:pt x="777" y="164"/>
                  </a:cubicBezTo>
                  <a:cubicBezTo>
                    <a:pt x="777" y="170"/>
                    <a:pt x="777" y="170"/>
                    <a:pt x="777" y="170"/>
                  </a:cubicBezTo>
                  <a:cubicBezTo>
                    <a:pt x="775" y="170"/>
                    <a:pt x="775" y="170"/>
                    <a:pt x="775" y="170"/>
                  </a:cubicBezTo>
                  <a:cubicBezTo>
                    <a:pt x="777" y="171"/>
                    <a:pt x="777" y="171"/>
                    <a:pt x="777" y="171"/>
                  </a:cubicBezTo>
                  <a:cubicBezTo>
                    <a:pt x="777" y="176"/>
                    <a:pt x="777" y="176"/>
                    <a:pt x="777" y="176"/>
                  </a:cubicBezTo>
                  <a:cubicBezTo>
                    <a:pt x="775" y="176"/>
                    <a:pt x="775" y="176"/>
                    <a:pt x="775" y="176"/>
                  </a:cubicBezTo>
                  <a:cubicBezTo>
                    <a:pt x="777" y="177"/>
                    <a:pt x="777" y="177"/>
                    <a:pt x="777" y="177"/>
                  </a:cubicBezTo>
                  <a:cubicBezTo>
                    <a:pt x="777" y="180"/>
                    <a:pt x="777" y="180"/>
                    <a:pt x="777" y="180"/>
                  </a:cubicBezTo>
                  <a:cubicBezTo>
                    <a:pt x="777" y="182"/>
                    <a:pt x="777" y="182"/>
                    <a:pt x="777" y="182"/>
                  </a:cubicBezTo>
                  <a:cubicBezTo>
                    <a:pt x="779" y="184"/>
                    <a:pt x="779" y="184"/>
                    <a:pt x="779" y="184"/>
                  </a:cubicBezTo>
                  <a:cubicBezTo>
                    <a:pt x="779" y="226"/>
                    <a:pt x="779" y="226"/>
                    <a:pt x="779" y="226"/>
                  </a:cubicBezTo>
                  <a:cubicBezTo>
                    <a:pt x="779" y="231"/>
                    <a:pt x="779" y="231"/>
                    <a:pt x="779" y="231"/>
                  </a:cubicBezTo>
                  <a:cubicBezTo>
                    <a:pt x="776" y="234"/>
                    <a:pt x="776" y="234"/>
                    <a:pt x="776" y="234"/>
                  </a:cubicBezTo>
                  <a:cubicBezTo>
                    <a:pt x="769" y="241"/>
                    <a:pt x="769" y="241"/>
                    <a:pt x="769" y="241"/>
                  </a:cubicBezTo>
                  <a:cubicBezTo>
                    <a:pt x="771" y="242"/>
                    <a:pt x="771" y="242"/>
                    <a:pt x="771" y="242"/>
                  </a:cubicBezTo>
                  <a:cubicBezTo>
                    <a:pt x="771" y="247"/>
                    <a:pt x="771" y="247"/>
                    <a:pt x="771" y="247"/>
                  </a:cubicBezTo>
                  <a:cubicBezTo>
                    <a:pt x="764" y="247"/>
                    <a:pt x="764" y="247"/>
                    <a:pt x="764" y="247"/>
                  </a:cubicBezTo>
                  <a:cubicBezTo>
                    <a:pt x="762" y="249"/>
                    <a:pt x="762" y="249"/>
                    <a:pt x="762" y="249"/>
                  </a:cubicBezTo>
                  <a:cubicBezTo>
                    <a:pt x="764" y="249"/>
                    <a:pt x="764" y="249"/>
                    <a:pt x="764" y="249"/>
                  </a:cubicBezTo>
                  <a:cubicBezTo>
                    <a:pt x="764" y="251"/>
                    <a:pt x="764" y="251"/>
                    <a:pt x="764" y="251"/>
                  </a:cubicBezTo>
                  <a:cubicBezTo>
                    <a:pt x="767" y="251"/>
                    <a:pt x="767" y="251"/>
                    <a:pt x="767" y="251"/>
                  </a:cubicBezTo>
                  <a:cubicBezTo>
                    <a:pt x="767" y="251"/>
                    <a:pt x="768" y="260"/>
                    <a:pt x="767" y="261"/>
                  </a:cubicBezTo>
                  <a:cubicBezTo>
                    <a:pt x="766" y="262"/>
                    <a:pt x="764" y="261"/>
                    <a:pt x="764" y="261"/>
                  </a:cubicBezTo>
                  <a:cubicBezTo>
                    <a:pt x="766" y="262"/>
                    <a:pt x="766" y="262"/>
                    <a:pt x="766" y="262"/>
                  </a:cubicBezTo>
                  <a:cubicBezTo>
                    <a:pt x="757" y="262"/>
                    <a:pt x="757" y="262"/>
                    <a:pt x="757" y="262"/>
                  </a:cubicBezTo>
                  <a:cubicBezTo>
                    <a:pt x="757" y="265"/>
                    <a:pt x="757" y="265"/>
                    <a:pt x="757" y="265"/>
                  </a:cubicBezTo>
                  <a:cubicBezTo>
                    <a:pt x="765" y="265"/>
                    <a:pt x="765" y="265"/>
                    <a:pt x="765" y="265"/>
                  </a:cubicBezTo>
                  <a:cubicBezTo>
                    <a:pt x="765" y="268"/>
                    <a:pt x="765" y="268"/>
                    <a:pt x="765" y="268"/>
                  </a:cubicBezTo>
                  <a:cubicBezTo>
                    <a:pt x="768" y="268"/>
                    <a:pt x="768" y="268"/>
                    <a:pt x="768" y="268"/>
                  </a:cubicBezTo>
                  <a:cubicBezTo>
                    <a:pt x="768" y="272"/>
                    <a:pt x="768" y="272"/>
                    <a:pt x="768" y="272"/>
                  </a:cubicBezTo>
                  <a:cubicBezTo>
                    <a:pt x="766" y="272"/>
                    <a:pt x="766" y="272"/>
                    <a:pt x="766" y="272"/>
                  </a:cubicBezTo>
                  <a:cubicBezTo>
                    <a:pt x="766" y="274"/>
                    <a:pt x="766" y="274"/>
                    <a:pt x="766" y="274"/>
                  </a:cubicBezTo>
                  <a:cubicBezTo>
                    <a:pt x="768" y="274"/>
                    <a:pt x="768" y="274"/>
                    <a:pt x="768" y="274"/>
                  </a:cubicBezTo>
                  <a:cubicBezTo>
                    <a:pt x="768" y="279"/>
                    <a:pt x="768" y="279"/>
                    <a:pt x="768" y="279"/>
                  </a:cubicBezTo>
                  <a:cubicBezTo>
                    <a:pt x="766" y="280"/>
                    <a:pt x="766" y="280"/>
                    <a:pt x="766" y="280"/>
                  </a:cubicBezTo>
                  <a:cubicBezTo>
                    <a:pt x="766" y="283"/>
                    <a:pt x="766" y="283"/>
                    <a:pt x="766" y="283"/>
                  </a:cubicBezTo>
                  <a:cubicBezTo>
                    <a:pt x="770" y="283"/>
                    <a:pt x="770" y="283"/>
                    <a:pt x="770" y="283"/>
                  </a:cubicBezTo>
                  <a:cubicBezTo>
                    <a:pt x="770" y="333"/>
                    <a:pt x="770" y="333"/>
                    <a:pt x="770" y="333"/>
                  </a:cubicBezTo>
                  <a:cubicBezTo>
                    <a:pt x="769" y="334"/>
                    <a:pt x="769" y="334"/>
                    <a:pt x="769" y="334"/>
                  </a:cubicBezTo>
                  <a:cubicBezTo>
                    <a:pt x="769" y="335"/>
                    <a:pt x="769" y="335"/>
                    <a:pt x="769" y="335"/>
                  </a:cubicBezTo>
                  <a:cubicBezTo>
                    <a:pt x="771" y="335"/>
                    <a:pt x="771" y="335"/>
                    <a:pt x="771" y="335"/>
                  </a:cubicBezTo>
                  <a:cubicBezTo>
                    <a:pt x="771" y="338"/>
                    <a:pt x="771" y="338"/>
                    <a:pt x="771" y="338"/>
                  </a:cubicBezTo>
                  <a:cubicBezTo>
                    <a:pt x="768" y="338"/>
                    <a:pt x="768" y="338"/>
                    <a:pt x="768" y="338"/>
                  </a:cubicBezTo>
                  <a:cubicBezTo>
                    <a:pt x="767" y="339"/>
                    <a:pt x="767" y="339"/>
                    <a:pt x="767" y="339"/>
                  </a:cubicBezTo>
                  <a:cubicBezTo>
                    <a:pt x="769" y="339"/>
                    <a:pt x="769" y="339"/>
                    <a:pt x="769" y="339"/>
                  </a:cubicBezTo>
                  <a:cubicBezTo>
                    <a:pt x="771" y="340"/>
                    <a:pt x="771" y="340"/>
                    <a:pt x="771" y="340"/>
                  </a:cubicBezTo>
                  <a:cubicBezTo>
                    <a:pt x="768" y="342"/>
                    <a:pt x="768" y="342"/>
                    <a:pt x="768" y="342"/>
                  </a:cubicBezTo>
                  <a:cubicBezTo>
                    <a:pt x="768" y="346"/>
                    <a:pt x="768" y="346"/>
                    <a:pt x="768" y="346"/>
                  </a:cubicBezTo>
                  <a:cubicBezTo>
                    <a:pt x="765" y="346"/>
                    <a:pt x="765" y="346"/>
                    <a:pt x="765" y="346"/>
                  </a:cubicBezTo>
                  <a:cubicBezTo>
                    <a:pt x="766" y="347"/>
                    <a:pt x="766" y="347"/>
                    <a:pt x="766" y="347"/>
                  </a:cubicBezTo>
                  <a:cubicBezTo>
                    <a:pt x="768" y="349"/>
                    <a:pt x="768" y="349"/>
                    <a:pt x="768" y="349"/>
                  </a:cubicBezTo>
                  <a:cubicBezTo>
                    <a:pt x="768" y="359"/>
                    <a:pt x="768" y="359"/>
                    <a:pt x="768" y="359"/>
                  </a:cubicBezTo>
                  <a:cubicBezTo>
                    <a:pt x="764" y="359"/>
                    <a:pt x="764" y="359"/>
                    <a:pt x="764" y="359"/>
                  </a:cubicBezTo>
                  <a:cubicBezTo>
                    <a:pt x="764" y="363"/>
                    <a:pt x="764" y="363"/>
                    <a:pt x="764" y="363"/>
                  </a:cubicBezTo>
                  <a:cubicBezTo>
                    <a:pt x="751" y="363"/>
                    <a:pt x="751" y="363"/>
                    <a:pt x="751" y="363"/>
                  </a:cubicBezTo>
                  <a:cubicBezTo>
                    <a:pt x="753" y="365"/>
                    <a:pt x="753" y="365"/>
                    <a:pt x="753" y="365"/>
                  </a:cubicBezTo>
                  <a:cubicBezTo>
                    <a:pt x="756" y="365"/>
                    <a:pt x="756" y="365"/>
                    <a:pt x="756" y="365"/>
                  </a:cubicBezTo>
                  <a:cubicBezTo>
                    <a:pt x="756" y="368"/>
                    <a:pt x="756" y="368"/>
                    <a:pt x="756" y="368"/>
                  </a:cubicBezTo>
                  <a:cubicBezTo>
                    <a:pt x="762" y="368"/>
                    <a:pt x="762" y="368"/>
                    <a:pt x="762" y="368"/>
                  </a:cubicBezTo>
                  <a:cubicBezTo>
                    <a:pt x="762" y="371"/>
                    <a:pt x="762" y="371"/>
                    <a:pt x="762" y="371"/>
                  </a:cubicBezTo>
                  <a:cubicBezTo>
                    <a:pt x="758" y="371"/>
                    <a:pt x="758" y="371"/>
                    <a:pt x="758" y="371"/>
                  </a:cubicBezTo>
                  <a:cubicBezTo>
                    <a:pt x="758" y="377"/>
                    <a:pt x="758" y="377"/>
                    <a:pt x="758" y="377"/>
                  </a:cubicBezTo>
                  <a:cubicBezTo>
                    <a:pt x="746" y="377"/>
                    <a:pt x="746" y="377"/>
                    <a:pt x="746" y="377"/>
                  </a:cubicBezTo>
                  <a:cubicBezTo>
                    <a:pt x="736" y="351"/>
                    <a:pt x="736" y="351"/>
                    <a:pt x="736" y="351"/>
                  </a:cubicBezTo>
                  <a:cubicBezTo>
                    <a:pt x="735" y="332"/>
                    <a:pt x="735" y="332"/>
                    <a:pt x="735" y="332"/>
                  </a:cubicBezTo>
                  <a:cubicBezTo>
                    <a:pt x="735" y="351"/>
                    <a:pt x="735" y="351"/>
                    <a:pt x="735" y="351"/>
                  </a:cubicBezTo>
                  <a:cubicBezTo>
                    <a:pt x="719" y="351"/>
                    <a:pt x="719" y="351"/>
                    <a:pt x="719" y="351"/>
                  </a:cubicBezTo>
                  <a:cubicBezTo>
                    <a:pt x="718" y="333"/>
                    <a:pt x="718" y="333"/>
                    <a:pt x="718" y="333"/>
                  </a:cubicBezTo>
                  <a:cubicBezTo>
                    <a:pt x="718" y="351"/>
                    <a:pt x="718" y="351"/>
                    <a:pt x="718" y="351"/>
                  </a:cubicBezTo>
                  <a:cubicBezTo>
                    <a:pt x="706" y="391"/>
                    <a:pt x="706" y="391"/>
                    <a:pt x="706" y="391"/>
                  </a:cubicBezTo>
                  <a:cubicBezTo>
                    <a:pt x="682" y="391"/>
                    <a:pt x="682" y="391"/>
                    <a:pt x="682" y="391"/>
                  </a:cubicBezTo>
                  <a:cubicBezTo>
                    <a:pt x="674" y="378"/>
                    <a:pt x="674" y="378"/>
                    <a:pt x="674" y="378"/>
                  </a:cubicBezTo>
                  <a:cubicBezTo>
                    <a:pt x="673" y="360"/>
                    <a:pt x="673" y="360"/>
                    <a:pt x="673" y="360"/>
                  </a:cubicBezTo>
                  <a:cubicBezTo>
                    <a:pt x="673" y="378"/>
                    <a:pt x="673" y="378"/>
                    <a:pt x="673" y="378"/>
                  </a:cubicBezTo>
                  <a:cubicBezTo>
                    <a:pt x="648" y="378"/>
                    <a:pt x="648" y="378"/>
                    <a:pt x="648" y="378"/>
                  </a:cubicBezTo>
                  <a:cubicBezTo>
                    <a:pt x="647" y="360"/>
                    <a:pt x="647" y="360"/>
                    <a:pt x="647" y="360"/>
                  </a:cubicBezTo>
                  <a:cubicBezTo>
                    <a:pt x="647" y="378"/>
                    <a:pt x="647" y="378"/>
                    <a:pt x="647" y="378"/>
                  </a:cubicBezTo>
                  <a:cubicBezTo>
                    <a:pt x="635" y="405"/>
                    <a:pt x="635" y="405"/>
                    <a:pt x="635" y="405"/>
                  </a:cubicBezTo>
                  <a:cubicBezTo>
                    <a:pt x="505" y="405"/>
                    <a:pt x="505" y="405"/>
                    <a:pt x="505" y="405"/>
                  </a:cubicBezTo>
                  <a:cubicBezTo>
                    <a:pt x="505" y="375"/>
                    <a:pt x="505" y="375"/>
                    <a:pt x="505" y="375"/>
                  </a:cubicBezTo>
                  <a:cubicBezTo>
                    <a:pt x="506" y="375"/>
                    <a:pt x="506" y="375"/>
                    <a:pt x="506" y="375"/>
                  </a:cubicBezTo>
                  <a:cubicBezTo>
                    <a:pt x="493" y="337"/>
                    <a:pt x="493" y="337"/>
                    <a:pt x="493" y="337"/>
                  </a:cubicBezTo>
                  <a:cubicBezTo>
                    <a:pt x="480" y="337"/>
                    <a:pt x="480" y="337"/>
                    <a:pt x="480" y="337"/>
                  </a:cubicBezTo>
                  <a:cubicBezTo>
                    <a:pt x="480" y="324"/>
                    <a:pt x="480" y="324"/>
                    <a:pt x="480" y="324"/>
                  </a:cubicBezTo>
                  <a:cubicBezTo>
                    <a:pt x="476" y="316"/>
                    <a:pt x="476" y="316"/>
                    <a:pt x="476" y="316"/>
                  </a:cubicBezTo>
                  <a:cubicBezTo>
                    <a:pt x="469" y="316"/>
                    <a:pt x="469" y="316"/>
                    <a:pt x="469" y="316"/>
                  </a:cubicBezTo>
                  <a:cubicBezTo>
                    <a:pt x="468" y="277"/>
                    <a:pt x="468" y="277"/>
                    <a:pt x="468" y="277"/>
                  </a:cubicBezTo>
                  <a:cubicBezTo>
                    <a:pt x="467" y="316"/>
                    <a:pt x="467" y="316"/>
                    <a:pt x="467" y="316"/>
                  </a:cubicBezTo>
                  <a:cubicBezTo>
                    <a:pt x="464" y="316"/>
                    <a:pt x="464" y="316"/>
                    <a:pt x="464" y="316"/>
                  </a:cubicBezTo>
                  <a:cubicBezTo>
                    <a:pt x="458" y="325"/>
                    <a:pt x="458" y="325"/>
                    <a:pt x="458" y="325"/>
                  </a:cubicBezTo>
                  <a:cubicBezTo>
                    <a:pt x="461" y="338"/>
                    <a:pt x="461" y="338"/>
                    <a:pt x="461" y="338"/>
                  </a:cubicBezTo>
                  <a:cubicBezTo>
                    <a:pt x="453" y="373"/>
                    <a:pt x="453" y="373"/>
                    <a:pt x="453" y="373"/>
                  </a:cubicBezTo>
                  <a:cubicBezTo>
                    <a:pt x="446" y="373"/>
                    <a:pt x="446" y="373"/>
                    <a:pt x="446" y="373"/>
                  </a:cubicBezTo>
                  <a:cubicBezTo>
                    <a:pt x="446" y="391"/>
                    <a:pt x="446" y="391"/>
                    <a:pt x="446" y="391"/>
                  </a:cubicBezTo>
                  <a:cubicBezTo>
                    <a:pt x="360" y="391"/>
                    <a:pt x="360" y="391"/>
                    <a:pt x="360" y="391"/>
                  </a:cubicBezTo>
                  <a:cubicBezTo>
                    <a:pt x="340" y="319"/>
                    <a:pt x="340" y="319"/>
                    <a:pt x="340" y="319"/>
                  </a:cubicBezTo>
                  <a:cubicBezTo>
                    <a:pt x="339" y="282"/>
                    <a:pt x="339" y="282"/>
                    <a:pt x="339" y="282"/>
                  </a:cubicBezTo>
                  <a:cubicBezTo>
                    <a:pt x="340" y="282"/>
                    <a:pt x="340" y="282"/>
                    <a:pt x="340" y="282"/>
                  </a:cubicBezTo>
                  <a:cubicBezTo>
                    <a:pt x="340" y="276"/>
                    <a:pt x="340" y="276"/>
                    <a:pt x="340" y="276"/>
                  </a:cubicBezTo>
                  <a:cubicBezTo>
                    <a:pt x="339" y="273"/>
                    <a:pt x="339" y="273"/>
                    <a:pt x="339" y="273"/>
                  </a:cubicBezTo>
                  <a:cubicBezTo>
                    <a:pt x="337" y="275"/>
                    <a:pt x="337" y="275"/>
                    <a:pt x="337" y="275"/>
                  </a:cubicBezTo>
                  <a:cubicBezTo>
                    <a:pt x="337" y="282"/>
                    <a:pt x="337" y="282"/>
                    <a:pt x="337" y="282"/>
                  </a:cubicBezTo>
                  <a:cubicBezTo>
                    <a:pt x="338" y="282"/>
                    <a:pt x="338" y="282"/>
                    <a:pt x="338" y="282"/>
                  </a:cubicBezTo>
                  <a:cubicBezTo>
                    <a:pt x="336" y="317"/>
                    <a:pt x="336" y="317"/>
                    <a:pt x="336" y="317"/>
                  </a:cubicBezTo>
                  <a:cubicBezTo>
                    <a:pt x="324" y="358"/>
                    <a:pt x="324" y="358"/>
                    <a:pt x="324" y="358"/>
                  </a:cubicBezTo>
                  <a:cubicBezTo>
                    <a:pt x="320" y="341"/>
                    <a:pt x="320" y="341"/>
                    <a:pt x="320" y="341"/>
                  </a:cubicBezTo>
                  <a:cubicBezTo>
                    <a:pt x="320" y="318"/>
                    <a:pt x="320" y="318"/>
                    <a:pt x="320" y="318"/>
                  </a:cubicBezTo>
                  <a:cubicBezTo>
                    <a:pt x="319" y="341"/>
                    <a:pt x="319" y="341"/>
                    <a:pt x="319" y="341"/>
                  </a:cubicBezTo>
                  <a:cubicBezTo>
                    <a:pt x="308" y="341"/>
                    <a:pt x="308" y="341"/>
                    <a:pt x="308" y="341"/>
                  </a:cubicBezTo>
                  <a:cubicBezTo>
                    <a:pt x="306" y="319"/>
                    <a:pt x="306" y="319"/>
                    <a:pt x="306" y="319"/>
                  </a:cubicBezTo>
                  <a:cubicBezTo>
                    <a:pt x="306" y="341"/>
                    <a:pt x="306" y="341"/>
                    <a:pt x="306" y="341"/>
                  </a:cubicBezTo>
                  <a:cubicBezTo>
                    <a:pt x="294" y="377"/>
                    <a:pt x="294" y="377"/>
                    <a:pt x="294" y="377"/>
                  </a:cubicBezTo>
                  <a:cubicBezTo>
                    <a:pt x="292" y="377"/>
                    <a:pt x="292" y="377"/>
                    <a:pt x="292" y="377"/>
                  </a:cubicBezTo>
                  <a:cubicBezTo>
                    <a:pt x="292" y="378"/>
                    <a:pt x="292" y="378"/>
                    <a:pt x="292" y="378"/>
                  </a:cubicBezTo>
                  <a:cubicBezTo>
                    <a:pt x="294" y="378"/>
                    <a:pt x="294" y="378"/>
                    <a:pt x="294" y="378"/>
                  </a:cubicBezTo>
                  <a:cubicBezTo>
                    <a:pt x="294" y="408"/>
                    <a:pt x="294" y="408"/>
                    <a:pt x="294" y="408"/>
                  </a:cubicBezTo>
                  <a:cubicBezTo>
                    <a:pt x="180" y="408"/>
                    <a:pt x="180" y="408"/>
                    <a:pt x="180" y="408"/>
                  </a:cubicBezTo>
                  <a:cubicBezTo>
                    <a:pt x="160" y="380"/>
                    <a:pt x="160" y="380"/>
                    <a:pt x="160" y="380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58" y="379"/>
                    <a:pt x="158" y="379"/>
                    <a:pt x="158" y="379"/>
                  </a:cubicBezTo>
                  <a:cubicBezTo>
                    <a:pt x="135" y="379"/>
                    <a:pt x="135" y="379"/>
                    <a:pt x="135" y="379"/>
                  </a:cubicBezTo>
                  <a:cubicBezTo>
                    <a:pt x="134" y="366"/>
                    <a:pt x="134" y="366"/>
                    <a:pt x="134" y="366"/>
                  </a:cubicBezTo>
                  <a:cubicBezTo>
                    <a:pt x="134" y="379"/>
                    <a:pt x="134" y="379"/>
                    <a:pt x="134" y="379"/>
                  </a:cubicBezTo>
                  <a:cubicBezTo>
                    <a:pt x="121" y="402"/>
                    <a:pt x="121" y="402"/>
                    <a:pt x="121" y="402"/>
                  </a:cubicBezTo>
                  <a:cubicBezTo>
                    <a:pt x="104" y="392"/>
                    <a:pt x="104" y="392"/>
                    <a:pt x="104" y="392"/>
                  </a:cubicBezTo>
                  <a:cubicBezTo>
                    <a:pt x="102" y="383"/>
                    <a:pt x="102" y="383"/>
                    <a:pt x="102" y="383"/>
                  </a:cubicBezTo>
                  <a:cubicBezTo>
                    <a:pt x="102" y="392"/>
                    <a:pt x="102" y="392"/>
                    <a:pt x="102" y="392"/>
                  </a:cubicBezTo>
                  <a:cubicBezTo>
                    <a:pt x="95" y="404"/>
                    <a:pt x="95" y="404"/>
                    <a:pt x="95" y="404"/>
                  </a:cubicBezTo>
                  <a:cubicBezTo>
                    <a:pt x="84" y="373"/>
                    <a:pt x="84" y="373"/>
                    <a:pt x="84" y="373"/>
                  </a:cubicBezTo>
                  <a:cubicBezTo>
                    <a:pt x="69" y="373"/>
                    <a:pt x="69" y="373"/>
                    <a:pt x="69" y="373"/>
                  </a:cubicBezTo>
                  <a:cubicBezTo>
                    <a:pt x="54" y="412"/>
                    <a:pt x="54" y="412"/>
                    <a:pt x="54" y="412"/>
                  </a:cubicBezTo>
                  <a:cubicBezTo>
                    <a:pt x="53" y="412"/>
                    <a:pt x="53" y="412"/>
                    <a:pt x="53" y="412"/>
                  </a:cubicBezTo>
                  <a:cubicBezTo>
                    <a:pt x="53" y="417"/>
                    <a:pt x="53" y="417"/>
                    <a:pt x="53" y="417"/>
                  </a:cubicBezTo>
                  <a:cubicBezTo>
                    <a:pt x="50" y="417"/>
                    <a:pt x="50" y="417"/>
                    <a:pt x="50" y="417"/>
                  </a:cubicBezTo>
                  <a:cubicBezTo>
                    <a:pt x="50" y="420"/>
                    <a:pt x="50" y="420"/>
                    <a:pt x="50" y="420"/>
                  </a:cubicBezTo>
                  <a:cubicBezTo>
                    <a:pt x="48" y="420"/>
                    <a:pt x="48" y="420"/>
                    <a:pt x="48" y="420"/>
                  </a:cubicBezTo>
                  <a:cubicBezTo>
                    <a:pt x="46" y="412"/>
                    <a:pt x="46" y="412"/>
                    <a:pt x="46" y="412"/>
                  </a:cubicBezTo>
                  <a:cubicBezTo>
                    <a:pt x="46" y="434"/>
                    <a:pt x="46" y="434"/>
                    <a:pt x="46" y="434"/>
                  </a:cubicBezTo>
                  <a:cubicBezTo>
                    <a:pt x="45" y="434"/>
                    <a:pt x="45" y="434"/>
                    <a:pt x="45" y="434"/>
                  </a:cubicBezTo>
                  <a:cubicBezTo>
                    <a:pt x="42" y="430"/>
                    <a:pt x="42" y="430"/>
                    <a:pt x="42" y="430"/>
                  </a:cubicBezTo>
                  <a:cubicBezTo>
                    <a:pt x="42" y="435"/>
                    <a:pt x="42" y="435"/>
                    <a:pt x="42" y="435"/>
                  </a:cubicBezTo>
                  <a:cubicBezTo>
                    <a:pt x="43" y="433"/>
                    <a:pt x="43" y="433"/>
                    <a:pt x="43" y="433"/>
                  </a:cubicBezTo>
                  <a:cubicBezTo>
                    <a:pt x="43" y="474"/>
                    <a:pt x="43" y="474"/>
                    <a:pt x="43" y="474"/>
                  </a:cubicBezTo>
                  <a:cubicBezTo>
                    <a:pt x="40" y="474"/>
                    <a:pt x="40" y="474"/>
                    <a:pt x="40" y="474"/>
                  </a:cubicBezTo>
                  <a:cubicBezTo>
                    <a:pt x="40" y="469"/>
                    <a:pt x="40" y="469"/>
                    <a:pt x="40" y="469"/>
                  </a:cubicBezTo>
                  <a:cubicBezTo>
                    <a:pt x="37" y="469"/>
                    <a:pt x="37" y="469"/>
                    <a:pt x="37" y="469"/>
                  </a:cubicBezTo>
                  <a:cubicBezTo>
                    <a:pt x="37" y="463"/>
                    <a:pt x="37" y="463"/>
                    <a:pt x="37" y="463"/>
                  </a:cubicBezTo>
                  <a:cubicBezTo>
                    <a:pt x="35" y="463"/>
                    <a:pt x="35" y="463"/>
                    <a:pt x="35" y="463"/>
                  </a:cubicBezTo>
                  <a:cubicBezTo>
                    <a:pt x="35" y="458"/>
                    <a:pt x="35" y="458"/>
                    <a:pt x="35" y="458"/>
                  </a:cubicBezTo>
                  <a:cubicBezTo>
                    <a:pt x="31" y="458"/>
                    <a:pt x="31" y="458"/>
                    <a:pt x="31" y="458"/>
                  </a:cubicBezTo>
                  <a:cubicBezTo>
                    <a:pt x="31" y="454"/>
                    <a:pt x="31" y="454"/>
                    <a:pt x="31" y="454"/>
                  </a:cubicBezTo>
                  <a:cubicBezTo>
                    <a:pt x="28" y="454"/>
                    <a:pt x="28" y="454"/>
                    <a:pt x="28" y="454"/>
                  </a:cubicBezTo>
                  <a:cubicBezTo>
                    <a:pt x="28" y="448"/>
                    <a:pt x="28" y="448"/>
                    <a:pt x="28" y="448"/>
                  </a:cubicBezTo>
                  <a:cubicBezTo>
                    <a:pt x="25" y="448"/>
                    <a:pt x="25" y="448"/>
                    <a:pt x="25" y="448"/>
                  </a:cubicBezTo>
                  <a:cubicBezTo>
                    <a:pt x="25" y="444"/>
                    <a:pt x="25" y="444"/>
                    <a:pt x="25" y="444"/>
                  </a:cubicBezTo>
                  <a:cubicBezTo>
                    <a:pt x="20" y="444"/>
                    <a:pt x="20" y="444"/>
                    <a:pt x="20" y="444"/>
                  </a:cubicBezTo>
                  <a:cubicBezTo>
                    <a:pt x="20" y="448"/>
                    <a:pt x="20" y="448"/>
                    <a:pt x="20" y="448"/>
                  </a:cubicBezTo>
                  <a:cubicBezTo>
                    <a:pt x="17" y="448"/>
                    <a:pt x="17" y="448"/>
                    <a:pt x="17" y="448"/>
                  </a:cubicBezTo>
                  <a:cubicBezTo>
                    <a:pt x="17" y="454"/>
                    <a:pt x="17" y="454"/>
                    <a:pt x="17" y="454"/>
                  </a:cubicBezTo>
                  <a:cubicBezTo>
                    <a:pt x="14" y="454"/>
                    <a:pt x="14" y="454"/>
                    <a:pt x="14" y="454"/>
                  </a:cubicBezTo>
                  <a:cubicBezTo>
                    <a:pt x="14" y="459"/>
                    <a:pt x="14" y="459"/>
                    <a:pt x="14" y="459"/>
                  </a:cubicBezTo>
                  <a:cubicBezTo>
                    <a:pt x="10" y="459"/>
                    <a:pt x="10" y="459"/>
                    <a:pt x="10" y="459"/>
                  </a:cubicBezTo>
                  <a:cubicBezTo>
                    <a:pt x="10" y="464"/>
                    <a:pt x="10" y="464"/>
                    <a:pt x="10" y="464"/>
                  </a:cubicBezTo>
                  <a:cubicBezTo>
                    <a:pt x="7" y="464"/>
                    <a:pt x="7" y="464"/>
                    <a:pt x="7" y="464"/>
                  </a:cubicBezTo>
                  <a:cubicBezTo>
                    <a:pt x="7" y="469"/>
                    <a:pt x="7" y="469"/>
                    <a:pt x="7" y="469"/>
                  </a:cubicBezTo>
                  <a:cubicBezTo>
                    <a:pt x="4" y="469"/>
                    <a:pt x="4" y="469"/>
                    <a:pt x="4" y="469"/>
                  </a:cubicBezTo>
                  <a:cubicBezTo>
                    <a:pt x="4" y="473"/>
                    <a:pt x="4" y="473"/>
                    <a:pt x="4" y="473"/>
                  </a:cubicBezTo>
                  <a:cubicBezTo>
                    <a:pt x="0" y="473"/>
                    <a:pt x="0" y="473"/>
                    <a:pt x="0" y="473"/>
                  </a:cubicBezTo>
                  <a:cubicBezTo>
                    <a:pt x="0" y="475"/>
                    <a:pt x="0" y="475"/>
                    <a:pt x="0" y="475"/>
                  </a:cubicBezTo>
                  <a:cubicBezTo>
                    <a:pt x="0" y="475"/>
                    <a:pt x="0" y="526"/>
                    <a:pt x="0" y="527"/>
                  </a:cubicBezTo>
                  <a:cubicBezTo>
                    <a:pt x="750" y="527"/>
                    <a:pt x="750" y="527"/>
                    <a:pt x="750" y="527"/>
                  </a:cubicBezTo>
                  <a:cubicBezTo>
                    <a:pt x="773" y="527"/>
                    <a:pt x="773" y="527"/>
                    <a:pt x="773" y="527"/>
                  </a:cubicBezTo>
                  <a:cubicBezTo>
                    <a:pt x="808" y="527"/>
                    <a:pt x="808" y="527"/>
                    <a:pt x="808" y="527"/>
                  </a:cubicBezTo>
                  <a:cubicBezTo>
                    <a:pt x="808" y="527"/>
                    <a:pt x="808" y="527"/>
                    <a:pt x="808" y="527"/>
                  </a:cubicBezTo>
                  <a:cubicBezTo>
                    <a:pt x="844" y="527"/>
                    <a:pt x="844" y="527"/>
                    <a:pt x="844" y="527"/>
                  </a:cubicBezTo>
                  <a:cubicBezTo>
                    <a:pt x="862" y="527"/>
                    <a:pt x="862" y="527"/>
                    <a:pt x="862" y="527"/>
                  </a:cubicBezTo>
                  <a:cubicBezTo>
                    <a:pt x="866" y="527"/>
                    <a:pt x="866" y="527"/>
                    <a:pt x="866" y="527"/>
                  </a:cubicBezTo>
                  <a:cubicBezTo>
                    <a:pt x="920" y="527"/>
                    <a:pt x="920" y="527"/>
                    <a:pt x="920" y="527"/>
                  </a:cubicBezTo>
                  <a:cubicBezTo>
                    <a:pt x="1681" y="527"/>
                    <a:pt x="1681" y="527"/>
                    <a:pt x="1681" y="527"/>
                  </a:cubicBezTo>
                  <a:cubicBezTo>
                    <a:pt x="1726" y="527"/>
                    <a:pt x="1726" y="527"/>
                    <a:pt x="1726" y="527"/>
                  </a:cubicBezTo>
                  <a:cubicBezTo>
                    <a:pt x="2152" y="527"/>
                    <a:pt x="2152" y="527"/>
                    <a:pt x="2152" y="527"/>
                  </a:cubicBezTo>
                  <a:cubicBezTo>
                    <a:pt x="2157" y="527"/>
                    <a:pt x="2157" y="527"/>
                    <a:pt x="2157" y="527"/>
                  </a:cubicBezTo>
                  <a:cubicBezTo>
                    <a:pt x="2412" y="527"/>
                    <a:pt x="2412" y="527"/>
                    <a:pt x="2412" y="527"/>
                  </a:cubicBezTo>
                  <a:cubicBezTo>
                    <a:pt x="2495" y="527"/>
                    <a:pt x="2495" y="527"/>
                    <a:pt x="2495" y="527"/>
                  </a:cubicBezTo>
                  <a:cubicBezTo>
                    <a:pt x="2578" y="527"/>
                    <a:pt x="2578" y="527"/>
                    <a:pt x="2578" y="527"/>
                  </a:cubicBezTo>
                  <a:cubicBezTo>
                    <a:pt x="2871" y="527"/>
                    <a:pt x="2871" y="527"/>
                    <a:pt x="2871" y="527"/>
                  </a:cubicBezTo>
                  <a:cubicBezTo>
                    <a:pt x="3187" y="527"/>
                    <a:pt x="3187" y="527"/>
                    <a:pt x="3187" y="527"/>
                  </a:cubicBezTo>
                  <a:cubicBezTo>
                    <a:pt x="3187" y="414"/>
                    <a:pt x="3187" y="414"/>
                    <a:pt x="3187" y="414"/>
                  </a:cubicBezTo>
                  <a:lnTo>
                    <a:pt x="3156" y="414"/>
                  </a:lnTo>
                  <a:close/>
                  <a:moveTo>
                    <a:pt x="752" y="381"/>
                  </a:moveTo>
                  <a:cubicBezTo>
                    <a:pt x="752" y="385"/>
                    <a:pt x="752" y="385"/>
                    <a:pt x="752" y="385"/>
                  </a:cubicBezTo>
                  <a:cubicBezTo>
                    <a:pt x="755" y="385"/>
                    <a:pt x="755" y="385"/>
                    <a:pt x="755" y="385"/>
                  </a:cubicBezTo>
                  <a:cubicBezTo>
                    <a:pt x="755" y="388"/>
                    <a:pt x="755" y="388"/>
                    <a:pt x="755" y="388"/>
                  </a:cubicBezTo>
                  <a:cubicBezTo>
                    <a:pt x="760" y="388"/>
                    <a:pt x="760" y="388"/>
                    <a:pt x="760" y="388"/>
                  </a:cubicBezTo>
                  <a:cubicBezTo>
                    <a:pt x="760" y="394"/>
                    <a:pt x="760" y="394"/>
                    <a:pt x="760" y="394"/>
                  </a:cubicBezTo>
                  <a:cubicBezTo>
                    <a:pt x="758" y="396"/>
                    <a:pt x="758" y="396"/>
                    <a:pt x="758" y="396"/>
                  </a:cubicBezTo>
                  <a:cubicBezTo>
                    <a:pt x="762" y="396"/>
                    <a:pt x="762" y="396"/>
                    <a:pt x="762" y="396"/>
                  </a:cubicBezTo>
                  <a:cubicBezTo>
                    <a:pt x="762" y="439"/>
                    <a:pt x="762" y="439"/>
                    <a:pt x="762" y="439"/>
                  </a:cubicBezTo>
                  <a:cubicBezTo>
                    <a:pt x="762" y="439"/>
                    <a:pt x="762" y="439"/>
                    <a:pt x="762" y="439"/>
                  </a:cubicBezTo>
                  <a:cubicBezTo>
                    <a:pt x="762" y="428"/>
                    <a:pt x="762" y="428"/>
                    <a:pt x="762" y="428"/>
                  </a:cubicBezTo>
                  <a:cubicBezTo>
                    <a:pt x="759" y="428"/>
                    <a:pt x="759" y="428"/>
                    <a:pt x="759" y="428"/>
                  </a:cubicBezTo>
                  <a:cubicBezTo>
                    <a:pt x="759" y="405"/>
                    <a:pt x="759" y="405"/>
                    <a:pt x="759" y="405"/>
                  </a:cubicBezTo>
                  <a:cubicBezTo>
                    <a:pt x="755" y="428"/>
                    <a:pt x="755" y="428"/>
                    <a:pt x="755" y="428"/>
                  </a:cubicBezTo>
                  <a:cubicBezTo>
                    <a:pt x="757" y="428"/>
                    <a:pt x="757" y="428"/>
                    <a:pt x="757" y="428"/>
                  </a:cubicBezTo>
                  <a:cubicBezTo>
                    <a:pt x="757" y="437"/>
                    <a:pt x="757" y="437"/>
                    <a:pt x="757" y="437"/>
                  </a:cubicBezTo>
                  <a:cubicBezTo>
                    <a:pt x="756" y="437"/>
                    <a:pt x="756" y="437"/>
                    <a:pt x="756" y="437"/>
                  </a:cubicBezTo>
                  <a:cubicBezTo>
                    <a:pt x="756" y="440"/>
                    <a:pt x="756" y="440"/>
                    <a:pt x="756" y="440"/>
                  </a:cubicBezTo>
                  <a:cubicBezTo>
                    <a:pt x="751" y="440"/>
                    <a:pt x="751" y="440"/>
                    <a:pt x="751" y="440"/>
                  </a:cubicBezTo>
                  <a:cubicBezTo>
                    <a:pt x="751" y="445"/>
                    <a:pt x="751" y="445"/>
                    <a:pt x="751" y="445"/>
                  </a:cubicBezTo>
                  <a:cubicBezTo>
                    <a:pt x="747" y="439"/>
                    <a:pt x="747" y="439"/>
                    <a:pt x="747" y="439"/>
                  </a:cubicBezTo>
                  <a:cubicBezTo>
                    <a:pt x="747" y="421"/>
                    <a:pt x="747" y="421"/>
                    <a:pt x="747" y="421"/>
                  </a:cubicBezTo>
                  <a:cubicBezTo>
                    <a:pt x="750" y="421"/>
                    <a:pt x="750" y="421"/>
                    <a:pt x="750" y="421"/>
                  </a:cubicBezTo>
                  <a:cubicBezTo>
                    <a:pt x="750" y="386"/>
                    <a:pt x="750" y="386"/>
                    <a:pt x="750" y="386"/>
                  </a:cubicBezTo>
                  <a:cubicBezTo>
                    <a:pt x="748" y="381"/>
                    <a:pt x="748" y="381"/>
                    <a:pt x="748" y="381"/>
                  </a:cubicBezTo>
                  <a:lnTo>
                    <a:pt x="752" y="381"/>
                  </a:lnTo>
                  <a:close/>
                  <a:moveTo>
                    <a:pt x="800" y="177"/>
                  </a:moveTo>
                  <a:cubicBezTo>
                    <a:pt x="806" y="178"/>
                    <a:pt x="805" y="184"/>
                    <a:pt x="805" y="184"/>
                  </a:cubicBezTo>
                  <a:cubicBezTo>
                    <a:pt x="805" y="218"/>
                    <a:pt x="805" y="218"/>
                    <a:pt x="805" y="218"/>
                  </a:cubicBezTo>
                  <a:cubicBezTo>
                    <a:pt x="794" y="218"/>
                    <a:pt x="794" y="218"/>
                    <a:pt x="794" y="218"/>
                  </a:cubicBezTo>
                  <a:cubicBezTo>
                    <a:pt x="794" y="186"/>
                    <a:pt x="794" y="186"/>
                    <a:pt x="794" y="186"/>
                  </a:cubicBezTo>
                  <a:cubicBezTo>
                    <a:pt x="794" y="186"/>
                    <a:pt x="794" y="177"/>
                    <a:pt x="800" y="177"/>
                  </a:cubicBezTo>
                  <a:close/>
                  <a:moveTo>
                    <a:pt x="807" y="286"/>
                  </a:moveTo>
                  <a:cubicBezTo>
                    <a:pt x="807" y="327"/>
                    <a:pt x="807" y="327"/>
                    <a:pt x="807" y="327"/>
                  </a:cubicBezTo>
                  <a:cubicBezTo>
                    <a:pt x="794" y="327"/>
                    <a:pt x="794" y="327"/>
                    <a:pt x="794" y="327"/>
                  </a:cubicBezTo>
                  <a:cubicBezTo>
                    <a:pt x="794" y="288"/>
                    <a:pt x="794" y="288"/>
                    <a:pt x="794" y="288"/>
                  </a:cubicBezTo>
                  <a:cubicBezTo>
                    <a:pt x="794" y="288"/>
                    <a:pt x="793" y="277"/>
                    <a:pt x="801" y="277"/>
                  </a:cubicBezTo>
                  <a:cubicBezTo>
                    <a:pt x="808" y="278"/>
                    <a:pt x="807" y="286"/>
                    <a:pt x="807" y="286"/>
                  </a:cubicBezTo>
                  <a:close/>
                  <a:moveTo>
                    <a:pt x="815" y="177"/>
                  </a:moveTo>
                  <a:cubicBezTo>
                    <a:pt x="822" y="178"/>
                    <a:pt x="821" y="184"/>
                    <a:pt x="821" y="184"/>
                  </a:cubicBezTo>
                  <a:cubicBezTo>
                    <a:pt x="821" y="218"/>
                    <a:pt x="821" y="218"/>
                    <a:pt x="821" y="218"/>
                  </a:cubicBezTo>
                  <a:cubicBezTo>
                    <a:pt x="810" y="218"/>
                    <a:pt x="810" y="218"/>
                    <a:pt x="810" y="218"/>
                  </a:cubicBezTo>
                  <a:cubicBezTo>
                    <a:pt x="810" y="186"/>
                    <a:pt x="810" y="186"/>
                    <a:pt x="810" y="186"/>
                  </a:cubicBezTo>
                  <a:cubicBezTo>
                    <a:pt x="810" y="186"/>
                    <a:pt x="809" y="177"/>
                    <a:pt x="815" y="177"/>
                  </a:cubicBezTo>
                  <a:close/>
                  <a:moveTo>
                    <a:pt x="825" y="286"/>
                  </a:moveTo>
                  <a:cubicBezTo>
                    <a:pt x="825" y="327"/>
                    <a:pt x="825" y="327"/>
                    <a:pt x="825" y="327"/>
                  </a:cubicBezTo>
                  <a:cubicBezTo>
                    <a:pt x="812" y="327"/>
                    <a:pt x="812" y="327"/>
                    <a:pt x="812" y="327"/>
                  </a:cubicBezTo>
                  <a:cubicBezTo>
                    <a:pt x="812" y="288"/>
                    <a:pt x="812" y="288"/>
                    <a:pt x="812" y="288"/>
                  </a:cubicBezTo>
                  <a:cubicBezTo>
                    <a:pt x="812" y="288"/>
                    <a:pt x="811" y="277"/>
                    <a:pt x="819" y="277"/>
                  </a:cubicBezTo>
                  <a:cubicBezTo>
                    <a:pt x="826" y="278"/>
                    <a:pt x="825" y="286"/>
                    <a:pt x="825" y="286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accent6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</p:grpSp>
      <p:sp>
        <p:nvSpPr>
          <p:cNvPr id="6" name="rbStamp_Instructions">
            <a:extLst>
              <a:ext uri="{FF2B5EF4-FFF2-40B4-BE49-F238E27FC236}">
                <a16:creationId xmlns:a16="http://schemas.microsoft.com/office/drawing/2014/main" xmlns="" id="{8CD52D2A-A90C-4945-88F5-7AB485D5FFCF}"/>
              </a:ext>
            </a:extLst>
          </p:cNvPr>
          <p:cNvSpPr txBox="1"/>
          <p:nvPr/>
        </p:nvSpPr>
        <p:spPr>
          <a:xfrm>
            <a:off x="8365691" y="1826429"/>
            <a:ext cx="3583939" cy="379414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noAutofit/>
          </a:bodyPr>
          <a:lstStyle/>
          <a:p>
            <a:pPr marL="103026" lvl="1" indent="-103026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Asegurar la presencia en el seminario</a:t>
            </a:r>
          </a:p>
          <a:p>
            <a:pPr marL="103026" lvl="1" indent="-103026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Preparar la presentación sobre los progresos realizados en la fase de visión y ambición </a:t>
            </a:r>
          </a:p>
          <a:p>
            <a:pPr marL="103026" lvl="1" indent="-103026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Revisar el progreso de otras ciudades para poder aprender de sus buenas prácticas. </a:t>
            </a:r>
          </a:p>
          <a:p>
            <a:pPr marL="103026" lvl="1" indent="-103026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Organizar una sesión informativa después del seminario de la academia con los actores locales involucrados en el proyecto. </a:t>
            </a:r>
          </a:p>
          <a:p>
            <a:pPr marL="103026" lvl="1" indent="-103026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b="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Praparar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la siguiente fase (Fase 2: Estrategia) mediante la recopilación de documentos y políticas pertinentes en relación con la estrategia digital de su ciudad. </a:t>
            </a:r>
            <a:endParaRPr lang="en-GB" sz="1500" b="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10" name="rbStamp_Instructions">
            <a:extLst>
              <a:ext uri="{FF2B5EF4-FFF2-40B4-BE49-F238E27FC236}">
                <a16:creationId xmlns:a16="http://schemas.microsoft.com/office/drawing/2014/main" xmlns="" id="{019DBBFD-6C54-47CB-865C-4BBEABECB2FA}"/>
              </a:ext>
            </a:extLst>
          </p:cNvPr>
          <p:cNvSpPr txBox="1"/>
          <p:nvPr/>
        </p:nvSpPr>
        <p:spPr>
          <a:xfrm>
            <a:off x="8365692" y="1314032"/>
            <a:ext cx="3394507" cy="470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s-ES" sz="1700" b="0" dirty="0">
                <a:solidFill>
                  <a:schemeClr val="accent6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Funciones y responsabilidades de los jefes de equipo </a:t>
            </a:r>
            <a:endParaRPr lang="en-GB" sz="1700" b="0" dirty="0">
              <a:solidFill>
                <a:schemeClr val="accent6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C81A02E2-7C88-4CE6-B5C5-8291214C743E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4551719" y="1514461"/>
            <a:ext cx="3673103" cy="1"/>
          </a:xfrm>
          <a:prstGeom prst="line">
            <a:avLst/>
          </a:prstGeom>
          <a:ln w="22225" cmpd="sng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bStamp_Instructions">
            <a:extLst>
              <a:ext uri="{FF2B5EF4-FFF2-40B4-BE49-F238E27FC236}">
                <a16:creationId xmlns:a16="http://schemas.microsoft.com/office/drawing/2014/main" xmlns="" id="{4FDBB496-4EC4-43BE-B126-C1EACF4C5F68}"/>
              </a:ext>
            </a:extLst>
          </p:cNvPr>
          <p:cNvSpPr txBox="1"/>
          <p:nvPr/>
        </p:nvSpPr>
        <p:spPr>
          <a:xfrm>
            <a:off x="3442236" y="1396737"/>
            <a:ext cx="1109483" cy="235449"/>
          </a:xfrm>
          <a:prstGeom prst="rect">
            <a:avLst/>
          </a:prstGeom>
          <a:solidFill>
            <a:schemeClr val="lt1"/>
          </a:solidFill>
          <a:ln w="9525">
            <a:noFill/>
          </a:ln>
        </p:spPr>
        <p:txBody>
          <a:bodyPr vert="horz" wrap="square" lIns="0" tIns="0" rIns="35812" bIns="0" rtlCol="0" anchor="ctr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buSzPct val="100000"/>
              <a:defRPr sz="1500">
                <a:solidFill>
                  <a:schemeClr val="accent3">
                    <a:lumMod val="100000"/>
                  </a:schemeClr>
                </a:solidFill>
                <a:latin typeface="+mn-lt"/>
              </a:defRPr>
            </a:lvl1pPr>
          </a:lstStyle>
          <a:p>
            <a:r>
              <a:rPr lang="en-GB" sz="1700" b="0" dirty="0" err="1">
                <a:solidFill>
                  <a:schemeClr val="accent6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Objetivos</a:t>
            </a:r>
            <a:endParaRPr lang="en-GB" sz="1700" b="0" dirty="0">
              <a:solidFill>
                <a:schemeClr val="accent6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32" name="Subtitle">
            <a:extLst>
              <a:ext uri="{FF2B5EF4-FFF2-40B4-BE49-F238E27FC236}">
                <a16:creationId xmlns:a16="http://schemas.microsoft.com/office/drawing/2014/main" xmlns="" id="{35728AED-9C32-48A2-B633-6A5366D1D217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79432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Para concluir la Fase 1, las </a:t>
            </a: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ciudades/regi</a:t>
            </a: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ón</a:t>
            </a: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</a:t>
            </a: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e preparan y participan en el seminario de ambición para compartir su propia visión y revisar la de sus compañeros. 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30" name="RbNavigator">
            <a:extLst>
              <a:ext uri="{FF2B5EF4-FFF2-40B4-BE49-F238E27FC236}">
                <a16:creationId xmlns:a16="http://schemas.microsoft.com/office/drawing/2014/main" xmlns="" id="{296FC803-7C91-4394-A4D3-CCE1BACF4C78}"/>
              </a:ext>
            </a:extLst>
          </p:cNvPr>
          <p:cNvSpPr txBox="1"/>
          <p:nvPr/>
        </p:nvSpPr>
        <p:spPr>
          <a:xfrm>
            <a:off x="2820927" y="1"/>
            <a:ext cx="288000" cy="288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+mn-lt"/>
                <a:sym typeface="+mn-lt"/>
              </a:rPr>
              <a:t>1</a:t>
            </a:r>
          </a:p>
        </p:txBody>
      </p:sp>
      <p:sp>
        <p:nvSpPr>
          <p:cNvPr id="31" name="RbSticker">
            <a:extLst>
              <a:ext uri="{FF2B5EF4-FFF2-40B4-BE49-F238E27FC236}">
                <a16:creationId xmlns:a16="http://schemas.microsoft.com/office/drawing/2014/main" xmlns="" id="{B6334ECC-4746-4981-BE5E-A3D5D26FA550}"/>
              </a:ext>
            </a:extLst>
          </p:cNvPr>
          <p:cNvSpPr txBox="1"/>
          <p:nvPr/>
        </p:nvSpPr>
        <p:spPr>
          <a:xfrm>
            <a:off x="3188804" y="53111"/>
            <a:ext cx="1916422" cy="23544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Visión</a:t>
            </a:r>
            <a:r>
              <a:rPr lang="en-GB" sz="17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&amp; </a:t>
            </a: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Ambición</a:t>
            </a:r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33" name="rbStamp_Instructions">
            <a:extLst>
              <a:ext uri="{FF2B5EF4-FFF2-40B4-BE49-F238E27FC236}">
                <a16:creationId xmlns:a16="http://schemas.microsoft.com/office/drawing/2014/main" xmlns="" id="{77B70D1F-C75E-4D54-9788-6EAFF8E75B27}"/>
              </a:ext>
            </a:extLst>
          </p:cNvPr>
          <p:cNvSpPr txBox="1"/>
          <p:nvPr/>
        </p:nvSpPr>
        <p:spPr>
          <a:xfrm>
            <a:off x="3108927" y="1759782"/>
            <a:ext cx="4949723" cy="92333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167889" lvl="1" indent="-167889" algn="just">
              <a:spcBef>
                <a:spcPts val="533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Reunir a las ciudades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para asegurar una revisión por pares de los progresos realizados en la fase de visión y ambición, y para garantizar que se compartan las buenas prácticas entre los participantes. </a:t>
            </a:r>
            <a:endParaRPr lang="en-GB" sz="1500" b="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36" name="rbStamp_Instructions">
            <a:extLst>
              <a:ext uri="{FF2B5EF4-FFF2-40B4-BE49-F238E27FC236}">
                <a16:creationId xmlns:a16="http://schemas.microsoft.com/office/drawing/2014/main" xmlns="" id="{A92466C9-A347-4571-BB0A-CDD4C2E3F17D}"/>
              </a:ext>
            </a:extLst>
          </p:cNvPr>
          <p:cNvSpPr txBox="1"/>
          <p:nvPr/>
        </p:nvSpPr>
        <p:spPr>
          <a:xfrm>
            <a:off x="3442236" y="2808608"/>
            <a:ext cx="2935548" cy="36743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b="0" dirty="0" err="1">
                <a:solidFill>
                  <a:schemeClr val="accent6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lementos</a:t>
            </a:r>
            <a:r>
              <a:rPr lang="en-GB" sz="1700" b="0" dirty="0">
                <a:solidFill>
                  <a:schemeClr val="accent6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clave del </a:t>
            </a:r>
            <a:r>
              <a:rPr lang="en-GB" sz="1700" b="0" dirty="0" err="1">
                <a:solidFill>
                  <a:schemeClr val="accent6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eminario</a:t>
            </a:r>
            <a:r>
              <a:rPr lang="en-GB" sz="1700" b="0" dirty="0">
                <a:solidFill>
                  <a:schemeClr val="accent6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</a:t>
            </a:r>
          </a:p>
        </p:txBody>
      </p:sp>
      <p:sp>
        <p:nvSpPr>
          <p:cNvPr id="37" name="JoinText34">
            <a:extLst>
              <a:ext uri="{FF2B5EF4-FFF2-40B4-BE49-F238E27FC236}">
                <a16:creationId xmlns:a16="http://schemas.microsoft.com/office/drawing/2014/main" xmlns="" id="{AEE716AA-EB5B-4EB8-A036-0A2B55FB94C8}"/>
              </a:ext>
            </a:extLst>
          </p:cNvPr>
          <p:cNvSpPr txBox="1">
            <a:spLocks/>
          </p:cNvSpPr>
          <p:nvPr/>
        </p:nvSpPr>
        <p:spPr>
          <a:xfrm>
            <a:off x="3108929" y="3246635"/>
            <a:ext cx="4949722" cy="226985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67889" lvl="1" indent="-167889">
              <a:spcBef>
                <a:spcPts val="533"/>
              </a:spcBef>
              <a:buSzPct val="100000"/>
              <a:buFont typeface="Arial"/>
              <a:buChar char="•"/>
            </a:pPr>
            <a:r>
              <a:rPr lang="es-ES" sz="15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Presentación y revisión</a:t>
            </a:r>
            <a:r>
              <a:rPr lang="es-ES" sz="15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por parte de homólogos de la madurez digital actual y de la visión y ambición digital</a:t>
            </a:r>
          </a:p>
          <a:p>
            <a:pPr marL="167889" lvl="1" indent="-167889">
              <a:spcBef>
                <a:spcPts val="533"/>
              </a:spcBef>
              <a:buSzPct val="100000"/>
              <a:buFont typeface="Arial"/>
              <a:buChar char="•"/>
            </a:pPr>
            <a:r>
              <a:rPr lang="es-ES" sz="15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Intercambio de buenas prácticas </a:t>
            </a:r>
            <a:r>
              <a:rPr lang="es-ES" sz="15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ntre ciudades y sobre la base de ejemplos externos </a:t>
            </a:r>
          </a:p>
          <a:p>
            <a:pPr marL="167889" lvl="1" indent="-167889">
              <a:spcBef>
                <a:spcPts val="533"/>
              </a:spcBef>
              <a:buSzPct val="100000"/>
              <a:buFont typeface="Arial"/>
              <a:buChar char="•"/>
            </a:pPr>
            <a:r>
              <a:rPr lang="es-ES" sz="15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Importantes oportunidades de creación de redes </a:t>
            </a:r>
            <a:r>
              <a:rPr lang="es-ES" sz="15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para promover la colaboración y el aprendizaje mutuo entre ciudades. </a:t>
            </a:r>
          </a:p>
          <a:p>
            <a:pPr marL="167889" lvl="1" indent="-167889">
              <a:spcBef>
                <a:spcPts val="533"/>
              </a:spcBef>
              <a:buSzPct val="100000"/>
              <a:buFont typeface="Arial"/>
              <a:buChar char="•"/>
            </a:pPr>
            <a:r>
              <a:rPr lang="es-ES" sz="15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esiones formativas </a:t>
            </a:r>
            <a:r>
              <a:rPr lang="es-ES" sz="15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obre métodos y temas relacionados con la Fase 2: Estrategia </a:t>
            </a:r>
            <a:endParaRPr lang="en-GB" sz="1500" b="0" dirty="0">
              <a:solidFill>
                <a:srgbClr val="000000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520F8B42-3008-4284-A4F2-1A037A7F1507}"/>
              </a:ext>
            </a:extLst>
          </p:cNvPr>
          <p:cNvGrpSpPr>
            <a:grpSpLocks noChangeAspect="1"/>
          </p:cNvGrpSpPr>
          <p:nvPr/>
        </p:nvGrpSpPr>
        <p:grpSpPr>
          <a:xfrm>
            <a:off x="2692517" y="1303521"/>
            <a:ext cx="660640" cy="456261"/>
            <a:chOff x="1720851" y="1301751"/>
            <a:chExt cx="3576638" cy="2470150"/>
          </a:xfrm>
          <a:solidFill>
            <a:schemeClr val="accent5"/>
          </a:solidFill>
        </p:grpSpPr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xmlns="" id="{DC51B0D8-2F68-463A-A32F-E8A55AC4E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088" y="1301751"/>
              <a:ext cx="2389188" cy="2395538"/>
            </a:xfrm>
            <a:custGeom>
              <a:avLst/>
              <a:gdLst>
                <a:gd name="T0" fmla="*/ 1992 w 2074"/>
                <a:gd name="T1" fmla="*/ 1162 h 2080"/>
                <a:gd name="T2" fmla="*/ 1040 w 2074"/>
                <a:gd name="T3" fmla="*/ 2000 h 2080"/>
                <a:gd name="T4" fmla="*/ 80 w 2074"/>
                <a:gd name="T5" fmla="*/ 1040 h 2080"/>
                <a:gd name="T6" fmla="*/ 1040 w 2074"/>
                <a:gd name="T7" fmla="*/ 80 h 2080"/>
                <a:gd name="T8" fmla="*/ 1993 w 2074"/>
                <a:gd name="T9" fmla="*/ 925 h 2080"/>
                <a:gd name="T10" fmla="*/ 2074 w 2074"/>
                <a:gd name="T11" fmla="*/ 925 h 2080"/>
                <a:gd name="T12" fmla="*/ 1040 w 2074"/>
                <a:gd name="T13" fmla="*/ 0 h 2080"/>
                <a:gd name="T14" fmla="*/ 0 w 2074"/>
                <a:gd name="T15" fmla="*/ 1040 h 2080"/>
                <a:gd name="T16" fmla="*/ 1040 w 2074"/>
                <a:gd name="T17" fmla="*/ 2080 h 2080"/>
                <a:gd name="T18" fmla="*/ 2073 w 2074"/>
                <a:gd name="T19" fmla="*/ 1162 h 2080"/>
                <a:gd name="T20" fmla="*/ 1992 w 2074"/>
                <a:gd name="T21" fmla="*/ 1162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4" h="2080">
                  <a:moveTo>
                    <a:pt x="1992" y="1162"/>
                  </a:moveTo>
                  <a:cubicBezTo>
                    <a:pt x="1933" y="1635"/>
                    <a:pt x="1529" y="2000"/>
                    <a:pt x="1040" y="2000"/>
                  </a:cubicBezTo>
                  <a:cubicBezTo>
                    <a:pt x="510" y="2000"/>
                    <a:pt x="80" y="1571"/>
                    <a:pt x="80" y="1040"/>
                  </a:cubicBezTo>
                  <a:cubicBezTo>
                    <a:pt x="80" y="510"/>
                    <a:pt x="510" y="80"/>
                    <a:pt x="1040" y="80"/>
                  </a:cubicBezTo>
                  <a:cubicBezTo>
                    <a:pt x="1531" y="80"/>
                    <a:pt x="1936" y="449"/>
                    <a:pt x="1993" y="925"/>
                  </a:cubicBezTo>
                  <a:cubicBezTo>
                    <a:pt x="2074" y="925"/>
                    <a:pt x="2074" y="925"/>
                    <a:pt x="2074" y="925"/>
                  </a:cubicBezTo>
                  <a:cubicBezTo>
                    <a:pt x="2016" y="405"/>
                    <a:pt x="1575" y="0"/>
                    <a:pt x="1040" y="0"/>
                  </a:cubicBezTo>
                  <a:cubicBezTo>
                    <a:pt x="466" y="0"/>
                    <a:pt x="0" y="466"/>
                    <a:pt x="0" y="1040"/>
                  </a:cubicBezTo>
                  <a:cubicBezTo>
                    <a:pt x="0" y="1615"/>
                    <a:pt x="466" y="2080"/>
                    <a:pt x="1040" y="2080"/>
                  </a:cubicBezTo>
                  <a:cubicBezTo>
                    <a:pt x="1573" y="2080"/>
                    <a:pt x="2013" y="1679"/>
                    <a:pt x="2073" y="1162"/>
                  </a:cubicBezTo>
                  <a:lnTo>
                    <a:pt x="1992" y="1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xmlns="" id="{0F2AF4F7-4C1B-4D52-B39E-CB8C73E2E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2225676"/>
              <a:ext cx="514350" cy="547688"/>
            </a:xfrm>
            <a:custGeom>
              <a:avLst/>
              <a:gdLst>
                <a:gd name="T0" fmla="*/ 238 w 446"/>
                <a:gd name="T1" fmla="*/ 80 h 475"/>
                <a:gd name="T2" fmla="*/ 346 w 446"/>
                <a:gd name="T3" fmla="*/ 122 h 475"/>
                <a:gd name="T4" fmla="*/ 446 w 446"/>
                <a:gd name="T5" fmla="*/ 122 h 475"/>
                <a:gd name="T6" fmla="*/ 238 w 446"/>
                <a:gd name="T7" fmla="*/ 0 h 475"/>
                <a:gd name="T8" fmla="*/ 0 w 446"/>
                <a:gd name="T9" fmla="*/ 237 h 475"/>
                <a:gd name="T10" fmla="*/ 238 w 446"/>
                <a:gd name="T11" fmla="*/ 475 h 475"/>
                <a:gd name="T12" fmla="*/ 443 w 446"/>
                <a:gd name="T13" fmla="*/ 359 h 475"/>
                <a:gd name="T14" fmla="*/ 339 w 446"/>
                <a:gd name="T15" fmla="*/ 359 h 475"/>
                <a:gd name="T16" fmla="*/ 238 w 446"/>
                <a:gd name="T17" fmla="*/ 395 h 475"/>
                <a:gd name="T18" fmla="*/ 80 w 446"/>
                <a:gd name="T19" fmla="*/ 237 h 475"/>
                <a:gd name="T20" fmla="*/ 238 w 446"/>
                <a:gd name="T21" fmla="*/ 8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6" h="475">
                  <a:moveTo>
                    <a:pt x="238" y="80"/>
                  </a:moveTo>
                  <a:cubicBezTo>
                    <a:pt x="280" y="80"/>
                    <a:pt x="318" y="96"/>
                    <a:pt x="346" y="122"/>
                  </a:cubicBezTo>
                  <a:cubicBezTo>
                    <a:pt x="446" y="122"/>
                    <a:pt x="446" y="122"/>
                    <a:pt x="446" y="122"/>
                  </a:cubicBezTo>
                  <a:cubicBezTo>
                    <a:pt x="406" y="49"/>
                    <a:pt x="328" y="0"/>
                    <a:pt x="238" y="0"/>
                  </a:cubicBezTo>
                  <a:cubicBezTo>
                    <a:pt x="107" y="0"/>
                    <a:pt x="0" y="106"/>
                    <a:pt x="0" y="237"/>
                  </a:cubicBezTo>
                  <a:cubicBezTo>
                    <a:pt x="0" y="369"/>
                    <a:pt x="107" y="475"/>
                    <a:pt x="238" y="475"/>
                  </a:cubicBezTo>
                  <a:cubicBezTo>
                    <a:pt x="325" y="475"/>
                    <a:pt x="401" y="428"/>
                    <a:pt x="443" y="359"/>
                  </a:cubicBezTo>
                  <a:cubicBezTo>
                    <a:pt x="339" y="359"/>
                    <a:pt x="339" y="359"/>
                    <a:pt x="339" y="359"/>
                  </a:cubicBezTo>
                  <a:cubicBezTo>
                    <a:pt x="312" y="381"/>
                    <a:pt x="277" y="395"/>
                    <a:pt x="238" y="395"/>
                  </a:cubicBezTo>
                  <a:cubicBezTo>
                    <a:pt x="151" y="395"/>
                    <a:pt x="80" y="325"/>
                    <a:pt x="80" y="237"/>
                  </a:cubicBezTo>
                  <a:cubicBezTo>
                    <a:pt x="80" y="150"/>
                    <a:pt x="151" y="80"/>
                    <a:pt x="23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xmlns="" id="{93156234-A790-41CE-97A7-9557A3E17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8226" y="1765301"/>
              <a:ext cx="1458913" cy="1468438"/>
            </a:xfrm>
            <a:custGeom>
              <a:avLst/>
              <a:gdLst>
                <a:gd name="T0" fmla="*/ 1184 w 1266"/>
                <a:gd name="T1" fmla="*/ 522 h 1275"/>
                <a:gd name="T2" fmla="*/ 1266 w 1266"/>
                <a:gd name="T3" fmla="*/ 522 h 1275"/>
                <a:gd name="T4" fmla="*/ 638 w 1266"/>
                <a:gd name="T5" fmla="*/ 0 h 1275"/>
                <a:gd name="T6" fmla="*/ 0 w 1266"/>
                <a:gd name="T7" fmla="*/ 637 h 1275"/>
                <a:gd name="T8" fmla="*/ 638 w 1266"/>
                <a:gd name="T9" fmla="*/ 1275 h 1275"/>
                <a:gd name="T10" fmla="*/ 1264 w 1266"/>
                <a:gd name="T11" fmla="*/ 759 h 1275"/>
                <a:gd name="T12" fmla="*/ 1183 w 1266"/>
                <a:gd name="T13" fmla="*/ 759 h 1275"/>
                <a:gd name="T14" fmla="*/ 638 w 1266"/>
                <a:gd name="T15" fmla="*/ 1195 h 1275"/>
                <a:gd name="T16" fmla="*/ 80 w 1266"/>
                <a:gd name="T17" fmla="*/ 637 h 1275"/>
                <a:gd name="T18" fmla="*/ 638 w 1266"/>
                <a:gd name="T19" fmla="*/ 80 h 1275"/>
                <a:gd name="T20" fmla="*/ 1184 w 1266"/>
                <a:gd name="T21" fmla="*/ 522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1275">
                  <a:moveTo>
                    <a:pt x="1184" y="522"/>
                  </a:moveTo>
                  <a:cubicBezTo>
                    <a:pt x="1266" y="522"/>
                    <a:pt x="1266" y="522"/>
                    <a:pt x="1266" y="522"/>
                  </a:cubicBezTo>
                  <a:cubicBezTo>
                    <a:pt x="1211" y="225"/>
                    <a:pt x="951" y="0"/>
                    <a:pt x="638" y="0"/>
                  </a:cubicBezTo>
                  <a:cubicBezTo>
                    <a:pt x="286" y="0"/>
                    <a:pt x="0" y="285"/>
                    <a:pt x="0" y="637"/>
                  </a:cubicBezTo>
                  <a:cubicBezTo>
                    <a:pt x="0" y="990"/>
                    <a:pt x="286" y="1275"/>
                    <a:pt x="638" y="1275"/>
                  </a:cubicBezTo>
                  <a:cubicBezTo>
                    <a:pt x="949" y="1275"/>
                    <a:pt x="1208" y="1053"/>
                    <a:pt x="1264" y="759"/>
                  </a:cubicBezTo>
                  <a:cubicBezTo>
                    <a:pt x="1183" y="759"/>
                    <a:pt x="1183" y="759"/>
                    <a:pt x="1183" y="759"/>
                  </a:cubicBezTo>
                  <a:cubicBezTo>
                    <a:pt x="1127" y="1008"/>
                    <a:pt x="905" y="1195"/>
                    <a:pt x="638" y="1195"/>
                  </a:cubicBezTo>
                  <a:cubicBezTo>
                    <a:pt x="330" y="1195"/>
                    <a:pt x="80" y="945"/>
                    <a:pt x="80" y="637"/>
                  </a:cubicBezTo>
                  <a:cubicBezTo>
                    <a:pt x="80" y="329"/>
                    <a:pt x="330" y="80"/>
                    <a:pt x="638" y="80"/>
                  </a:cubicBezTo>
                  <a:cubicBezTo>
                    <a:pt x="907" y="80"/>
                    <a:pt x="1131" y="269"/>
                    <a:pt x="1184" y="5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xmlns="" id="{ADC5E938-0359-4460-91B7-B590EB937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351" y="2109788"/>
              <a:ext cx="2243138" cy="785813"/>
            </a:xfrm>
            <a:custGeom>
              <a:avLst/>
              <a:gdLst>
                <a:gd name="T0" fmla="*/ 1209 w 1413"/>
                <a:gd name="T1" fmla="*/ 245 h 495"/>
                <a:gd name="T2" fmla="*/ 1413 w 1413"/>
                <a:gd name="T3" fmla="*/ 41 h 495"/>
                <a:gd name="T4" fmla="*/ 1372 w 1413"/>
                <a:gd name="T5" fmla="*/ 0 h 495"/>
                <a:gd name="T6" fmla="*/ 1155 w 1413"/>
                <a:gd name="T7" fmla="*/ 218 h 495"/>
                <a:gd name="T8" fmla="*/ 967 w 1413"/>
                <a:gd name="T9" fmla="*/ 218 h 495"/>
                <a:gd name="T10" fmla="*/ 1143 w 1413"/>
                <a:gd name="T11" fmla="*/ 41 h 495"/>
                <a:gd name="T12" fmla="*/ 1103 w 1413"/>
                <a:gd name="T13" fmla="*/ 0 h 495"/>
                <a:gd name="T14" fmla="*/ 885 w 1413"/>
                <a:gd name="T15" fmla="*/ 218 h 495"/>
                <a:gd name="T16" fmla="*/ 0 w 1413"/>
                <a:gd name="T17" fmla="*/ 218 h 495"/>
                <a:gd name="T18" fmla="*/ 0 w 1413"/>
                <a:gd name="T19" fmla="*/ 276 h 495"/>
                <a:gd name="T20" fmla="*/ 883 w 1413"/>
                <a:gd name="T21" fmla="*/ 276 h 495"/>
                <a:gd name="T22" fmla="*/ 1103 w 1413"/>
                <a:gd name="T23" fmla="*/ 495 h 495"/>
                <a:gd name="T24" fmla="*/ 1143 w 1413"/>
                <a:gd name="T25" fmla="*/ 454 h 495"/>
                <a:gd name="T26" fmla="*/ 965 w 1413"/>
                <a:gd name="T27" fmla="*/ 276 h 495"/>
                <a:gd name="T28" fmla="*/ 1153 w 1413"/>
                <a:gd name="T29" fmla="*/ 276 h 495"/>
                <a:gd name="T30" fmla="*/ 1372 w 1413"/>
                <a:gd name="T31" fmla="*/ 495 h 495"/>
                <a:gd name="T32" fmla="*/ 1413 w 1413"/>
                <a:gd name="T33" fmla="*/ 454 h 495"/>
                <a:gd name="T34" fmla="*/ 1209 w 1413"/>
                <a:gd name="T35" fmla="*/ 250 h 495"/>
                <a:gd name="T36" fmla="*/ 1209 w 1413"/>
                <a:gd name="T37" fmla="*/ 24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13" h="495">
                  <a:moveTo>
                    <a:pt x="1209" y="245"/>
                  </a:moveTo>
                  <a:lnTo>
                    <a:pt x="1413" y="41"/>
                  </a:lnTo>
                  <a:lnTo>
                    <a:pt x="1372" y="0"/>
                  </a:lnTo>
                  <a:lnTo>
                    <a:pt x="1155" y="218"/>
                  </a:lnTo>
                  <a:lnTo>
                    <a:pt x="967" y="218"/>
                  </a:lnTo>
                  <a:lnTo>
                    <a:pt x="1143" y="41"/>
                  </a:lnTo>
                  <a:lnTo>
                    <a:pt x="1103" y="0"/>
                  </a:lnTo>
                  <a:lnTo>
                    <a:pt x="885" y="218"/>
                  </a:lnTo>
                  <a:lnTo>
                    <a:pt x="0" y="218"/>
                  </a:lnTo>
                  <a:lnTo>
                    <a:pt x="0" y="276"/>
                  </a:lnTo>
                  <a:lnTo>
                    <a:pt x="883" y="276"/>
                  </a:lnTo>
                  <a:lnTo>
                    <a:pt x="1103" y="495"/>
                  </a:lnTo>
                  <a:lnTo>
                    <a:pt x="1143" y="454"/>
                  </a:lnTo>
                  <a:lnTo>
                    <a:pt x="965" y="276"/>
                  </a:lnTo>
                  <a:lnTo>
                    <a:pt x="1153" y="276"/>
                  </a:lnTo>
                  <a:lnTo>
                    <a:pt x="1372" y="495"/>
                  </a:lnTo>
                  <a:lnTo>
                    <a:pt x="1413" y="454"/>
                  </a:lnTo>
                  <a:lnTo>
                    <a:pt x="1209" y="250"/>
                  </a:lnTo>
                  <a:lnTo>
                    <a:pt x="1209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xmlns="" id="{DC163282-35E3-4C99-B206-EAC8EC9D9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3351213"/>
              <a:ext cx="415925" cy="417513"/>
            </a:xfrm>
            <a:custGeom>
              <a:avLst/>
              <a:gdLst>
                <a:gd name="T0" fmla="*/ 0 w 262"/>
                <a:gd name="T1" fmla="*/ 41 h 263"/>
                <a:gd name="T2" fmla="*/ 222 w 262"/>
                <a:gd name="T3" fmla="*/ 263 h 263"/>
                <a:gd name="T4" fmla="*/ 262 w 262"/>
                <a:gd name="T5" fmla="*/ 221 h 263"/>
                <a:gd name="T6" fmla="*/ 41 w 262"/>
                <a:gd name="T7" fmla="*/ 0 h 263"/>
                <a:gd name="T8" fmla="*/ 0 w 262"/>
                <a:gd name="T9" fmla="*/ 4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3">
                  <a:moveTo>
                    <a:pt x="0" y="41"/>
                  </a:moveTo>
                  <a:lnTo>
                    <a:pt x="222" y="263"/>
                  </a:lnTo>
                  <a:lnTo>
                    <a:pt x="262" y="221"/>
                  </a:lnTo>
                  <a:lnTo>
                    <a:pt x="41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xmlns="" id="{BB9F8989-6AD5-4E18-A0ED-4BB41E685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851" y="3352801"/>
              <a:ext cx="417513" cy="419100"/>
            </a:xfrm>
            <a:custGeom>
              <a:avLst/>
              <a:gdLst>
                <a:gd name="T0" fmla="*/ 0 w 263"/>
                <a:gd name="T1" fmla="*/ 222 h 264"/>
                <a:gd name="T2" fmla="*/ 41 w 263"/>
                <a:gd name="T3" fmla="*/ 264 h 264"/>
                <a:gd name="T4" fmla="*/ 263 w 263"/>
                <a:gd name="T5" fmla="*/ 42 h 264"/>
                <a:gd name="T6" fmla="*/ 222 w 263"/>
                <a:gd name="T7" fmla="*/ 0 h 264"/>
                <a:gd name="T8" fmla="*/ 0 w 263"/>
                <a:gd name="T9" fmla="*/ 22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264">
                  <a:moveTo>
                    <a:pt x="0" y="222"/>
                  </a:moveTo>
                  <a:lnTo>
                    <a:pt x="41" y="264"/>
                  </a:lnTo>
                  <a:lnTo>
                    <a:pt x="263" y="42"/>
                  </a:lnTo>
                  <a:lnTo>
                    <a:pt x="222" y="0"/>
                  </a:lnTo>
                  <a:lnTo>
                    <a:pt x="0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733" dirty="0">
                <a:latin typeface="+mn-lt"/>
                <a:sym typeface="+mn-lt"/>
              </a:endParaRPr>
            </a:p>
          </p:txBody>
        </p:sp>
      </p:grpSp>
      <p:sp>
        <p:nvSpPr>
          <p:cNvPr id="45" name="Freeform 5">
            <a:extLst>
              <a:ext uri="{FF2B5EF4-FFF2-40B4-BE49-F238E27FC236}">
                <a16:creationId xmlns:a16="http://schemas.microsoft.com/office/drawing/2014/main" xmlns="" id="{811D95CA-9E55-4DF4-9EFE-266D32F4BED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84349" y="2668349"/>
            <a:ext cx="593405" cy="593050"/>
          </a:xfrm>
          <a:custGeom>
            <a:avLst/>
            <a:gdLst>
              <a:gd name="T0" fmla="*/ 1467 w 2043"/>
              <a:gd name="T1" fmla="*/ 1823 h 2043"/>
              <a:gd name="T2" fmla="*/ 1218 w 2043"/>
              <a:gd name="T3" fmla="*/ 1600 h 2043"/>
              <a:gd name="T4" fmla="*/ 970 w 2043"/>
              <a:gd name="T5" fmla="*/ 1823 h 2043"/>
              <a:gd name="T6" fmla="*/ 898 w 2043"/>
              <a:gd name="T7" fmla="*/ 2043 h 2043"/>
              <a:gd name="T8" fmla="*/ 417 w 2043"/>
              <a:gd name="T9" fmla="*/ 1443 h 2043"/>
              <a:gd name="T10" fmla="*/ 328 w 2043"/>
              <a:gd name="T11" fmla="*/ 1475 h 2043"/>
              <a:gd name="T12" fmla="*/ 0 w 2043"/>
              <a:gd name="T13" fmla="*/ 1151 h 2043"/>
              <a:gd name="T14" fmla="*/ 328 w 2043"/>
              <a:gd name="T15" fmla="*/ 826 h 2043"/>
              <a:gd name="T16" fmla="*/ 428 w 2043"/>
              <a:gd name="T17" fmla="*/ 865 h 2043"/>
              <a:gd name="T18" fmla="*/ 824 w 2043"/>
              <a:gd name="T19" fmla="*/ 443 h 2043"/>
              <a:gd name="T20" fmla="*/ 852 w 2043"/>
              <a:gd name="T21" fmla="*/ 389 h 2043"/>
              <a:gd name="T22" fmla="*/ 912 w 2043"/>
              <a:gd name="T23" fmla="*/ 73 h 2043"/>
              <a:gd name="T24" fmla="*/ 1480 w 2043"/>
              <a:gd name="T25" fmla="*/ 261 h 2043"/>
              <a:gd name="T26" fmla="*/ 1431 w 2043"/>
              <a:gd name="T27" fmla="*/ 409 h 2043"/>
              <a:gd name="T28" fmla="*/ 2039 w 2043"/>
              <a:gd name="T29" fmla="*/ 443 h 2043"/>
              <a:gd name="T30" fmla="*/ 1930 w 2043"/>
              <a:gd name="T31" fmla="*/ 870 h 2043"/>
              <a:gd name="T32" fmla="*/ 1782 w 2043"/>
              <a:gd name="T33" fmla="*/ 821 h 2043"/>
              <a:gd name="T34" fmla="*/ 1657 w 2043"/>
              <a:gd name="T35" fmla="*/ 1262 h 2043"/>
              <a:gd name="T36" fmla="*/ 1863 w 2043"/>
              <a:gd name="T37" fmla="*/ 1305 h 2043"/>
              <a:gd name="T38" fmla="*/ 2043 w 2043"/>
              <a:gd name="T39" fmla="*/ 1397 h 2043"/>
              <a:gd name="T40" fmla="*/ 2000 w 2043"/>
              <a:gd name="T41" fmla="*/ 2043 h 2043"/>
              <a:gd name="T42" fmla="*/ 1425 w 2043"/>
              <a:gd name="T43" fmla="*/ 1929 h 2043"/>
              <a:gd name="T44" fmla="*/ 1539 w 2043"/>
              <a:gd name="T45" fmla="*/ 1963 h 2043"/>
              <a:gd name="T46" fmla="*/ 1945 w 2043"/>
              <a:gd name="T47" fmla="*/ 1367 h 2043"/>
              <a:gd name="T48" fmla="*/ 1848 w 2043"/>
              <a:gd name="T49" fmla="*/ 1401 h 2043"/>
              <a:gd name="T50" fmla="*/ 1520 w 2043"/>
              <a:gd name="T51" fmla="*/ 1077 h 2043"/>
              <a:gd name="T52" fmla="*/ 1848 w 2043"/>
              <a:gd name="T53" fmla="*/ 753 h 2043"/>
              <a:gd name="T54" fmla="*/ 1945 w 2043"/>
              <a:gd name="T55" fmla="*/ 787 h 2043"/>
              <a:gd name="T56" fmla="*/ 1465 w 2043"/>
              <a:gd name="T57" fmla="*/ 523 h 2043"/>
              <a:gd name="T58" fmla="*/ 1372 w 2043"/>
              <a:gd name="T59" fmla="*/ 343 h 2043"/>
              <a:gd name="T60" fmla="*/ 1330 w 2043"/>
              <a:gd name="T61" fmla="*/ 137 h 2043"/>
              <a:gd name="T62" fmla="*/ 889 w 2043"/>
              <a:gd name="T63" fmla="*/ 261 h 2043"/>
              <a:gd name="T64" fmla="*/ 938 w 2043"/>
              <a:gd name="T65" fmla="*/ 409 h 2043"/>
              <a:gd name="T66" fmla="*/ 520 w 2043"/>
              <a:gd name="T67" fmla="*/ 523 h 2043"/>
              <a:gd name="T68" fmla="*/ 416 w 2043"/>
              <a:gd name="T69" fmla="*/ 947 h 2043"/>
              <a:gd name="T70" fmla="*/ 262 w 2043"/>
              <a:gd name="T71" fmla="*/ 895 h 2043"/>
              <a:gd name="T72" fmla="*/ 137 w 2043"/>
              <a:gd name="T73" fmla="*/ 1336 h 2043"/>
              <a:gd name="T74" fmla="*/ 343 w 2043"/>
              <a:gd name="T75" fmla="*/ 1379 h 2043"/>
              <a:gd name="T76" fmla="*/ 520 w 2043"/>
              <a:gd name="T77" fmla="*/ 1483 h 2043"/>
              <a:gd name="T78" fmla="*/ 928 w 2043"/>
              <a:gd name="T79" fmla="*/ 1945 h 2043"/>
              <a:gd name="T80" fmla="*/ 883 w 2043"/>
              <a:gd name="T81" fmla="*/ 1781 h 2043"/>
              <a:gd name="T82" fmla="*/ 1451 w 2043"/>
              <a:gd name="T83" fmla="*/ 1593 h 2043"/>
              <a:gd name="T84" fmla="*/ 1511 w 2043"/>
              <a:gd name="T85" fmla="*/ 1909 h 20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43" h="2043">
                <a:moveTo>
                  <a:pt x="1425" y="1929"/>
                </a:moveTo>
                <a:cubicBezTo>
                  <a:pt x="1425" y="1907"/>
                  <a:pt x="1432" y="1883"/>
                  <a:pt x="1446" y="1863"/>
                </a:cubicBezTo>
                <a:cubicBezTo>
                  <a:pt x="1456" y="1850"/>
                  <a:pt x="1462" y="1837"/>
                  <a:pt x="1467" y="1823"/>
                </a:cubicBezTo>
                <a:cubicBezTo>
                  <a:pt x="1472" y="1810"/>
                  <a:pt x="1474" y="1796"/>
                  <a:pt x="1474" y="1781"/>
                </a:cubicBezTo>
                <a:cubicBezTo>
                  <a:pt x="1474" y="1733"/>
                  <a:pt x="1447" y="1689"/>
                  <a:pt x="1404" y="1657"/>
                </a:cubicBezTo>
                <a:cubicBezTo>
                  <a:pt x="1357" y="1622"/>
                  <a:pt x="1291" y="1600"/>
                  <a:pt x="1218" y="1600"/>
                </a:cubicBezTo>
                <a:cubicBezTo>
                  <a:pt x="1146" y="1600"/>
                  <a:pt x="1080" y="1622"/>
                  <a:pt x="1034" y="1657"/>
                </a:cubicBezTo>
                <a:cubicBezTo>
                  <a:pt x="990" y="1689"/>
                  <a:pt x="963" y="1733"/>
                  <a:pt x="963" y="1781"/>
                </a:cubicBezTo>
                <a:cubicBezTo>
                  <a:pt x="963" y="1796"/>
                  <a:pt x="965" y="1810"/>
                  <a:pt x="970" y="1823"/>
                </a:cubicBezTo>
                <a:cubicBezTo>
                  <a:pt x="974" y="1837"/>
                  <a:pt x="982" y="1850"/>
                  <a:pt x="990" y="1863"/>
                </a:cubicBezTo>
                <a:cubicBezTo>
                  <a:pt x="1016" y="1898"/>
                  <a:pt x="1019" y="1943"/>
                  <a:pt x="999" y="1981"/>
                </a:cubicBezTo>
                <a:cubicBezTo>
                  <a:pt x="980" y="2019"/>
                  <a:pt x="941" y="2043"/>
                  <a:pt x="898" y="2043"/>
                </a:cubicBezTo>
                <a:cubicBezTo>
                  <a:pt x="440" y="2043"/>
                  <a:pt x="440" y="2043"/>
                  <a:pt x="440" y="2043"/>
                </a:cubicBezTo>
                <a:cubicBezTo>
                  <a:pt x="440" y="1483"/>
                  <a:pt x="440" y="1483"/>
                  <a:pt x="440" y="1483"/>
                </a:cubicBezTo>
                <a:cubicBezTo>
                  <a:pt x="440" y="1467"/>
                  <a:pt x="431" y="1451"/>
                  <a:pt x="417" y="1443"/>
                </a:cubicBezTo>
                <a:cubicBezTo>
                  <a:pt x="412" y="1441"/>
                  <a:pt x="408" y="1439"/>
                  <a:pt x="403" y="1439"/>
                </a:cubicBezTo>
                <a:cubicBezTo>
                  <a:pt x="398" y="1439"/>
                  <a:pt x="394" y="1441"/>
                  <a:pt x="390" y="1443"/>
                </a:cubicBezTo>
                <a:cubicBezTo>
                  <a:pt x="371" y="1457"/>
                  <a:pt x="350" y="1468"/>
                  <a:pt x="328" y="1475"/>
                </a:cubicBezTo>
                <a:cubicBezTo>
                  <a:pt x="307" y="1482"/>
                  <a:pt x="284" y="1486"/>
                  <a:pt x="262" y="1486"/>
                </a:cubicBezTo>
                <a:cubicBezTo>
                  <a:pt x="187" y="1486"/>
                  <a:pt x="120" y="1447"/>
                  <a:pt x="73" y="1383"/>
                </a:cubicBezTo>
                <a:cubicBezTo>
                  <a:pt x="28" y="1323"/>
                  <a:pt x="0" y="1241"/>
                  <a:pt x="0" y="1151"/>
                </a:cubicBezTo>
                <a:cubicBezTo>
                  <a:pt x="0" y="1061"/>
                  <a:pt x="28" y="978"/>
                  <a:pt x="73" y="918"/>
                </a:cubicBezTo>
                <a:cubicBezTo>
                  <a:pt x="120" y="855"/>
                  <a:pt x="187" y="815"/>
                  <a:pt x="262" y="815"/>
                </a:cubicBezTo>
                <a:cubicBezTo>
                  <a:pt x="284" y="815"/>
                  <a:pt x="307" y="819"/>
                  <a:pt x="328" y="826"/>
                </a:cubicBezTo>
                <a:cubicBezTo>
                  <a:pt x="350" y="834"/>
                  <a:pt x="371" y="844"/>
                  <a:pt x="390" y="858"/>
                </a:cubicBezTo>
                <a:cubicBezTo>
                  <a:pt x="398" y="864"/>
                  <a:pt x="408" y="867"/>
                  <a:pt x="416" y="867"/>
                </a:cubicBezTo>
                <a:cubicBezTo>
                  <a:pt x="421" y="867"/>
                  <a:pt x="425" y="866"/>
                  <a:pt x="428" y="865"/>
                </a:cubicBezTo>
                <a:cubicBezTo>
                  <a:pt x="437" y="860"/>
                  <a:pt x="440" y="852"/>
                  <a:pt x="440" y="843"/>
                </a:cubicBezTo>
                <a:cubicBezTo>
                  <a:pt x="440" y="443"/>
                  <a:pt x="440" y="443"/>
                  <a:pt x="440" y="443"/>
                </a:cubicBezTo>
                <a:cubicBezTo>
                  <a:pt x="824" y="443"/>
                  <a:pt x="824" y="443"/>
                  <a:pt x="824" y="443"/>
                </a:cubicBezTo>
                <a:cubicBezTo>
                  <a:pt x="833" y="443"/>
                  <a:pt x="854" y="434"/>
                  <a:pt x="854" y="425"/>
                </a:cubicBezTo>
                <a:cubicBezTo>
                  <a:pt x="857" y="420"/>
                  <a:pt x="858" y="415"/>
                  <a:pt x="858" y="409"/>
                </a:cubicBezTo>
                <a:cubicBezTo>
                  <a:pt x="858" y="403"/>
                  <a:pt x="856" y="396"/>
                  <a:pt x="852" y="389"/>
                </a:cubicBezTo>
                <a:cubicBezTo>
                  <a:pt x="838" y="371"/>
                  <a:pt x="828" y="350"/>
                  <a:pt x="820" y="328"/>
                </a:cubicBezTo>
                <a:cubicBezTo>
                  <a:pt x="813" y="307"/>
                  <a:pt x="809" y="284"/>
                  <a:pt x="809" y="261"/>
                </a:cubicBezTo>
                <a:cubicBezTo>
                  <a:pt x="809" y="187"/>
                  <a:pt x="848" y="121"/>
                  <a:pt x="912" y="73"/>
                </a:cubicBezTo>
                <a:cubicBezTo>
                  <a:pt x="972" y="28"/>
                  <a:pt x="1054" y="0"/>
                  <a:pt x="1145" y="0"/>
                </a:cubicBezTo>
                <a:cubicBezTo>
                  <a:pt x="1235" y="0"/>
                  <a:pt x="1317" y="28"/>
                  <a:pt x="1377" y="73"/>
                </a:cubicBezTo>
                <a:cubicBezTo>
                  <a:pt x="1441" y="121"/>
                  <a:pt x="1480" y="187"/>
                  <a:pt x="1480" y="261"/>
                </a:cubicBezTo>
                <a:cubicBezTo>
                  <a:pt x="1480" y="284"/>
                  <a:pt x="1476" y="307"/>
                  <a:pt x="1469" y="328"/>
                </a:cubicBezTo>
                <a:cubicBezTo>
                  <a:pt x="1462" y="350"/>
                  <a:pt x="1451" y="371"/>
                  <a:pt x="1438" y="389"/>
                </a:cubicBezTo>
                <a:cubicBezTo>
                  <a:pt x="1433" y="396"/>
                  <a:pt x="1431" y="403"/>
                  <a:pt x="1431" y="409"/>
                </a:cubicBezTo>
                <a:cubicBezTo>
                  <a:pt x="1431" y="415"/>
                  <a:pt x="1435" y="424"/>
                  <a:pt x="1435" y="425"/>
                </a:cubicBezTo>
                <a:cubicBezTo>
                  <a:pt x="1441" y="436"/>
                  <a:pt x="1452" y="443"/>
                  <a:pt x="1465" y="443"/>
                </a:cubicBezTo>
                <a:cubicBezTo>
                  <a:pt x="2039" y="443"/>
                  <a:pt x="2039" y="443"/>
                  <a:pt x="2039" y="443"/>
                </a:cubicBezTo>
                <a:cubicBezTo>
                  <a:pt x="2043" y="756"/>
                  <a:pt x="2043" y="756"/>
                  <a:pt x="2043" y="756"/>
                </a:cubicBezTo>
                <a:cubicBezTo>
                  <a:pt x="2043" y="799"/>
                  <a:pt x="2020" y="838"/>
                  <a:pt x="1982" y="857"/>
                </a:cubicBezTo>
                <a:cubicBezTo>
                  <a:pt x="1966" y="865"/>
                  <a:pt x="1948" y="870"/>
                  <a:pt x="1930" y="870"/>
                </a:cubicBezTo>
                <a:cubicBezTo>
                  <a:pt x="1907" y="871"/>
                  <a:pt x="1884" y="864"/>
                  <a:pt x="1863" y="849"/>
                </a:cubicBezTo>
                <a:cubicBezTo>
                  <a:pt x="1850" y="840"/>
                  <a:pt x="1837" y="833"/>
                  <a:pt x="1823" y="828"/>
                </a:cubicBezTo>
                <a:cubicBezTo>
                  <a:pt x="1810" y="824"/>
                  <a:pt x="1796" y="821"/>
                  <a:pt x="1782" y="821"/>
                </a:cubicBezTo>
                <a:cubicBezTo>
                  <a:pt x="1734" y="821"/>
                  <a:pt x="1689" y="848"/>
                  <a:pt x="1657" y="892"/>
                </a:cubicBezTo>
                <a:cubicBezTo>
                  <a:pt x="1622" y="939"/>
                  <a:pt x="1600" y="1004"/>
                  <a:pt x="1600" y="1077"/>
                </a:cubicBezTo>
                <a:cubicBezTo>
                  <a:pt x="1600" y="1150"/>
                  <a:pt x="1622" y="1215"/>
                  <a:pt x="1657" y="1262"/>
                </a:cubicBezTo>
                <a:cubicBezTo>
                  <a:pt x="1689" y="1305"/>
                  <a:pt x="1734" y="1332"/>
                  <a:pt x="1782" y="1332"/>
                </a:cubicBezTo>
                <a:cubicBezTo>
                  <a:pt x="1796" y="1332"/>
                  <a:pt x="1810" y="1330"/>
                  <a:pt x="1823" y="1325"/>
                </a:cubicBezTo>
                <a:cubicBezTo>
                  <a:pt x="1837" y="1321"/>
                  <a:pt x="1850" y="1314"/>
                  <a:pt x="1863" y="1305"/>
                </a:cubicBezTo>
                <a:cubicBezTo>
                  <a:pt x="1884" y="1290"/>
                  <a:pt x="1907" y="1283"/>
                  <a:pt x="1930" y="1283"/>
                </a:cubicBezTo>
                <a:cubicBezTo>
                  <a:pt x="1948" y="1283"/>
                  <a:pt x="1966" y="1288"/>
                  <a:pt x="1982" y="1296"/>
                </a:cubicBezTo>
                <a:cubicBezTo>
                  <a:pt x="2020" y="1316"/>
                  <a:pt x="2043" y="1354"/>
                  <a:pt x="2043" y="1397"/>
                </a:cubicBezTo>
                <a:cubicBezTo>
                  <a:pt x="2040" y="2003"/>
                  <a:pt x="2040" y="2003"/>
                  <a:pt x="2040" y="2003"/>
                </a:cubicBezTo>
                <a:cubicBezTo>
                  <a:pt x="2040" y="2043"/>
                  <a:pt x="2040" y="2043"/>
                  <a:pt x="2040" y="2043"/>
                </a:cubicBezTo>
                <a:cubicBezTo>
                  <a:pt x="2000" y="2043"/>
                  <a:pt x="2000" y="2043"/>
                  <a:pt x="2000" y="2043"/>
                </a:cubicBezTo>
                <a:cubicBezTo>
                  <a:pt x="1539" y="2043"/>
                  <a:pt x="1539" y="2043"/>
                  <a:pt x="1539" y="2043"/>
                </a:cubicBezTo>
                <a:cubicBezTo>
                  <a:pt x="1496" y="2043"/>
                  <a:pt x="1458" y="2019"/>
                  <a:pt x="1438" y="1981"/>
                </a:cubicBezTo>
                <a:cubicBezTo>
                  <a:pt x="1430" y="1965"/>
                  <a:pt x="1425" y="1947"/>
                  <a:pt x="1425" y="1929"/>
                </a:cubicBezTo>
                <a:close/>
                <a:moveTo>
                  <a:pt x="1505" y="1929"/>
                </a:moveTo>
                <a:cubicBezTo>
                  <a:pt x="1505" y="1935"/>
                  <a:pt x="1508" y="1944"/>
                  <a:pt x="1508" y="1945"/>
                </a:cubicBezTo>
                <a:cubicBezTo>
                  <a:pt x="1514" y="1956"/>
                  <a:pt x="1526" y="1963"/>
                  <a:pt x="1539" y="1963"/>
                </a:cubicBezTo>
                <a:cubicBezTo>
                  <a:pt x="1960" y="1963"/>
                  <a:pt x="1960" y="1963"/>
                  <a:pt x="1960" y="1963"/>
                </a:cubicBezTo>
                <a:cubicBezTo>
                  <a:pt x="1963" y="1397"/>
                  <a:pt x="1963" y="1397"/>
                  <a:pt x="1963" y="1397"/>
                </a:cubicBezTo>
                <a:cubicBezTo>
                  <a:pt x="1963" y="1384"/>
                  <a:pt x="1956" y="1373"/>
                  <a:pt x="1945" y="1367"/>
                </a:cubicBezTo>
                <a:cubicBezTo>
                  <a:pt x="1940" y="1365"/>
                  <a:pt x="1935" y="1363"/>
                  <a:pt x="1929" y="1363"/>
                </a:cubicBezTo>
                <a:cubicBezTo>
                  <a:pt x="1923" y="1363"/>
                  <a:pt x="1916" y="1365"/>
                  <a:pt x="1910" y="1370"/>
                </a:cubicBezTo>
                <a:cubicBezTo>
                  <a:pt x="1891" y="1383"/>
                  <a:pt x="1870" y="1394"/>
                  <a:pt x="1848" y="1401"/>
                </a:cubicBezTo>
                <a:cubicBezTo>
                  <a:pt x="1827" y="1408"/>
                  <a:pt x="1804" y="1412"/>
                  <a:pt x="1782" y="1412"/>
                </a:cubicBezTo>
                <a:cubicBezTo>
                  <a:pt x="1707" y="1412"/>
                  <a:pt x="1640" y="1373"/>
                  <a:pt x="1593" y="1310"/>
                </a:cubicBezTo>
                <a:cubicBezTo>
                  <a:pt x="1548" y="1249"/>
                  <a:pt x="1520" y="1167"/>
                  <a:pt x="1520" y="1077"/>
                </a:cubicBezTo>
                <a:cubicBezTo>
                  <a:pt x="1520" y="987"/>
                  <a:pt x="1548" y="904"/>
                  <a:pt x="1593" y="844"/>
                </a:cubicBezTo>
                <a:cubicBezTo>
                  <a:pt x="1640" y="781"/>
                  <a:pt x="1707" y="741"/>
                  <a:pt x="1782" y="741"/>
                </a:cubicBezTo>
                <a:cubicBezTo>
                  <a:pt x="1804" y="741"/>
                  <a:pt x="1827" y="745"/>
                  <a:pt x="1848" y="753"/>
                </a:cubicBezTo>
                <a:cubicBezTo>
                  <a:pt x="1870" y="760"/>
                  <a:pt x="1891" y="771"/>
                  <a:pt x="1910" y="784"/>
                </a:cubicBezTo>
                <a:cubicBezTo>
                  <a:pt x="1916" y="789"/>
                  <a:pt x="1923" y="791"/>
                  <a:pt x="1930" y="791"/>
                </a:cubicBezTo>
                <a:cubicBezTo>
                  <a:pt x="1935" y="791"/>
                  <a:pt x="1940" y="789"/>
                  <a:pt x="1945" y="787"/>
                </a:cubicBezTo>
                <a:cubicBezTo>
                  <a:pt x="1956" y="781"/>
                  <a:pt x="1963" y="769"/>
                  <a:pt x="1963" y="757"/>
                </a:cubicBezTo>
                <a:cubicBezTo>
                  <a:pt x="1961" y="523"/>
                  <a:pt x="1961" y="523"/>
                  <a:pt x="1961" y="523"/>
                </a:cubicBezTo>
                <a:cubicBezTo>
                  <a:pt x="1465" y="523"/>
                  <a:pt x="1465" y="523"/>
                  <a:pt x="1465" y="523"/>
                </a:cubicBezTo>
                <a:cubicBezTo>
                  <a:pt x="1422" y="523"/>
                  <a:pt x="1384" y="499"/>
                  <a:pt x="1364" y="461"/>
                </a:cubicBezTo>
                <a:cubicBezTo>
                  <a:pt x="1359" y="464"/>
                  <a:pt x="1351" y="415"/>
                  <a:pt x="1351" y="409"/>
                </a:cubicBezTo>
                <a:cubicBezTo>
                  <a:pt x="1351" y="387"/>
                  <a:pt x="1358" y="363"/>
                  <a:pt x="1372" y="343"/>
                </a:cubicBezTo>
                <a:cubicBezTo>
                  <a:pt x="1382" y="330"/>
                  <a:pt x="1389" y="317"/>
                  <a:pt x="1393" y="303"/>
                </a:cubicBezTo>
                <a:cubicBezTo>
                  <a:pt x="1398" y="290"/>
                  <a:pt x="1400" y="276"/>
                  <a:pt x="1400" y="261"/>
                </a:cubicBezTo>
                <a:cubicBezTo>
                  <a:pt x="1400" y="213"/>
                  <a:pt x="1373" y="169"/>
                  <a:pt x="1330" y="137"/>
                </a:cubicBezTo>
                <a:cubicBezTo>
                  <a:pt x="1283" y="102"/>
                  <a:pt x="1218" y="80"/>
                  <a:pt x="1145" y="80"/>
                </a:cubicBezTo>
                <a:cubicBezTo>
                  <a:pt x="1072" y="80"/>
                  <a:pt x="1006" y="102"/>
                  <a:pt x="960" y="137"/>
                </a:cubicBezTo>
                <a:cubicBezTo>
                  <a:pt x="916" y="169"/>
                  <a:pt x="889" y="213"/>
                  <a:pt x="889" y="261"/>
                </a:cubicBezTo>
                <a:cubicBezTo>
                  <a:pt x="889" y="276"/>
                  <a:pt x="892" y="290"/>
                  <a:pt x="896" y="303"/>
                </a:cubicBezTo>
                <a:cubicBezTo>
                  <a:pt x="900" y="317"/>
                  <a:pt x="908" y="330"/>
                  <a:pt x="917" y="343"/>
                </a:cubicBezTo>
                <a:cubicBezTo>
                  <a:pt x="932" y="363"/>
                  <a:pt x="938" y="387"/>
                  <a:pt x="938" y="409"/>
                </a:cubicBezTo>
                <a:cubicBezTo>
                  <a:pt x="938" y="415"/>
                  <a:pt x="931" y="464"/>
                  <a:pt x="925" y="461"/>
                </a:cubicBezTo>
                <a:cubicBezTo>
                  <a:pt x="906" y="499"/>
                  <a:pt x="868" y="523"/>
                  <a:pt x="824" y="523"/>
                </a:cubicBezTo>
                <a:cubicBezTo>
                  <a:pt x="520" y="523"/>
                  <a:pt x="520" y="523"/>
                  <a:pt x="520" y="523"/>
                </a:cubicBezTo>
                <a:cubicBezTo>
                  <a:pt x="520" y="843"/>
                  <a:pt x="520" y="843"/>
                  <a:pt x="520" y="843"/>
                </a:cubicBezTo>
                <a:cubicBezTo>
                  <a:pt x="520" y="883"/>
                  <a:pt x="500" y="919"/>
                  <a:pt x="463" y="937"/>
                </a:cubicBezTo>
                <a:cubicBezTo>
                  <a:pt x="449" y="943"/>
                  <a:pt x="432" y="947"/>
                  <a:pt x="416" y="947"/>
                </a:cubicBezTo>
                <a:cubicBezTo>
                  <a:pt x="392" y="947"/>
                  <a:pt x="366" y="939"/>
                  <a:pt x="343" y="923"/>
                </a:cubicBezTo>
                <a:cubicBezTo>
                  <a:pt x="330" y="914"/>
                  <a:pt x="317" y="907"/>
                  <a:pt x="303" y="902"/>
                </a:cubicBezTo>
                <a:cubicBezTo>
                  <a:pt x="290" y="898"/>
                  <a:pt x="276" y="895"/>
                  <a:pt x="262" y="895"/>
                </a:cubicBezTo>
                <a:cubicBezTo>
                  <a:pt x="214" y="895"/>
                  <a:pt x="169" y="922"/>
                  <a:pt x="137" y="966"/>
                </a:cubicBezTo>
                <a:cubicBezTo>
                  <a:pt x="102" y="1013"/>
                  <a:pt x="80" y="1078"/>
                  <a:pt x="80" y="1151"/>
                </a:cubicBezTo>
                <a:cubicBezTo>
                  <a:pt x="80" y="1223"/>
                  <a:pt x="102" y="1289"/>
                  <a:pt x="137" y="1336"/>
                </a:cubicBezTo>
                <a:cubicBezTo>
                  <a:pt x="169" y="1379"/>
                  <a:pt x="214" y="1406"/>
                  <a:pt x="262" y="1406"/>
                </a:cubicBezTo>
                <a:cubicBezTo>
                  <a:pt x="276" y="1406"/>
                  <a:pt x="290" y="1404"/>
                  <a:pt x="303" y="1399"/>
                </a:cubicBezTo>
                <a:cubicBezTo>
                  <a:pt x="317" y="1395"/>
                  <a:pt x="330" y="1388"/>
                  <a:pt x="343" y="1379"/>
                </a:cubicBezTo>
                <a:cubicBezTo>
                  <a:pt x="362" y="1365"/>
                  <a:pt x="382" y="1359"/>
                  <a:pt x="403" y="1359"/>
                </a:cubicBezTo>
                <a:cubicBezTo>
                  <a:pt x="421" y="1359"/>
                  <a:pt x="440" y="1364"/>
                  <a:pt x="456" y="1373"/>
                </a:cubicBezTo>
                <a:cubicBezTo>
                  <a:pt x="495" y="1396"/>
                  <a:pt x="520" y="1438"/>
                  <a:pt x="520" y="1483"/>
                </a:cubicBezTo>
                <a:cubicBezTo>
                  <a:pt x="520" y="1963"/>
                  <a:pt x="520" y="1963"/>
                  <a:pt x="520" y="1963"/>
                </a:cubicBezTo>
                <a:cubicBezTo>
                  <a:pt x="898" y="1963"/>
                  <a:pt x="898" y="1963"/>
                  <a:pt x="898" y="1963"/>
                </a:cubicBezTo>
                <a:cubicBezTo>
                  <a:pt x="911" y="1963"/>
                  <a:pt x="922" y="1956"/>
                  <a:pt x="928" y="1945"/>
                </a:cubicBezTo>
                <a:cubicBezTo>
                  <a:pt x="934" y="1933"/>
                  <a:pt x="933" y="1920"/>
                  <a:pt x="926" y="1909"/>
                </a:cubicBezTo>
                <a:cubicBezTo>
                  <a:pt x="912" y="1891"/>
                  <a:pt x="902" y="1870"/>
                  <a:pt x="894" y="1848"/>
                </a:cubicBezTo>
                <a:cubicBezTo>
                  <a:pt x="887" y="1827"/>
                  <a:pt x="883" y="1804"/>
                  <a:pt x="883" y="1781"/>
                </a:cubicBezTo>
                <a:cubicBezTo>
                  <a:pt x="883" y="1707"/>
                  <a:pt x="922" y="1641"/>
                  <a:pt x="986" y="1593"/>
                </a:cubicBezTo>
                <a:cubicBezTo>
                  <a:pt x="1046" y="1548"/>
                  <a:pt x="1128" y="1520"/>
                  <a:pt x="1218" y="1520"/>
                </a:cubicBezTo>
                <a:cubicBezTo>
                  <a:pt x="1309" y="1520"/>
                  <a:pt x="1391" y="1548"/>
                  <a:pt x="1451" y="1593"/>
                </a:cubicBezTo>
                <a:cubicBezTo>
                  <a:pt x="1515" y="1641"/>
                  <a:pt x="1554" y="1707"/>
                  <a:pt x="1554" y="1781"/>
                </a:cubicBezTo>
                <a:cubicBezTo>
                  <a:pt x="1554" y="1804"/>
                  <a:pt x="1550" y="1827"/>
                  <a:pt x="1543" y="1848"/>
                </a:cubicBezTo>
                <a:cubicBezTo>
                  <a:pt x="1536" y="1870"/>
                  <a:pt x="1525" y="1891"/>
                  <a:pt x="1511" y="1909"/>
                </a:cubicBezTo>
                <a:cubicBezTo>
                  <a:pt x="1507" y="1916"/>
                  <a:pt x="1505" y="1923"/>
                  <a:pt x="1505" y="192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1733" dirty="0">
              <a:latin typeface="+mn-lt"/>
              <a:sym typeface="+mn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7061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xmlns="" id="{EB2886F9-DD5D-4539-A3DF-196A61CF7B2A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5262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a fase 2 tiene como objetivo definir la estrategia de la ciudad para su plan de transformación digital y modernización industrial.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A8B9D028-9077-4C01-87EA-1EA8955E94F9}"/>
              </a:ext>
            </a:extLst>
          </p:cNvPr>
          <p:cNvGrpSpPr/>
          <p:nvPr/>
        </p:nvGrpSpPr>
        <p:grpSpPr>
          <a:xfrm>
            <a:off x="7435307" y="3376502"/>
            <a:ext cx="4395550" cy="500138"/>
            <a:chOff x="7435307" y="3170465"/>
            <a:chExt cx="4395550" cy="500138"/>
          </a:xfrm>
        </p:grpSpPr>
        <p:sp>
          <p:nvSpPr>
            <p:cNvPr id="9" name="Textframe 23">
              <a:extLst>
                <a:ext uri="{FF2B5EF4-FFF2-40B4-BE49-F238E27FC236}">
                  <a16:creationId xmlns:a16="http://schemas.microsoft.com/office/drawing/2014/main" xmlns="" id="{5537C3F2-147F-4FF7-9C0E-55BB0AAB33A7}"/>
                </a:ext>
              </a:extLst>
            </p:cNvPr>
            <p:cNvSpPr txBox="1"/>
            <p:nvPr/>
          </p:nvSpPr>
          <p:spPr>
            <a:xfrm>
              <a:off x="7786869" y="3170466"/>
              <a:ext cx="4043988" cy="50013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Concepción y formulación</a:t>
              </a:r>
            </a:p>
            <a:p>
              <a:pPr marL="285750" indent="-285750" defTabSz="1269968">
                <a:spcBef>
                  <a:spcPts val="267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Talleres y documentos de estrategia</a:t>
              </a: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" name="RbNavigator">
              <a:extLst>
                <a:ext uri="{FF2B5EF4-FFF2-40B4-BE49-F238E27FC236}">
                  <a16:creationId xmlns:a16="http://schemas.microsoft.com/office/drawing/2014/main" xmlns="" id="{ABAE6239-710F-4AB3-897D-96E6D73E2DB8}"/>
                </a:ext>
              </a:extLst>
            </p:cNvPr>
            <p:cNvSpPr txBox="1"/>
            <p:nvPr/>
          </p:nvSpPr>
          <p:spPr>
            <a:xfrm>
              <a:off x="7435307" y="3170465"/>
              <a:ext cx="269227" cy="2692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B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21E39C44-4D8D-4EC3-A80D-49D8C847EEA6}"/>
              </a:ext>
            </a:extLst>
          </p:cNvPr>
          <p:cNvGrpSpPr/>
          <p:nvPr/>
        </p:nvGrpSpPr>
        <p:grpSpPr>
          <a:xfrm>
            <a:off x="7435307" y="3996994"/>
            <a:ext cx="4944276" cy="500137"/>
            <a:chOff x="7435307" y="3997701"/>
            <a:chExt cx="4944276" cy="500137"/>
          </a:xfrm>
        </p:grpSpPr>
        <p:sp>
          <p:nvSpPr>
            <p:cNvPr id="11" name="Textframe 23">
              <a:extLst>
                <a:ext uri="{FF2B5EF4-FFF2-40B4-BE49-F238E27FC236}">
                  <a16:creationId xmlns:a16="http://schemas.microsoft.com/office/drawing/2014/main" xmlns="" id="{7DE98784-989A-460F-87FA-5C0985C1574C}"/>
                </a:ext>
              </a:extLst>
            </p:cNvPr>
            <p:cNvSpPr txBox="1"/>
            <p:nvPr/>
          </p:nvSpPr>
          <p:spPr>
            <a:xfrm>
              <a:off x="7786868" y="3997701"/>
              <a:ext cx="4592715" cy="50013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n-GB" sz="150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Validación</a:t>
              </a:r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marL="285750" indent="-285750" defTabSz="1269968">
                <a:spcBef>
                  <a:spcPts val="267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GB" sz="15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Seminario</a:t>
              </a:r>
              <a:r>
                <a:rPr lang="en-GB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sz="15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estrategia</a:t>
              </a:r>
              <a:r>
                <a:rPr lang="en-GB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</a:t>
              </a:r>
            </a:p>
          </p:txBody>
        </p:sp>
        <p:sp>
          <p:nvSpPr>
            <p:cNvPr id="12" name="RbNavigator">
              <a:extLst>
                <a:ext uri="{FF2B5EF4-FFF2-40B4-BE49-F238E27FC236}">
                  <a16:creationId xmlns:a16="http://schemas.microsoft.com/office/drawing/2014/main" xmlns="" id="{0E7EC5DF-DD66-452B-B877-4D5DDA89DF08}"/>
                </a:ext>
              </a:extLst>
            </p:cNvPr>
            <p:cNvSpPr txBox="1"/>
            <p:nvPr/>
          </p:nvSpPr>
          <p:spPr>
            <a:xfrm>
              <a:off x="7435307" y="3997701"/>
              <a:ext cx="269227" cy="2692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5FCDEC4-E185-4ACC-A53D-B84C1E26FFC6}"/>
              </a:ext>
            </a:extLst>
          </p:cNvPr>
          <p:cNvSpPr/>
          <p:nvPr/>
        </p:nvSpPr>
        <p:spPr>
          <a:xfrm>
            <a:off x="2820927" y="1544731"/>
            <a:ext cx="3642196" cy="399546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endParaRPr lang="en-GB" sz="1500" b="0" dirty="0">
              <a:highlight>
                <a:srgbClr val="CEEAB0"/>
              </a:highlight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ListLeanHorizontalTextTopic1">
            <a:extLst>
              <a:ext uri="{FF2B5EF4-FFF2-40B4-BE49-F238E27FC236}">
                <a16:creationId xmlns:a16="http://schemas.microsoft.com/office/drawing/2014/main" xmlns="" id="{E1514C44-CF39-4EB3-903E-3135FD89E26E}"/>
              </a:ext>
            </a:extLst>
          </p:cNvPr>
          <p:cNvSpPr txBox="1">
            <a:spLocks/>
          </p:cNvSpPr>
          <p:nvPr/>
        </p:nvSpPr>
        <p:spPr bwMode="auto">
          <a:xfrm>
            <a:off x="7540083" y="1773674"/>
            <a:ext cx="4704333" cy="2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ma de </a:t>
            </a: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bajar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E92F0E87-184B-4B90-B5D1-2C174E93138C}"/>
              </a:ext>
            </a:extLst>
          </p:cNvPr>
          <p:cNvGrpSpPr/>
          <p:nvPr/>
        </p:nvGrpSpPr>
        <p:grpSpPr>
          <a:xfrm>
            <a:off x="7435307" y="2255874"/>
            <a:ext cx="4185193" cy="1000274"/>
            <a:chOff x="7435307" y="2255874"/>
            <a:chExt cx="4185193" cy="1000274"/>
          </a:xfrm>
        </p:grpSpPr>
        <p:sp>
          <p:nvSpPr>
            <p:cNvPr id="7" name="Textframe 23">
              <a:extLst>
                <a:ext uri="{FF2B5EF4-FFF2-40B4-BE49-F238E27FC236}">
                  <a16:creationId xmlns:a16="http://schemas.microsoft.com/office/drawing/2014/main" xmlns="" id="{41780C8F-8CC0-44F2-B369-76EADD333AE2}"/>
                </a:ext>
              </a:extLst>
            </p:cNvPr>
            <p:cNvSpPr txBox="1"/>
            <p:nvPr/>
          </p:nvSpPr>
          <p:spPr>
            <a:xfrm>
              <a:off x="7786868" y="2255874"/>
              <a:ext cx="3833632" cy="100027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Recogida de datos</a:t>
              </a:r>
            </a:p>
            <a:p>
              <a:pPr marL="285750" indent="-285750" defTabSz="1269968">
                <a:spcBef>
                  <a:spcPts val="267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Política y estrategias existentes en materia de transformación digital</a:t>
              </a:r>
            </a:p>
            <a:p>
              <a:pPr marL="285750" indent="-285750" defTabSz="1269968">
                <a:spcBef>
                  <a:spcPts val="267"/>
                </a:spcBef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Escenarios de estrategia</a:t>
              </a:r>
              <a:endParaRPr lang="en-US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" name="RbNavigator">
              <a:extLst>
                <a:ext uri="{FF2B5EF4-FFF2-40B4-BE49-F238E27FC236}">
                  <a16:creationId xmlns:a16="http://schemas.microsoft.com/office/drawing/2014/main" xmlns="" id="{220BD153-C23A-4EB3-8908-E1B9217A513E}"/>
                </a:ext>
              </a:extLst>
            </p:cNvPr>
            <p:cNvSpPr txBox="1"/>
            <p:nvPr/>
          </p:nvSpPr>
          <p:spPr>
            <a:xfrm>
              <a:off x="7435307" y="2255874"/>
              <a:ext cx="269227" cy="269227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</a:t>
              </a:r>
            </a:p>
          </p:txBody>
        </p:sp>
      </p:grpSp>
      <p:sp>
        <p:nvSpPr>
          <p:cNvPr id="13" name="ListLeanHorizontalTextTopic1">
            <a:extLst>
              <a:ext uri="{FF2B5EF4-FFF2-40B4-BE49-F238E27FC236}">
                <a16:creationId xmlns:a16="http://schemas.microsoft.com/office/drawing/2014/main" xmlns="" id="{7F0596CC-B5F6-46A4-87B5-E4D13CF1526B}"/>
              </a:ext>
            </a:extLst>
          </p:cNvPr>
          <p:cNvSpPr txBox="1">
            <a:spLocks/>
          </p:cNvSpPr>
          <p:nvPr/>
        </p:nvSpPr>
        <p:spPr bwMode="auto">
          <a:xfrm>
            <a:off x="7540083" y="4735341"/>
            <a:ext cx="4704333" cy="2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tregas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Textframe 23">
            <a:extLst>
              <a:ext uri="{FF2B5EF4-FFF2-40B4-BE49-F238E27FC236}">
                <a16:creationId xmlns:a16="http://schemas.microsoft.com/office/drawing/2014/main" xmlns="" id="{6D7AAF0D-8DC9-425A-8265-53B6768AA5D4}"/>
              </a:ext>
            </a:extLst>
          </p:cNvPr>
          <p:cNvSpPr txBox="1">
            <a:spLocks/>
          </p:cNvSpPr>
          <p:nvPr/>
        </p:nvSpPr>
        <p:spPr>
          <a:xfrm>
            <a:off x="7435308" y="5118209"/>
            <a:ext cx="4704333" cy="230832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marL="201784" lvl="1" indent="-201784" defTabSz="1269968">
              <a:spcBef>
                <a:spcPts val="267"/>
              </a:spcBef>
              <a:buSzPct val="100000"/>
              <a:buFont typeface="Arial"/>
              <a:buChar char="•"/>
              <a:defRPr/>
            </a:pPr>
            <a:r>
              <a:rPr lang="en-GB" sz="1500" dirty="0" err="1">
                <a:latin typeface="Helvetica" panose="020B0604020202020204" pitchFamily="34" charset="0"/>
                <a:cs typeface="Helvetica" panose="020B0604020202020204" pitchFamily="34" charset="0"/>
              </a:rPr>
              <a:t>Definición</a:t>
            </a:r>
            <a:r>
              <a:rPr lang="en-GB" sz="1500" dirty="0">
                <a:latin typeface="Helvetica" panose="020B0604020202020204" pitchFamily="34" charset="0"/>
                <a:cs typeface="Helvetica" panose="020B0604020202020204" pitchFamily="34" charset="0"/>
              </a:rPr>
              <a:t> de la </a:t>
            </a:r>
            <a:r>
              <a:rPr lang="en-GB" sz="1500" dirty="0" err="1">
                <a:latin typeface="Helvetica" panose="020B0604020202020204" pitchFamily="34" charset="0"/>
                <a:cs typeface="Helvetica" panose="020B0604020202020204" pitchFamily="34" charset="0"/>
              </a:rPr>
              <a:t>estrategia</a:t>
            </a:r>
            <a:endParaRPr lang="en-GB" sz="15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RBContent15">
            <a:extLst>
              <a:ext uri="{FF2B5EF4-FFF2-40B4-BE49-F238E27FC236}">
                <a16:creationId xmlns:a16="http://schemas.microsoft.com/office/drawing/2014/main" xmlns="" id="{D3042F9E-0107-4FCC-BE15-02FB89E89A57}"/>
              </a:ext>
            </a:extLst>
          </p:cNvPr>
          <p:cNvSpPr txBox="1">
            <a:spLocks/>
          </p:cNvSpPr>
          <p:nvPr/>
        </p:nvSpPr>
        <p:spPr>
          <a:xfrm>
            <a:off x="2917883" y="2255874"/>
            <a:ext cx="3477739" cy="248786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Desarrollar una estrategia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de transformación digital y modernización industrial basada en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Definición de visión y ambición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Estrategias políticas existentes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Integrar la estrategia entre todas las 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partes interesadas y agentes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de la red.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/>
              <a:buChar char="•"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Definir </a:t>
            </a:r>
            <a:r>
              <a:rPr lang="es-ES" sz="1500" dirty="0" err="1">
                <a:latin typeface="Helvetica" panose="020B0604020202020204" pitchFamily="34" charset="0"/>
                <a:cs typeface="Helvetica" panose="020B0604020202020204" pitchFamily="34" charset="0"/>
              </a:rPr>
              <a:t>KPIs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para la estrategia </a:t>
            </a:r>
            <a:endParaRPr lang="en-GB" sz="15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AFD6643C-5ED3-4AC4-96A1-13DBD3EA85CB}"/>
              </a:ext>
            </a:extLst>
          </p:cNvPr>
          <p:cNvCxnSpPr>
            <a:cxnSpLocks/>
          </p:cNvCxnSpPr>
          <p:nvPr/>
        </p:nvCxnSpPr>
        <p:spPr>
          <a:xfrm>
            <a:off x="4762500" y="1905248"/>
            <a:ext cx="1980959" cy="0"/>
          </a:xfrm>
          <a:prstGeom prst="line">
            <a:avLst/>
          </a:prstGeom>
          <a:ln w="28575" cmpd="sng">
            <a:solidFill>
              <a:schemeClr val="accent3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A2EF059C-65B5-4E13-A8B7-E6BD9707F6E1}"/>
              </a:ext>
            </a:extLst>
          </p:cNvPr>
          <p:cNvGrpSpPr>
            <a:grpSpLocks noChangeAspect="1"/>
          </p:cNvGrpSpPr>
          <p:nvPr/>
        </p:nvGrpSpPr>
        <p:grpSpPr>
          <a:xfrm>
            <a:off x="2942204" y="1648237"/>
            <a:ext cx="732116" cy="505625"/>
            <a:chOff x="1720851" y="1301751"/>
            <a:chExt cx="3576638" cy="2470150"/>
          </a:xfrm>
          <a:solidFill>
            <a:schemeClr val="accent5"/>
          </a:solidFill>
        </p:grpSpPr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xmlns="" id="{38B7FB9D-D7BA-4C60-A632-FD5863EB4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088" y="1301751"/>
              <a:ext cx="2389188" cy="2395538"/>
            </a:xfrm>
            <a:custGeom>
              <a:avLst/>
              <a:gdLst>
                <a:gd name="T0" fmla="*/ 1992 w 2074"/>
                <a:gd name="T1" fmla="*/ 1162 h 2080"/>
                <a:gd name="T2" fmla="*/ 1040 w 2074"/>
                <a:gd name="T3" fmla="*/ 2000 h 2080"/>
                <a:gd name="T4" fmla="*/ 80 w 2074"/>
                <a:gd name="T5" fmla="*/ 1040 h 2080"/>
                <a:gd name="T6" fmla="*/ 1040 w 2074"/>
                <a:gd name="T7" fmla="*/ 80 h 2080"/>
                <a:gd name="T8" fmla="*/ 1993 w 2074"/>
                <a:gd name="T9" fmla="*/ 925 h 2080"/>
                <a:gd name="T10" fmla="*/ 2074 w 2074"/>
                <a:gd name="T11" fmla="*/ 925 h 2080"/>
                <a:gd name="T12" fmla="*/ 1040 w 2074"/>
                <a:gd name="T13" fmla="*/ 0 h 2080"/>
                <a:gd name="T14" fmla="*/ 0 w 2074"/>
                <a:gd name="T15" fmla="*/ 1040 h 2080"/>
                <a:gd name="T16" fmla="*/ 1040 w 2074"/>
                <a:gd name="T17" fmla="*/ 2080 h 2080"/>
                <a:gd name="T18" fmla="*/ 2073 w 2074"/>
                <a:gd name="T19" fmla="*/ 1162 h 2080"/>
                <a:gd name="T20" fmla="*/ 1992 w 2074"/>
                <a:gd name="T21" fmla="*/ 1162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4" h="2080">
                  <a:moveTo>
                    <a:pt x="1992" y="1162"/>
                  </a:moveTo>
                  <a:cubicBezTo>
                    <a:pt x="1933" y="1635"/>
                    <a:pt x="1529" y="2000"/>
                    <a:pt x="1040" y="2000"/>
                  </a:cubicBezTo>
                  <a:cubicBezTo>
                    <a:pt x="510" y="2000"/>
                    <a:pt x="80" y="1571"/>
                    <a:pt x="80" y="1040"/>
                  </a:cubicBezTo>
                  <a:cubicBezTo>
                    <a:pt x="80" y="510"/>
                    <a:pt x="510" y="80"/>
                    <a:pt x="1040" y="80"/>
                  </a:cubicBezTo>
                  <a:cubicBezTo>
                    <a:pt x="1531" y="80"/>
                    <a:pt x="1936" y="449"/>
                    <a:pt x="1993" y="925"/>
                  </a:cubicBezTo>
                  <a:cubicBezTo>
                    <a:pt x="2074" y="925"/>
                    <a:pt x="2074" y="925"/>
                    <a:pt x="2074" y="925"/>
                  </a:cubicBezTo>
                  <a:cubicBezTo>
                    <a:pt x="2016" y="405"/>
                    <a:pt x="1575" y="0"/>
                    <a:pt x="1040" y="0"/>
                  </a:cubicBezTo>
                  <a:cubicBezTo>
                    <a:pt x="466" y="0"/>
                    <a:pt x="0" y="466"/>
                    <a:pt x="0" y="1040"/>
                  </a:cubicBezTo>
                  <a:cubicBezTo>
                    <a:pt x="0" y="1615"/>
                    <a:pt x="466" y="2080"/>
                    <a:pt x="1040" y="2080"/>
                  </a:cubicBezTo>
                  <a:cubicBezTo>
                    <a:pt x="1573" y="2080"/>
                    <a:pt x="2013" y="1679"/>
                    <a:pt x="2073" y="1162"/>
                  </a:cubicBezTo>
                  <a:lnTo>
                    <a:pt x="1992" y="1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xmlns="" id="{1B8AFA3D-66A5-4FC8-B43F-38FD8918D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2225676"/>
              <a:ext cx="514350" cy="547688"/>
            </a:xfrm>
            <a:custGeom>
              <a:avLst/>
              <a:gdLst>
                <a:gd name="T0" fmla="*/ 238 w 446"/>
                <a:gd name="T1" fmla="*/ 80 h 475"/>
                <a:gd name="T2" fmla="*/ 346 w 446"/>
                <a:gd name="T3" fmla="*/ 122 h 475"/>
                <a:gd name="T4" fmla="*/ 446 w 446"/>
                <a:gd name="T5" fmla="*/ 122 h 475"/>
                <a:gd name="T6" fmla="*/ 238 w 446"/>
                <a:gd name="T7" fmla="*/ 0 h 475"/>
                <a:gd name="T8" fmla="*/ 0 w 446"/>
                <a:gd name="T9" fmla="*/ 237 h 475"/>
                <a:gd name="T10" fmla="*/ 238 w 446"/>
                <a:gd name="T11" fmla="*/ 475 h 475"/>
                <a:gd name="T12" fmla="*/ 443 w 446"/>
                <a:gd name="T13" fmla="*/ 359 h 475"/>
                <a:gd name="T14" fmla="*/ 339 w 446"/>
                <a:gd name="T15" fmla="*/ 359 h 475"/>
                <a:gd name="T16" fmla="*/ 238 w 446"/>
                <a:gd name="T17" fmla="*/ 395 h 475"/>
                <a:gd name="T18" fmla="*/ 80 w 446"/>
                <a:gd name="T19" fmla="*/ 237 h 475"/>
                <a:gd name="T20" fmla="*/ 238 w 446"/>
                <a:gd name="T21" fmla="*/ 8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6" h="475">
                  <a:moveTo>
                    <a:pt x="238" y="80"/>
                  </a:moveTo>
                  <a:cubicBezTo>
                    <a:pt x="280" y="80"/>
                    <a:pt x="318" y="96"/>
                    <a:pt x="346" y="122"/>
                  </a:cubicBezTo>
                  <a:cubicBezTo>
                    <a:pt x="446" y="122"/>
                    <a:pt x="446" y="122"/>
                    <a:pt x="446" y="122"/>
                  </a:cubicBezTo>
                  <a:cubicBezTo>
                    <a:pt x="406" y="49"/>
                    <a:pt x="328" y="0"/>
                    <a:pt x="238" y="0"/>
                  </a:cubicBezTo>
                  <a:cubicBezTo>
                    <a:pt x="107" y="0"/>
                    <a:pt x="0" y="106"/>
                    <a:pt x="0" y="237"/>
                  </a:cubicBezTo>
                  <a:cubicBezTo>
                    <a:pt x="0" y="369"/>
                    <a:pt x="107" y="475"/>
                    <a:pt x="238" y="475"/>
                  </a:cubicBezTo>
                  <a:cubicBezTo>
                    <a:pt x="325" y="475"/>
                    <a:pt x="401" y="428"/>
                    <a:pt x="443" y="359"/>
                  </a:cubicBezTo>
                  <a:cubicBezTo>
                    <a:pt x="339" y="359"/>
                    <a:pt x="339" y="359"/>
                    <a:pt x="339" y="359"/>
                  </a:cubicBezTo>
                  <a:cubicBezTo>
                    <a:pt x="312" y="381"/>
                    <a:pt x="277" y="395"/>
                    <a:pt x="238" y="395"/>
                  </a:cubicBezTo>
                  <a:cubicBezTo>
                    <a:pt x="151" y="395"/>
                    <a:pt x="80" y="325"/>
                    <a:pt x="80" y="237"/>
                  </a:cubicBezTo>
                  <a:cubicBezTo>
                    <a:pt x="80" y="150"/>
                    <a:pt x="151" y="80"/>
                    <a:pt x="23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xmlns="" id="{A0FB8A26-862C-45DA-BB7E-E5B6A0940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8226" y="1765301"/>
              <a:ext cx="1458913" cy="1468438"/>
            </a:xfrm>
            <a:custGeom>
              <a:avLst/>
              <a:gdLst>
                <a:gd name="T0" fmla="*/ 1184 w 1266"/>
                <a:gd name="T1" fmla="*/ 522 h 1275"/>
                <a:gd name="T2" fmla="*/ 1266 w 1266"/>
                <a:gd name="T3" fmla="*/ 522 h 1275"/>
                <a:gd name="T4" fmla="*/ 638 w 1266"/>
                <a:gd name="T5" fmla="*/ 0 h 1275"/>
                <a:gd name="T6" fmla="*/ 0 w 1266"/>
                <a:gd name="T7" fmla="*/ 637 h 1275"/>
                <a:gd name="T8" fmla="*/ 638 w 1266"/>
                <a:gd name="T9" fmla="*/ 1275 h 1275"/>
                <a:gd name="T10" fmla="*/ 1264 w 1266"/>
                <a:gd name="T11" fmla="*/ 759 h 1275"/>
                <a:gd name="T12" fmla="*/ 1183 w 1266"/>
                <a:gd name="T13" fmla="*/ 759 h 1275"/>
                <a:gd name="T14" fmla="*/ 638 w 1266"/>
                <a:gd name="T15" fmla="*/ 1195 h 1275"/>
                <a:gd name="T16" fmla="*/ 80 w 1266"/>
                <a:gd name="T17" fmla="*/ 637 h 1275"/>
                <a:gd name="T18" fmla="*/ 638 w 1266"/>
                <a:gd name="T19" fmla="*/ 80 h 1275"/>
                <a:gd name="T20" fmla="*/ 1184 w 1266"/>
                <a:gd name="T21" fmla="*/ 522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1275">
                  <a:moveTo>
                    <a:pt x="1184" y="522"/>
                  </a:moveTo>
                  <a:cubicBezTo>
                    <a:pt x="1266" y="522"/>
                    <a:pt x="1266" y="522"/>
                    <a:pt x="1266" y="522"/>
                  </a:cubicBezTo>
                  <a:cubicBezTo>
                    <a:pt x="1211" y="225"/>
                    <a:pt x="951" y="0"/>
                    <a:pt x="638" y="0"/>
                  </a:cubicBezTo>
                  <a:cubicBezTo>
                    <a:pt x="286" y="0"/>
                    <a:pt x="0" y="285"/>
                    <a:pt x="0" y="637"/>
                  </a:cubicBezTo>
                  <a:cubicBezTo>
                    <a:pt x="0" y="990"/>
                    <a:pt x="286" y="1275"/>
                    <a:pt x="638" y="1275"/>
                  </a:cubicBezTo>
                  <a:cubicBezTo>
                    <a:pt x="949" y="1275"/>
                    <a:pt x="1208" y="1053"/>
                    <a:pt x="1264" y="759"/>
                  </a:cubicBezTo>
                  <a:cubicBezTo>
                    <a:pt x="1183" y="759"/>
                    <a:pt x="1183" y="759"/>
                    <a:pt x="1183" y="759"/>
                  </a:cubicBezTo>
                  <a:cubicBezTo>
                    <a:pt x="1127" y="1008"/>
                    <a:pt x="905" y="1195"/>
                    <a:pt x="638" y="1195"/>
                  </a:cubicBezTo>
                  <a:cubicBezTo>
                    <a:pt x="330" y="1195"/>
                    <a:pt x="80" y="945"/>
                    <a:pt x="80" y="637"/>
                  </a:cubicBezTo>
                  <a:cubicBezTo>
                    <a:pt x="80" y="329"/>
                    <a:pt x="330" y="80"/>
                    <a:pt x="638" y="80"/>
                  </a:cubicBezTo>
                  <a:cubicBezTo>
                    <a:pt x="907" y="80"/>
                    <a:pt x="1131" y="269"/>
                    <a:pt x="1184" y="5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xmlns="" id="{475A5465-BAB3-4E3B-9A7C-3210569DD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351" y="2109788"/>
              <a:ext cx="2243138" cy="785813"/>
            </a:xfrm>
            <a:custGeom>
              <a:avLst/>
              <a:gdLst>
                <a:gd name="T0" fmla="*/ 1209 w 1413"/>
                <a:gd name="T1" fmla="*/ 245 h 495"/>
                <a:gd name="T2" fmla="*/ 1413 w 1413"/>
                <a:gd name="T3" fmla="*/ 41 h 495"/>
                <a:gd name="T4" fmla="*/ 1372 w 1413"/>
                <a:gd name="T5" fmla="*/ 0 h 495"/>
                <a:gd name="T6" fmla="*/ 1155 w 1413"/>
                <a:gd name="T7" fmla="*/ 218 h 495"/>
                <a:gd name="T8" fmla="*/ 967 w 1413"/>
                <a:gd name="T9" fmla="*/ 218 h 495"/>
                <a:gd name="T10" fmla="*/ 1143 w 1413"/>
                <a:gd name="T11" fmla="*/ 41 h 495"/>
                <a:gd name="T12" fmla="*/ 1103 w 1413"/>
                <a:gd name="T13" fmla="*/ 0 h 495"/>
                <a:gd name="T14" fmla="*/ 885 w 1413"/>
                <a:gd name="T15" fmla="*/ 218 h 495"/>
                <a:gd name="T16" fmla="*/ 0 w 1413"/>
                <a:gd name="T17" fmla="*/ 218 h 495"/>
                <a:gd name="T18" fmla="*/ 0 w 1413"/>
                <a:gd name="T19" fmla="*/ 276 h 495"/>
                <a:gd name="T20" fmla="*/ 883 w 1413"/>
                <a:gd name="T21" fmla="*/ 276 h 495"/>
                <a:gd name="T22" fmla="*/ 1103 w 1413"/>
                <a:gd name="T23" fmla="*/ 495 h 495"/>
                <a:gd name="T24" fmla="*/ 1143 w 1413"/>
                <a:gd name="T25" fmla="*/ 454 h 495"/>
                <a:gd name="T26" fmla="*/ 965 w 1413"/>
                <a:gd name="T27" fmla="*/ 276 h 495"/>
                <a:gd name="T28" fmla="*/ 1153 w 1413"/>
                <a:gd name="T29" fmla="*/ 276 h 495"/>
                <a:gd name="T30" fmla="*/ 1372 w 1413"/>
                <a:gd name="T31" fmla="*/ 495 h 495"/>
                <a:gd name="T32" fmla="*/ 1413 w 1413"/>
                <a:gd name="T33" fmla="*/ 454 h 495"/>
                <a:gd name="T34" fmla="*/ 1209 w 1413"/>
                <a:gd name="T35" fmla="*/ 250 h 495"/>
                <a:gd name="T36" fmla="*/ 1209 w 1413"/>
                <a:gd name="T37" fmla="*/ 24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13" h="495">
                  <a:moveTo>
                    <a:pt x="1209" y="245"/>
                  </a:moveTo>
                  <a:lnTo>
                    <a:pt x="1413" y="41"/>
                  </a:lnTo>
                  <a:lnTo>
                    <a:pt x="1372" y="0"/>
                  </a:lnTo>
                  <a:lnTo>
                    <a:pt x="1155" y="218"/>
                  </a:lnTo>
                  <a:lnTo>
                    <a:pt x="967" y="218"/>
                  </a:lnTo>
                  <a:lnTo>
                    <a:pt x="1143" y="41"/>
                  </a:lnTo>
                  <a:lnTo>
                    <a:pt x="1103" y="0"/>
                  </a:lnTo>
                  <a:lnTo>
                    <a:pt x="885" y="218"/>
                  </a:lnTo>
                  <a:lnTo>
                    <a:pt x="0" y="218"/>
                  </a:lnTo>
                  <a:lnTo>
                    <a:pt x="0" y="276"/>
                  </a:lnTo>
                  <a:lnTo>
                    <a:pt x="883" y="276"/>
                  </a:lnTo>
                  <a:lnTo>
                    <a:pt x="1103" y="495"/>
                  </a:lnTo>
                  <a:lnTo>
                    <a:pt x="1143" y="454"/>
                  </a:lnTo>
                  <a:lnTo>
                    <a:pt x="965" y="276"/>
                  </a:lnTo>
                  <a:lnTo>
                    <a:pt x="1153" y="276"/>
                  </a:lnTo>
                  <a:lnTo>
                    <a:pt x="1372" y="495"/>
                  </a:lnTo>
                  <a:lnTo>
                    <a:pt x="1413" y="454"/>
                  </a:lnTo>
                  <a:lnTo>
                    <a:pt x="1209" y="250"/>
                  </a:lnTo>
                  <a:lnTo>
                    <a:pt x="1209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xmlns="" id="{1E3A1EB7-AEC5-43BE-9C8A-3CB930AE2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3351213"/>
              <a:ext cx="415925" cy="417513"/>
            </a:xfrm>
            <a:custGeom>
              <a:avLst/>
              <a:gdLst>
                <a:gd name="T0" fmla="*/ 0 w 262"/>
                <a:gd name="T1" fmla="*/ 41 h 263"/>
                <a:gd name="T2" fmla="*/ 222 w 262"/>
                <a:gd name="T3" fmla="*/ 263 h 263"/>
                <a:gd name="T4" fmla="*/ 262 w 262"/>
                <a:gd name="T5" fmla="*/ 221 h 263"/>
                <a:gd name="T6" fmla="*/ 41 w 262"/>
                <a:gd name="T7" fmla="*/ 0 h 263"/>
                <a:gd name="T8" fmla="*/ 0 w 262"/>
                <a:gd name="T9" fmla="*/ 4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3">
                  <a:moveTo>
                    <a:pt x="0" y="41"/>
                  </a:moveTo>
                  <a:lnTo>
                    <a:pt x="222" y="263"/>
                  </a:lnTo>
                  <a:lnTo>
                    <a:pt x="262" y="221"/>
                  </a:lnTo>
                  <a:lnTo>
                    <a:pt x="41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xmlns="" id="{CAC74DC6-B63A-40A9-BF11-2DC29EB18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851" y="3352801"/>
              <a:ext cx="417513" cy="419100"/>
            </a:xfrm>
            <a:custGeom>
              <a:avLst/>
              <a:gdLst>
                <a:gd name="T0" fmla="*/ 0 w 263"/>
                <a:gd name="T1" fmla="*/ 222 h 264"/>
                <a:gd name="T2" fmla="*/ 41 w 263"/>
                <a:gd name="T3" fmla="*/ 264 h 264"/>
                <a:gd name="T4" fmla="*/ 263 w 263"/>
                <a:gd name="T5" fmla="*/ 42 h 264"/>
                <a:gd name="T6" fmla="*/ 222 w 263"/>
                <a:gd name="T7" fmla="*/ 0 h 264"/>
                <a:gd name="T8" fmla="*/ 0 w 263"/>
                <a:gd name="T9" fmla="*/ 22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264">
                  <a:moveTo>
                    <a:pt x="0" y="222"/>
                  </a:moveTo>
                  <a:lnTo>
                    <a:pt x="41" y="264"/>
                  </a:lnTo>
                  <a:lnTo>
                    <a:pt x="263" y="42"/>
                  </a:lnTo>
                  <a:lnTo>
                    <a:pt x="222" y="0"/>
                  </a:lnTo>
                  <a:lnTo>
                    <a:pt x="0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</p:grpSp>
      <p:sp>
        <p:nvSpPr>
          <p:cNvPr id="18" name="ListLeanHorizontalTextTopic1">
            <a:extLst>
              <a:ext uri="{FF2B5EF4-FFF2-40B4-BE49-F238E27FC236}">
                <a16:creationId xmlns:a16="http://schemas.microsoft.com/office/drawing/2014/main" xmlns="" id="{5D2402EE-EA34-4322-86A0-1F27931531E5}"/>
              </a:ext>
            </a:extLst>
          </p:cNvPr>
          <p:cNvSpPr txBox="1">
            <a:spLocks/>
          </p:cNvSpPr>
          <p:nvPr/>
        </p:nvSpPr>
        <p:spPr bwMode="auto">
          <a:xfrm>
            <a:off x="3774792" y="1773674"/>
            <a:ext cx="1017907" cy="26314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bjetivos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B415F6A1-00C1-43BE-8885-0DE7143AE2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22872" y="1595924"/>
            <a:ext cx="612262" cy="605460"/>
            <a:chOff x="1826" y="1368"/>
            <a:chExt cx="363" cy="356"/>
          </a:xfrm>
          <a:solidFill>
            <a:schemeClr val="accent5"/>
          </a:solidFill>
        </p:grpSpPr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xmlns="" id="{755AA74C-F4F1-412A-B036-F2CF58D07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4" y="1434"/>
              <a:ext cx="81" cy="81"/>
            </a:xfrm>
            <a:custGeom>
              <a:avLst/>
              <a:gdLst>
                <a:gd name="T0" fmla="*/ 359 w 810"/>
                <a:gd name="T1" fmla="*/ 68 h 814"/>
                <a:gd name="T2" fmla="*/ 273 w 810"/>
                <a:gd name="T3" fmla="*/ 91 h 814"/>
                <a:gd name="T4" fmla="*/ 196 w 810"/>
                <a:gd name="T5" fmla="*/ 136 h 814"/>
                <a:gd name="T6" fmla="*/ 136 w 810"/>
                <a:gd name="T7" fmla="*/ 198 h 814"/>
                <a:gd name="T8" fmla="*/ 91 w 810"/>
                <a:gd name="T9" fmla="*/ 273 h 814"/>
                <a:gd name="T10" fmla="*/ 67 w 810"/>
                <a:gd name="T11" fmla="*/ 361 h 814"/>
                <a:gd name="T12" fmla="*/ 67 w 810"/>
                <a:gd name="T13" fmla="*/ 453 h 814"/>
                <a:gd name="T14" fmla="*/ 91 w 810"/>
                <a:gd name="T15" fmla="*/ 540 h 814"/>
                <a:gd name="T16" fmla="*/ 136 w 810"/>
                <a:gd name="T17" fmla="*/ 615 h 814"/>
                <a:gd name="T18" fmla="*/ 196 w 810"/>
                <a:gd name="T19" fmla="*/ 677 h 814"/>
                <a:gd name="T20" fmla="*/ 273 w 810"/>
                <a:gd name="T21" fmla="*/ 722 h 814"/>
                <a:gd name="T22" fmla="*/ 359 w 810"/>
                <a:gd name="T23" fmla="*/ 746 h 814"/>
                <a:gd name="T24" fmla="*/ 451 w 810"/>
                <a:gd name="T25" fmla="*/ 746 h 814"/>
                <a:gd name="T26" fmla="*/ 537 w 810"/>
                <a:gd name="T27" fmla="*/ 722 h 814"/>
                <a:gd name="T28" fmla="*/ 613 w 810"/>
                <a:gd name="T29" fmla="*/ 677 h 814"/>
                <a:gd name="T30" fmla="*/ 675 w 810"/>
                <a:gd name="T31" fmla="*/ 615 h 814"/>
                <a:gd name="T32" fmla="*/ 719 w 810"/>
                <a:gd name="T33" fmla="*/ 540 h 814"/>
                <a:gd name="T34" fmla="*/ 743 w 810"/>
                <a:gd name="T35" fmla="*/ 453 h 814"/>
                <a:gd name="T36" fmla="*/ 743 w 810"/>
                <a:gd name="T37" fmla="*/ 361 h 814"/>
                <a:gd name="T38" fmla="*/ 719 w 810"/>
                <a:gd name="T39" fmla="*/ 273 h 814"/>
                <a:gd name="T40" fmla="*/ 675 w 810"/>
                <a:gd name="T41" fmla="*/ 198 h 814"/>
                <a:gd name="T42" fmla="*/ 613 w 810"/>
                <a:gd name="T43" fmla="*/ 136 h 814"/>
                <a:gd name="T44" fmla="*/ 537 w 810"/>
                <a:gd name="T45" fmla="*/ 91 h 814"/>
                <a:gd name="T46" fmla="*/ 451 w 810"/>
                <a:gd name="T47" fmla="*/ 68 h 814"/>
                <a:gd name="T48" fmla="*/ 405 w 810"/>
                <a:gd name="T49" fmla="*/ 0 h 814"/>
                <a:gd name="T50" fmla="*/ 504 w 810"/>
                <a:gd name="T51" fmla="*/ 12 h 814"/>
                <a:gd name="T52" fmla="*/ 596 w 810"/>
                <a:gd name="T53" fmla="*/ 47 h 814"/>
                <a:gd name="T54" fmla="*/ 674 w 810"/>
                <a:gd name="T55" fmla="*/ 103 h 814"/>
                <a:gd name="T56" fmla="*/ 737 w 810"/>
                <a:gd name="T57" fmla="*/ 174 h 814"/>
                <a:gd name="T58" fmla="*/ 783 w 810"/>
                <a:gd name="T59" fmla="*/ 260 h 814"/>
                <a:gd name="T60" fmla="*/ 807 w 810"/>
                <a:gd name="T61" fmla="*/ 355 h 814"/>
                <a:gd name="T62" fmla="*/ 807 w 810"/>
                <a:gd name="T63" fmla="*/ 458 h 814"/>
                <a:gd name="T64" fmla="*/ 783 w 810"/>
                <a:gd name="T65" fmla="*/ 554 h 814"/>
                <a:gd name="T66" fmla="*/ 737 w 810"/>
                <a:gd name="T67" fmla="*/ 639 h 814"/>
                <a:gd name="T68" fmla="*/ 674 w 810"/>
                <a:gd name="T69" fmla="*/ 710 h 814"/>
                <a:gd name="T70" fmla="*/ 596 w 810"/>
                <a:gd name="T71" fmla="*/ 766 h 814"/>
                <a:gd name="T72" fmla="*/ 504 w 810"/>
                <a:gd name="T73" fmla="*/ 801 h 814"/>
                <a:gd name="T74" fmla="*/ 405 w 810"/>
                <a:gd name="T75" fmla="*/ 814 h 814"/>
                <a:gd name="T76" fmla="*/ 305 w 810"/>
                <a:gd name="T77" fmla="*/ 801 h 814"/>
                <a:gd name="T78" fmla="*/ 215 w 810"/>
                <a:gd name="T79" fmla="*/ 766 h 814"/>
                <a:gd name="T80" fmla="*/ 136 w 810"/>
                <a:gd name="T81" fmla="*/ 710 h 814"/>
                <a:gd name="T82" fmla="*/ 72 w 810"/>
                <a:gd name="T83" fmla="*/ 639 h 814"/>
                <a:gd name="T84" fmla="*/ 27 w 810"/>
                <a:gd name="T85" fmla="*/ 554 h 814"/>
                <a:gd name="T86" fmla="*/ 3 w 810"/>
                <a:gd name="T87" fmla="*/ 458 h 814"/>
                <a:gd name="T88" fmla="*/ 3 w 810"/>
                <a:gd name="T89" fmla="*/ 355 h 814"/>
                <a:gd name="T90" fmla="*/ 27 w 810"/>
                <a:gd name="T91" fmla="*/ 260 h 814"/>
                <a:gd name="T92" fmla="*/ 72 w 810"/>
                <a:gd name="T93" fmla="*/ 174 h 814"/>
                <a:gd name="T94" fmla="*/ 136 w 810"/>
                <a:gd name="T95" fmla="*/ 103 h 814"/>
                <a:gd name="T96" fmla="*/ 215 w 810"/>
                <a:gd name="T97" fmla="*/ 47 h 814"/>
                <a:gd name="T98" fmla="*/ 305 w 810"/>
                <a:gd name="T99" fmla="*/ 12 h 814"/>
                <a:gd name="T100" fmla="*/ 405 w 810"/>
                <a:gd name="T10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10" h="814">
                  <a:moveTo>
                    <a:pt x="405" y="65"/>
                  </a:moveTo>
                  <a:lnTo>
                    <a:pt x="359" y="68"/>
                  </a:lnTo>
                  <a:lnTo>
                    <a:pt x="314" y="77"/>
                  </a:lnTo>
                  <a:lnTo>
                    <a:pt x="273" y="91"/>
                  </a:lnTo>
                  <a:lnTo>
                    <a:pt x="233" y="112"/>
                  </a:lnTo>
                  <a:lnTo>
                    <a:pt x="196" y="136"/>
                  </a:lnTo>
                  <a:lnTo>
                    <a:pt x="164" y="165"/>
                  </a:lnTo>
                  <a:lnTo>
                    <a:pt x="136" y="198"/>
                  </a:lnTo>
                  <a:lnTo>
                    <a:pt x="111" y="234"/>
                  </a:lnTo>
                  <a:lnTo>
                    <a:pt x="91" y="273"/>
                  </a:lnTo>
                  <a:lnTo>
                    <a:pt x="76" y="316"/>
                  </a:lnTo>
                  <a:lnTo>
                    <a:pt x="67" y="361"/>
                  </a:lnTo>
                  <a:lnTo>
                    <a:pt x="64" y="407"/>
                  </a:lnTo>
                  <a:lnTo>
                    <a:pt x="67" y="453"/>
                  </a:lnTo>
                  <a:lnTo>
                    <a:pt x="76" y="497"/>
                  </a:lnTo>
                  <a:lnTo>
                    <a:pt x="91" y="540"/>
                  </a:lnTo>
                  <a:lnTo>
                    <a:pt x="111" y="579"/>
                  </a:lnTo>
                  <a:lnTo>
                    <a:pt x="136" y="615"/>
                  </a:lnTo>
                  <a:lnTo>
                    <a:pt x="164" y="649"/>
                  </a:lnTo>
                  <a:lnTo>
                    <a:pt x="196" y="677"/>
                  </a:lnTo>
                  <a:lnTo>
                    <a:pt x="233" y="702"/>
                  </a:lnTo>
                  <a:lnTo>
                    <a:pt x="273" y="722"/>
                  </a:lnTo>
                  <a:lnTo>
                    <a:pt x="314" y="736"/>
                  </a:lnTo>
                  <a:lnTo>
                    <a:pt x="359" y="746"/>
                  </a:lnTo>
                  <a:lnTo>
                    <a:pt x="405" y="748"/>
                  </a:lnTo>
                  <a:lnTo>
                    <a:pt x="451" y="746"/>
                  </a:lnTo>
                  <a:lnTo>
                    <a:pt x="496" y="736"/>
                  </a:lnTo>
                  <a:lnTo>
                    <a:pt x="537" y="722"/>
                  </a:lnTo>
                  <a:lnTo>
                    <a:pt x="577" y="702"/>
                  </a:lnTo>
                  <a:lnTo>
                    <a:pt x="613" y="677"/>
                  </a:lnTo>
                  <a:lnTo>
                    <a:pt x="646" y="649"/>
                  </a:lnTo>
                  <a:lnTo>
                    <a:pt x="675" y="615"/>
                  </a:lnTo>
                  <a:lnTo>
                    <a:pt x="699" y="579"/>
                  </a:lnTo>
                  <a:lnTo>
                    <a:pt x="719" y="540"/>
                  </a:lnTo>
                  <a:lnTo>
                    <a:pt x="734" y="497"/>
                  </a:lnTo>
                  <a:lnTo>
                    <a:pt x="743" y="453"/>
                  </a:lnTo>
                  <a:lnTo>
                    <a:pt x="746" y="407"/>
                  </a:lnTo>
                  <a:lnTo>
                    <a:pt x="743" y="361"/>
                  </a:lnTo>
                  <a:lnTo>
                    <a:pt x="734" y="316"/>
                  </a:lnTo>
                  <a:lnTo>
                    <a:pt x="719" y="273"/>
                  </a:lnTo>
                  <a:lnTo>
                    <a:pt x="699" y="234"/>
                  </a:lnTo>
                  <a:lnTo>
                    <a:pt x="675" y="198"/>
                  </a:lnTo>
                  <a:lnTo>
                    <a:pt x="646" y="165"/>
                  </a:lnTo>
                  <a:lnTo>
                    <a:pt x="613" y="136"/>
                  </a:lnTo>
                  <a:lnTo>
                    <a:pt x="577" y="112"/>
                  </a:lnTo>
                  <a:lnTo>
                    <a:pt x="537" y="91"/>
                  </a:lnTo>
                  <a:lnTo>
                    <a:pt x="496" y="77"/>
                  </a:lnTo>
                  <a:lnTo>
                    <a:pt x="451" y="68"/>
                  </a:lnTo>
                  <a:lnTo>
                    <a:pt x="405" y="65"/>
                  </a:lnTo>
                  <a:close/>
                  <a:moveTo>
                    <a:pt x="405" y="0"/>
                  </a:moveTo>
                  <a:lnTo>
                    <a:pt x="455" y="4"/>
                  </a:lnTo>
                  <a:lnTo>
                    <a:pt x="504" y="12"/>
                  </a:lnTo>
                  <a:lnTo>
                    <a:pt x="551" y="28"/>
                  </a:lnTo>
                  <a:lnTo>
                    <a:pt x="596" y="47"/>
                  </a:lnTo>
                  <a:lnTo>
                    <a:pt x="636" y="72"/>
                  </a:lnTo>
                  <a:lnTo>
                    <a:pt x="674" y="103"/>
                  </a:lnTo>
                  <a:lnTo>
                    <a:pt x="708" y="137"/>
                  </a:lnTo>
                  <a:lnTo>
                    <a:pt x="737" y="174"/>
                  </a:lnTo>
                  <a:lnTo>
                    <a:pt x="762" y="215"/>
                  </a:lnTo>
                  <a:lnTo>
                    <a:pt x="783" y="260"/>
                  </a:lnTo>
                  <a:lnTo>
                    <a:pt x="798" y="307"/>
                  </a:lnTo>
                  <a:lnTo>
                    <a:pt x="807" y="355"/>
                  </a:lnTo>
                  <a:lnTo>
                    <a:pt x="810" y="407"/>
                  </a:lnTo>
                  <a:lnTo>
                    <a:pt x="807" y="458"/>
                  </a:lnTo>
                  <a:lnTo>
                    <a:pt x="798" y="507"/>
                  </a:lnTo>
                  <a:lnTo>
                    <a:pt x="783" y="554"/>
                  </a:lnTo>
                  <a:lnTo>
                    <a:pt x="762" y="598"/>
                  </a:lnTo>
                  <a:lnTo>
                    <a:pt x="737" y="639"/>
                  </a:lnTo>
                  <a:lnTo>
                    <a:pt x="708" y="676"/>
                  </a:lnTo>
                  <a:lnTo>
                    <a:pt x="674" y="710"/>
                  </a:lnTo>
                  <a:lnTo>
                    <a:pt x="636" y="741"/>
                  </a:lnTo>
                  <a:lnTo>
                    <a:pt x="596" y="766"/>
                  </a:lnTo>
                  <a:lnTo>
                    <a:pt x="551" y="785"/>
                  </a:lnTo>
                  <a:lnTo>
                    <a:pt x="504" y="801"/>
                  </a:lnTo>
                  <a:lnTo>
                    <a:pt x="455" y="810"/>
                  </a:lnTo>
                  <a:lnTo>
                    <a:pt x="405" y="814"/>
                  </a:lnTo>
                  <a:lnTo>
                    <a:pt x="354" y="810"/>
                  </a:lnTo>
                  <a:lnTo>
                    <a:pt x="305" y="801"/>
                  </a:lnTo>
                  <a:lnTo>
                    <a:pt x="258" y="785"/>
                  </a:lnTo>
                  <a:lnTo>
                    <a:pt x="215" y="766"/>
                  </a:lnTo>
                  <a:lnTo>
                    <a:pt x="174" y="741"/>
                  </a:lnTo>
                  <a:lnTo>
                    <a:pt x="136" y="710"/>
                  </a:lnTo>
                  <a:lnTo>
                    <a:pt x="102" y="676"/>
                  </a:lnTo>
                  <a:lnTo>
                    <a:pt x="72" y="639"/>
                  </a:lnTo>
                  <a:lnTo>
                    <a:pt x="47" y="598"/>
                  </a:lnTo>
                  <a:lnTo>
                    <a:pt x="27" y="554"/>
                  </a:lnTo>
                  <a:lnTo>
                    <a:pt x="13" y="507"/>
                  </a:lnTo>
                  <a:lnTo>
                    <a:pt x="3" y="458"/>
                  </a:lnTo>
                  <a:lnTo>
                    <a:pt x="0" y="407"/>
                  </a:lnTo>
                  <a:lnTo>
                    <a:pt x="3" y="355"/>
                  </a:lnTo>
                  <a:lnTo>
                    <a:pt x="13" y="307"/>
                  </a:lnTo>
                  <a:lnTo>
                    <a:pt x="27" y="260"/>
                  </a:lnTo>
                  <a:lnTo>
                    <a:pt x="47" y="215"/>
                  </a:lnTo>
                  <a:lnTo>
                    <a:pt x="72" y="174"/>
                  </a:lnTo>
                  <a:lnTo>
                    <a:pt x="102" y="137"/>
                  </a:lnTo>
                  <a:lnTo>
                    <a:pt x="136" y="103"/>
                  </a:lnTo>
                  <a:lnTo>
                    <a:pt x="174" y="72"/>
                  </a:lnTo>
                  <a:lnTo>
                    <a:pt x="215" y="47"/>
                  </a:lnTo>
                  <a:lnTo>
                    <a:pt x="258" y="28"/>
                  </a:lnTo>
                  <a:lnTo>
                    <a:pt x="305" y="12"/>
                  </a:lnTo>
                  <a:lnTo>
                    <a:pt x="354" y="4"/>
                  </a:lnTo>
                  <a:lnTo>
                    <a:pt x="4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xmlns="" id="{970D767B-C89C-45B8-88CE-D487AECEFC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6" y="1368"/>
              <a:ext cx="215" cy="216"/>
            </a:xfrm>
            <a:custGeom>
              <a:avLst/>
              <a:gdLst>
                <a:gd name="T0" fmla="*/ 909 w 2152"/>
                <a:gd name="T1" fmla="*/ 102 h 2159"/>
                <a:gd name="T2" fmla="*/ 762 w 2152"/>
                <a:gd name="T3" fmla="*/ 314 h 2159"/>
                <a:gd name="T4" fmla="*/ 509 w 2152"/>
                <a:gd name="T5" fmla="*/ 271 h 2159"/>
                <a:gd name="T6" fmla="*/ 437 w 2152"/>
                <a:gd name="T7" fmla="*/ 284 h 2159"/>
                <a:gd name="T8" fmla="*/ 263 w 2152"/>
                <a:gd name="T9" fmla="*/ 513 h 2159"/>
                <a:gd name="T10" fmla="*/ 307 w 2152"/>
                <a:gd name="T11" fmla="*/ 801 h 2159"/>
                <a:gd name="T12" fmla="*/ 87 w 2152"/>
                <a:gd name="T13" fmla="*/ 922 h 2159"/>
                <a:gd name="T14" fmla="*/ 67 w 2152"/>
                <a:gd name="T15" fmla="*/ 1215 h 2159"/>
                <a:gd name="T16" fmla="*/ 288 w 2152"/>
                <a:gd name="T17" fmla="*/ 1279 h 2159"/>
                <a:gd name="T18" fmla="*/ 379 w 2152"/>
                <a:gd name="T19" fmla="*/ 1494 h 2159"/>
                <a:gd name="T20" fmla="*/ 267 w 2152"/>
                <a:gd name="T21" fmla="*/ 1698 h 2159"/>
                <a:gd name="T22" fmla="*/ 482 w 2152"/>
                <a:gd name="T23" fmla="*/ 1893 h 2159"/>
                <a:gd name="T24" fmla="*/ 673 w 2152"/>
                <a:gd name="T25" fmla="*/ 1783 h 2159"/>
                <a:gd name="T26" fmla="*/ 896 w 2152"/>
                <a:gd name="T27" fmla="*/ 2038 h 2159"/>
                <a:gd name="T28" fmla="*/ 958 w 2152"/>
                <a:gd name="T29" fmla="*/ 2095 h 2159"/>
                <a:gd name="T30" fmla="*/ 1242 w 2152"/>
                <a:gd name="T31" fmla="*/ 2056 h 2159"/>
                <a:gd name="T32" fmla="*/ 1420 w 2152"/>
                <a:gd name="T33" fmla="*/ 1818 h 2159"/>
                <a:gd name="T34" fmla="*/ 1657 w 2152"/>
                <a:gd name="T35" fmla="*/ 1890 h 2159"/>
                <a:gd name="T36" fmla="*/ 1874 w 2152"/>
                <a:gd name="T37" fmla="*/ 1714 h 2159"/>
                <a:gd name="T38" fmla="*/ 1880 w 2152"/>
                <a:gd name="T39" fmla="*/ 1630 h 2159"/>
                <a:gd name="T40" fmla="*/ 1870 w 2152"/>
                <a:gd name="T41" fmla="*/ 1289 h 2159"/>
                <a:gd name="T42" fmla="*/ 2078 w 2152"/>
                <a:gd name="T43" fmla="*/ 1222 h 2159"/>
                <a:gd name="T44" fmla="*/ 2078 w 2152"/>
                <a:gd name="T45" fmla="*/ 925 h 2159"/>
                <a:gd name="T46" fmla="*/ 1872 w 2152"/>
                <a:gd name="T47" fmla="*/ 858 h 2159"/>
                <a:gd name="T48" fmla="*/ 1879 w 2152"/>
                <a:gd name="T49" fmla="*/ 528 h 2159"/>
                <a:gd name="T50" fmla="*/ 1874 w 2152"/>
                <a:gd name="T51" fmla="*/ 444 h 2159"/>
                <a:gd name="T52" fmla="*/ 1657 w 2152"/>
                <a:gd name="T53" fmla="*/ 267 h 2159"/>
                <a:gd name="T54" fmla="*/ 1447 w 2152"/>
                <a:gd name="T55" fmla="*/ 336 h 2159"/>
                <a:gd name="T56" fmla="*/ 1257 w 2152"/>
                <a:gd name="T57" fmla="*/ 120 h 2159"/>
                <a:gd name="T58" fmla="*/ 1193 w 2152"/>
                <a:gd name="T59" fmla="*/ 64 h 2159"/>
                <a:gd name="T60" fmla="*/ 1246 w 2152"/>
                <a:gd name="T61" fmla="*/ 10 h 2159"/>
                <a:gd name="T62" fmla="*/ 1321 w 2152"/>
                <a:gd name="T63" fmla="*/ 113 h 2159"/>
                <a:gd name="T64" fmla="*/ 1592 w 2152"/>
                <a:gd name="T65" fmla="*/ 229 h 2159"/>
                <a:gd name="T66" fmla="*/ 1696 w 2152"/>
                <a:gd name="T67" fmla="*/ 204 h 2159"/>
                <a:gd name="T68" fmla="*/ 1936 w 2152"/>
                <a:gd name="T69" fmla="*/ 420 h 2159"/>
                <a:gd name="T70" fmla="*/ 1944 w 2152"/>
                <a:gd name="T71" fmla="*/ 545 h 2159"/>
                <a:gd name="T72" fmla="*/ 1928 w 2152"/>
                <a:gd name="T73" fmla="*/ 821 h 2159"/>
                <a:gd name="T74" fmla="*/ 2128 w 2152"/>
                <a:gd name="T75" fmla="*/ 886 h 2159"/>
                <a:gd name="T76" fmla="*/ 2150 w 2152"/>
                <a:gd name="T77" fmla="*/ 1215 h 2159"/>
                <a:gd name="T78" fmla="*/ 2066 w 2152"/>
                <a:gd name="T79" fmla="*/ 1309 h 2159"/>
                <a:gd name="T80" fmla="*/ 1856 w 2152"/>
                <a:gd name="T81" fmla="*/ 1495 h 2159"/>
                <a:gd name="T82" fmla="*/ 1956 w 2152"/>
                <a:gd name="T83" fmla="*/ 1690 h 2159"/>
                <a:gd name="T84" fmla="*/ 1742 w 2152"/>
                <a:gd name="T85" fmla="*/ 1935 h 2159"/>
                <a:gd name="T86" fmla="*/ 1629 w 2152"/>
                <a:gd name="T87" fmla="*/ 1949 h 2159"/>
                <a:gd name="T88" fmla="*/ 1384 w 2152"/>
                <a:gd name="T89" fmla="*/ 1904 h 2159"/>
                <a:gd name="T90" fmla="*/ 1278 w 2152"/>
                <a:gd name="T91" fmla="*/ 2118 h 2159"/>
                <a:gd name="T92" fmla="*/ 958 w 2152"/>
                <a:gd name="T93" fmla="*/ 2159 h 2159"/>
                <a:gd name="T94" fmla="*/ 850 w 2152"/>
                <a:gd name="T95" fmla="*/ 2096 h 2159"/>
                <a:gd name="T96" fmla="*/ 711 w 2152"/>
                <a:gd name="T97" fmla="*/ 1875 h 2159"/>
                <a:gd name="T98" fmla="*/ 503 w 2152"/>
                <a:gd name="T99" fmla="*/ 1955 h 2159"/>
                <a:gd name="T100" fmla="*/ 411 w 2152"/>
                <a:gd name="T101" fmla="*/ 1935 h 2159"/>
                <a:gd name="T102" fmla="*/ 197 w 2152"/>
                <a:gd name="T103" fmla="*/ 1688 h 2159"/>
                <a:gd name="T104" fmla="*/ 301 w 2152"/>
                <a:gd name="T105" fmla="*/ 1489 h 2159"/>
                <a:gd name="T106" fmla="*/ 87 w 2152"/>
                <a:gd name="T107" fmla="*/ 1317 h 2159"/>
                <a:gd name="T108" fmla="*/ 3 w 2152"/>
                <a:gd name="T109" fmla="*/ 1223 h 2159"/>
                <a:gd name="T110" fmla="*/ 24 w 2152"/>
                <a:gd name="T111" fmla="*/ 895 h 2159"/>
                <a:gd name="T112" fmla="*/ 231 w 2152"/>
                <a:gd name="T113" fmla="*/ 829 h 2159"/>
                <a:gd name="T114" fmla="*/ 208 w 2152"/>
                <a:gd name="T115" fmla="*/ 545 h 2159"/>
                <a:gd name="T116" fmla="*/ 215 w 2152"/>
                <a:gd name="T117" fmla="*/ 420 h 2159"/>
                <a:gd name="T118" fmla="*/ 457 w 2152"/>
                <a:gd name="T119" fmla="*/ 204 h 2159"/>
                <a:gd name="T120" fmla="*/ 561 w 2152"/>
                <a:gd name="T121" fmla="*/ 229 h 2159"/>
                <a:gd name="T122" fmla="*/ 841 w 2152"/>
                <a:gd name="T123" fmla="*/ 113 h 2159"/>
                <a:gd name="T124" fmla="*/ 916 w 2152"/>
                <a:gd name="T125" fmla="*/ 1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2" h="2159">
                  <a:moveTo>
                    <a:pt x="968" y="64"/>
                  </a:moveTo>
                  <a:lnTo>
                    <a:pt x="950" y="66"/>
                  </a:lnTo>
                  <a:lnTo>
                    <a:pt x="933" y="75"/>
                  </a:lnTo>
                  <a:lnTo>
                    <a:pt x="919" y="87"/>
                  </a:lnTo>
                  <a:lnTo>
                    <a:pt x="909" y="102"/>
                  </a:lnTo>
                  <a:lnTo>
                    <a:pt x="905" y="120"/>
                  </a:lnTo>
                  <a:lnTo>
                    <a:pt x="888" y="272"/>
                  </a:lnTo>
                  <a:lnTo>
                    <a:pt x="866" y="278"/>
                  </a:lnTo>
                  <a:lnTo>
                    <a:pt x="813" y="294"/>
                  </a:lnTo>
                  <a:lnTo>
                    <a:pt x="762" y="314"/>
                  </a:lnTo>
                  <a:lnTo>
                    <a:pt x="710" y="338"/>
                  </a:lnTo>
                  <a:lnTo>
                    <a:pt x="661" y="364"/>
                  </a:lnTo>
                  <a:lnTo>
                    <a:pt x="643" y="376"/>
                  </a:lnTo>
                  <a:lnTo>
                    <a:pt x="521" y="279"/>
                  </a:lnTo>
                  <a:lnTo>
                    <a:pt x="509" y="271"/>
                  </a:lnTo>
                  <a:lnTo>
                    <a:pt x="496" y="267"/>
                  </a:lnTo>
                  <a:lnTo>
                    <a:pt x="482" y="266"/>
                  </a:lnTo>
                  <a:lnTo>
                    <a:pt x="466" y="268"/>
                  </a:lnTo>
                  <a:lnTo>
                    <a:pt x="450" y="274"/>
                  </a:lnTo>
                  <a:lnTo>
                    <a:pt x="437" y="284"/>
                  </a:lnTo>
                  <a:lnTo>
                    <a:pt x="277" y="444"/>
                  </a:lnTo>
                  <a:lnTo>
                    <a:pt x="267" y="459"/>
                  </a:lnTo>
                  <a:lnTo>
                    <a:pt x="260" y="477"/>
                  </a:lnTo>
                  <a:lnTo>
                    <a:pt x="259" y="494"/>
                  </a:lnTo>
                  <a:lnTo>
                    <a:pt x="263" y="513"/>
                  </a:lnTo>
                  <a:lnTo>
                    <a:pt x="273" y="529"/>
                  </a:lnTo>
                  <a:lnTo>
                    <a:pt x="373" y="656"/>
                  </a:lnTo>
                  <a:lnTo>
                    <a:pt x="362" y="674"/>
                  </a:lnTo>
                  <a:lnTo>
                    <a:pt x="332" y="736"/>
                  </a:lnTo>
                  <a:lnTo>
                    <a:pt x="307" y="801"/>
                  </a:lnTo>
                  <a:lnTo>
                    <a:pt x="287" y="866"/>
                  </a:lnTo>
                  <a:lnTo>
                    <a:pt x="282" y="888"/>
                  </a:lnTo>
                  <a:lnTo>
                    <a:pt x="121" y="907"/>
                  </a:lnTo>
                  <a:lnTo>
                    <a:pt x="102" y="912"/>
                  </a:lnTo>
                  <a:lnTo>
                    <a:pt x="87" y="922"/>
                  </a:lnTo>
                  <a:lnTo>
                    <a:pt x="75" y="935"/>
                  </a:lnTo>
                  <a:lnTo>
                    <a:pt x="67" y="952"/>
                  </a:lnTo>
                  <a:lnTo>
                    <a:pt x="64" y="970"/>
                  </a:lnTo>
                  <a:lnTo>
                    <a:pt x="64" y="1196"/>
                  </a:lnTo>
                  <a:lnTo>
                    <a:pt x="67" y="1215"/>
                  </a:lnTo>
                  <a:lnTo>
                    <a:pt x="75" y="1232"/>
                  </a:lnTo>
                  <a:lnTo>
                    <a:pt x="87" y="1245"/>
                  </a:lnTo>
                  <a:lnTo>
                    <a:pt x="102" y="1255"/>
                  </a:lnTo>
                  <a:lnTo>
                    <a:pt x="121" y="1259"/>
                  </a:lnTo>
                  <a:lnTo>
                    <a:pt x="288" y="1279"/>
                  </a:lnTo>
                  <a:lnTo>
                    <a:pt x="295" y="1300"/>
                  </a:lnTo>
                  <a:lnTo>
                    <a:pt x="314" y="1361"/>
                  </a:lnTo>
                  <a:lnTo>
                    <a:pt x="339" y="1419"/>
                  </a:lnTo>
                  <a:lnTo>
                    <a:pt x="368" y="1476"/>
                  </a:lnTo>
                  <a:lnTo>
                    <a:pt x="379" y="1494"/>
                  </a:lnTo>
                  <a:lnTo>
                    <a:pt x="273" y="1628"/>
                  </a:lnTo>
                  <a:lnTo>
                    <a:pt x="263" y="1645"/>
                  </a:lnTo>
                  <a:lnTo>
                    <a:pt x="259" y="1663"/>
                  </a:lnTo>
                  <a:lnTo>
                    <a:pt x="260" y="1681"/>
                  </a:lnTo>
                  <a:lnTo>
                    <a:pt x="267" y="1698"/>
                  </a:lnTo>
                  <a:lnTo>
                    <a:pt x="277" y="1714"/>
                  </a:lnTo>
                  <a:lnTo>
                    <a:pt x="437" y="1873"/>
                  </a:lnTo>
                  <a:lnTo>
                    <a:pt x="450" y="1884"/>
                  </a:lnTo>
                  <a:lnTo>
                    <a:pt x="466" y="1890"/>
                  </a:lnTo>
                  <a:lnTo>
                    <a:pt x="482" y="1893"/>
                  </a:lnTo>
                  <a:lnTo>
                    <a:pt x="496" y="1890"/>
                  </a:lnTo>
                  <a:lnTo>
                    <a:pt x="509" y="1886"/>
                  </a:lnTo>
                  <a:lnTo>
                    <a:pt x="521" y="1878"/>
                  </a:lnTo>
                  <a:lnTo>
                    <a:pt x="655" y="1773"/>
                  </a:lnTo>
                  <a:lnTo>
                    <a:pt x="673" y="1783"/>
                  </a:lnTo>
                  <a:lnTo>
                    <a:pt x="732" y="1814"/>
                  </a:lnTo>
                  <a:lnTo>
                    <a:pt x="793" y="1840"/>
                  </a:lnTo>
                  <a:lnTo>
                    <a:pt x="855" y="1861"/>
                  </a:lnTo>
                  <a:lnTo>
                    <a:pt x="876" y="1866"/>
                  </a:lnTo>
                  <a:lnTo>
                    <a:pt x="896" y="2038"/>
                  </a:lnTo>
                  <a:lnTo>
                    <a:pt x="901" y="2056"/>
                  </a:lnTo>
                  <a:lnTo>
                    <a:pt x="911" y="2072"/>
                  </a:lnTo>
                  <a:lnTo>
                    <a:pt x="924" y="2084"/>
                  </a:lnTo>
                  <a:lnTo>
                    <a:pt x="940" y="2091"/>
                  </a:lnTo>
                  <a:lnTo>
                    <a:pt x="958" y="2095"/>
                  </a:lnTo>
                  <a:lnTo>
                    <a:pt x="1185" y="2095"/>
                  </a:lnTo>
                  <a:lnTo>
                    <a:pt x="1203" y="2091"/>
                  </a:lnTo>
                  <a:lnTo>
                    <a:pt x="1220" y="2084"/>
                  </a:lnTo>
                  <a:lnTo>
                    <a:pt x="1233" y="2072"/>
                  </a:lnTo>
                  <a:lnTo>
                    <a:pt x="1242" y="2056"/>
                  </a:lnTo>
                  <a:lnTo>
                    <a:pt x="1248" y="2038"/>
                  </a:lnTo>
                  <a:lnTo>
                    <a:pt x="1266" y="1872"/>
                  </a:lnTo>
                  <a:lnTo>
                    <a:pt x="1288" y="1865"/>
                  </a:lnTo>
                  <a:lnTo>
                    <a:pt x="1354" y="1846"/>
                  </a:lnTo>
                  <a:lnTo>
                    <a:pt x="1420" y="1818"/>
                  </a:lnTo>
                  <a:lnTo>
                    <a:pt x="1483" y="1787"/>
                  </a:lnTo>
                  <a:lnTo>
                    <a:pt x="1502" y="1776"/>
                  </a:lnTo>
                  <a:lnTo>
                    <a:pt x="1631" y="1878"/>
                  </a:lnTo>
                  <a:lnTo>
                    <a:pt x="1643" y="1886"/>
                  </a:lnTo>
                  <a:lnTo>
                    <a:pt x="1657" y="1890"/>
                  </a:lnTo>
                  <a:lnTo>
                    <a:pt x="1670" y="1893"/>
                  </a:lnTo>
                  <a:lnTo>
                    <a:pt x="1687" y="1890"/>
                  </a:lnTo>
                  <a:lnTo>
                    <a:pt x="1703" y="1884"/>
                  </a:lnTo>
                  <a:lnTo>
                    <a:pt x="1716" y="1874"/>
                  </a:lnTo>
                  <a:lnTo>
                    <a:pt x="1874" y="1714"/>
                  </a:lnTo>
                  <a:lnTo>
                    <a:pt x="1886" y="1698"/>
                  </a:lnTo>
                  <a:lnTo>
                    <a:pt x="1892" y="1682"/>
                  </a:lnTo>
                  <a:lnTo>
                    <a:pt x="1893" y="1663"/>
                  </a:lnTo>
                  <a:lnTo>
                    <a:pt x="1889" y="1646"/>
                  </a:lnTo>
                  <a:lnTo>
                    <a:pt x="1880" y="1630"/>
                  </a:lnTo>
                  <a:lnTo>
                    <a:pt x="1779" y="1501"/>
                  </a:lnTo>
                  <a:lnTo>
                    <a:pt x="1790" y="1482"/>
                  </a:lnTo>
                  <a:lnTo>
                    <a:pt x="1822" y="1420"/>
                  </a:lnTo>
                  <a:lnTo>
                    <a:pt x="1849" y="1355"/>
                  </a:lnTo>
                  <a:lnTo>
                    <a:pt x="1870" y="1289"/>
                  </a:lnTo>
                  <a:lnTo>
                    <a:pt x="1876" y="1268"/>
                  </a:lnTo>
                  <a:lnTo>
                    <a:pt x="2032" y="1251"/>
                  </a:lnTo>
                  <a:lnTo>
                    <a:pt x="2050" y="1245"/>
                  </a:lnTo>
                  <a:lnTo>
                    <a:pt x="2066" y="1235"/>
                  </a:lnTo>
                  <a:lnTo>
                    <a:pt x="2078" y="1222"/>
                  </a:lnTo>
                  <a:lnTo>
                    <a:pt x="2085" y="1206"/>
                  </a:lnTo>
                  <a:lnTo>
                    <a:pt x="2088" y="1187"/>
                  </a:lnTo>
                  <a:lnTo>
                    <a:pt x="2088" y="960"/>
                  </a:lnTo>
                  <a:lnTo>
                    <a:pt x="2085" y="942"/>
                  </a:lnTo>
                  <a:lnTo>
                    <a:pt x="2078" y="925"/>
                  </a:lnTo>
                  <a:lnTo>
                    <a:pt x="2066" y="912"/>
                  </a:lnTo>
                  <a:lnTo>
                    <a:pt x="2050" y="902"/>
                  </a:lnTo>
                  <a:lnTo>
                    <a:pt x="2032" y="898"/>
                  </a:lnTo>
                  <a:lnTo>
                    <a:pt x="1878" y="879"/>
                  </a:lnTo>
                  <a:lnTo>
                    <a:pt x="1872" y="858"/>
                  </a:lnTo>
                  <a:lnTo>
                    <a:pt x="1852" y="793"/>
                  </a:lnTo>
                  <a:lnTo>
                    <a:pt x="1827" y="730"/>
                  </a:lnTo>
                  <a:lnTo>
                    <a:pt x="1794" y="668"/>
                  </a:lnTo>
                  <a:lnTo>
                    <a:pt x="1784" y="649"/>
                  </a:lnTo>
                  <a:lnTo>
                    <a:pt x="1879" y="528"/>
                  </a:lnTo>
                  <a:lnTo>
                    <a:pt x="1889" y="512"/>
                  </a:lnTo>
                  <a:lnTo>
                    <a:pt x="1893" y="494"/>
                  </a:lnTo>
                  <a:lnTo>
                    <a:pt x="1892" y="477"/>
                  </a:lnTo>
                  <a:lnTo>
                    <a:pt x="1885" y="459"/>
                  </a:lnTo>
                  <a:lnTo>
                    <a:pt x="1874" y="444"/>
                  </a:lnTo>
                  <a:lnTo>
                    <a:pt x="1716" y="284"/>
                  </a:lnTo>
                  <a:lnTo>
                    <a:pt x="1703" y="274"/>
                  </a:lnTo>
                  <a:lnTo>
                    <a:pt x="1687" y="268"/>
                  </a:lnTo>
                  <a:lnTo>
                    <a:pt x="1671" y="266"/>
                  </a:lnTo>
                  <a:lnTo>
                    <a:pt x="1657" y="267"/>
                  </a:lnTo>
                  <a:lnTo>
                    <a:pt x="1643" y="271"/>
                  </a:lnTo>
                  <a:lnTo>
                    <a:pt x="1631" y="279"/>
                  </a:lnTo>
                  <a:lnTo>
                    <a:pt x="1513" y="373"/>
                  </a:lnTo>
                  <a:lnTo>
                    <a:pt x="1495" y="362"/>
                  </a:lnTo>
                  <a:lnTo>
                    <a:pt x="1447" y="336"/>
                  </a:lnTo>
                  <a:lnTo>
                    <a:pt x="1398" y="313"/>
                  </a:lnTo>
                  <a:lnTo>
                    <a:pt x="1347" y="293"/>
                  </a:lnTo>
                  <a:lnTo>
                    <a:pt x="1296" y="278"/>
                  </a:lnTo>
                  <a:lnTo>
                    <a:pt x="1274" y="272"/>
                  </a:lnTo>
                  <a:lnTo>
                    <a:pt x="1257" y="120"/>
                  </a:lnTo>
                  <a:lnTo>
                    <a:pt x="1251" y="102"/>
                  </a:lnTo>
                  <a:lnTo>
                    <a:pt x="1242" y="87"/>
                  </a:lnTo>
                  <a:lnTo>
                    <a:pt x="1228" y="75"/>
                  </a:lnTo>
                  <a:lnTo>
                    <a:pt x="1212" y="66"/>
                  </a:lnTo>
                  <a:lnTo>
                    <a:pt x="1193" y="64"/>
                  </a:lnTo>
                  <a:lnTo>
                    <a:pt x="968" y="64"/>
                  </a:lnTo>
                  <a:close/>
                  <a:moveTo>
                    <a:pt x="968" y="0"/>
                  </a:moveTo>
                  <a:lnTo>
                    <a:pt x="1193" y="0"/>
                  </a:lnTo>
                  <a:lnTo>
                    <a:pt x="1221" y="2"/>
                  </a:lnTo>
                  <a:lnTo>
                    <a:pt x="1246" y="10"/>
                  </a:lnTo>
                  <a:lnTo>
                    <a:pt x="1268" y="24"/>
                  </a:lnTo>
                  <a:lnTo>
                    <a:pt x="1288" y="41"/>
                  </a:lnTo>
                  <a:lnTo>
                    <a:pt x="1303" y="62"/>
                  </a:lnTo>
                  <a:lnTo>
                    <a:pt x="1314" y="86"/>
                  </a:lnTo>
                  <a:lnTo>
                    <a:pt x="1321" y="113"/>
                  </a:lnTo>
                  <a:lnTo>
                    <a:pt x="1333" y="221"/>
                  </a:lnTo>
                  <a:lnTo>
                    <a:pt x="1394" y="242"/>
                  </a:lnTo>
                  <a:lnTo>
                    <a:pt x="1451" y="266"/>
                  </a:lnTo>
                  <a:lnTo>
                    <a:pt x="1508" y="295"/>
                  </a:lnTo>
                  <a:lnTo>
                    <a:pt x="1592" y="229"/>
                  </a:lnTo>
                  <a:lnTo>
                    <a:pt x="1609" y="217"/>
                  </a:lnTo>
                  <a:lnTo>
                    <a:pt x="1629" y="208"/>
                  </a:lnTo>
                  <a:lnTo>
                    <a:pt x="1649" y="203"/>
                  </a:lnTo>
                  <a:lnTo>
                    <a:pt x="1671" y="200"/>
                  </a:lnTo>
                  <a:lnTo>
                    <a:pt x="1696" y="204"/>
                  </a:lnTo>
                  <a:lnTo>
                    <a:pt x="1720" y="210"/>
                  </a:lnTo>
                  <a:lnTo>
                    <a:pt x="1742" y="222"/>
                  </a:lnTo>
                  <a:lnTo>
                    <a:pt x="1761" y="239"/>
                  </a:lnTo>
                  <a:lnTo>
                    <a:pt x="1920" y="398"/>
                  </a:lnTo>
                  <a:lnTo>
                    <a:pt x="1936" y="420"/>
                  </a:lnTo>
                  <a:lnTo>
                    <a:pt x="1948" y="443"/>
                  </a:lnTo>
                  <a:lnTo>
                    <a:pt x="1956" y="469"/>
                  </a:lnTo>
                  <a:lnTo>
                    <a:pt x="1957" y="495"/>
                  </a:lnTo>
                  <a:lnTo>
                    <a:pt x="1953" y="520"/>
                  </a:lnTo>
                  <a:lnTo>
                    <a:pt x="1944" y="545"/>
                  </a:lnTo>
                  <a:lnTo>
                    <a:pt x="1930" y="568"/>
                  </a:lnTo>
                  <a:lnTo>
                    <a:pt x="1861" y="656"/>
                  </a:lnTo>
                  <a:lnTo>
                    <a:pt x="1887" y="709"/>
                  </a:lnTo>
                  <a:lnTo>
                    <a:pt x="1909" y="764"/>
                  </a:lnTo>
                  <a:lnTo>
                    <a:pt x="1928" y="821"/>
                  </a:lnTo>
                  <a:lnTo>
                    <a:pt x="2040" y="834"/>
                  </a:lnTo>
                  <a:lnTo>
                    <a:pt x="2066" y="839"/>
                  </a:lnTo>
                  <a:lnTo>
                    <a:pt x="2090" y="851"/>
                  </a:lnTo>
                  <a:lnTo>
                    <a:pt x="2110" y="866"/>
                  </a:lnTo>
                  <a:lnTo>
                    <a:pt x="2128" y="886"/>
                  </a:lnTo>
                  <a:lnTo>
                    <a:pt x="2141" y="908"/>
                  </a:lnTo>
                  <a:lnTo>
                    <a:pt x="2150" y="934"/>
                  </a:lnTo>
                  <a:lnTo>
                    <a:pt x="2152" y="960"/>
                  </a:lnTo>
                  <a:lnTo>
                    <a:pt x="2152" y="1187"/>
                  </a:lnTo>
                  <a:lnTo>
                    <a:pt x="2150" y="1215"/>
                  </a:lnTo>
                  <a:lnTo>
                    <a:pt x="2141" y="1240"/>
                  </a:lnTo>
                  <a:lnTo>
                    <a:pt x="2128" y="1262"/>
                  </a:lnTo>
                  <a:lnTo>
                    <a:pt x="2110" y="1281"/>
                  </a:lnTo>
                  <a:lnTo>
                    <a:pt x="2090" y="1298"/>
                  </a:lnTo>
                  <a:lnTo>
                    <a:pt x="2066" y="1309"/>
                  </a:lnTo>
                  <a:lnTo>
                    <a:pt x="2040" y="1314"/>
                  </a:lnTo>
                  <a:lnTo>
                    <a:pt x="1926" y="1327"/>
                  </a:lnTo>
                  <a:lnTo>
                    <a:pt x="1907" y="1385"/>
                  </a:lnTo>
                  <a:lnTo>
                    <a:pt x="1883" y="1441"/>
                  </a:lnTo>
                  <a:lnTo>
                    <a:pt x="1856" y="1495"/>
                  </a:lnTo>
                  <a:lnTo>
                    <a:pt x="1930" y="1589"/>
                  </a:lnTo>
                  <a:lnTo>
                    <a:pt x="1944" y="1612"/>
                  </a:lnTo>
                  <a:lnTo>
                    <a:pt x="1954" y="1637"/>
                  </a:lnTo>
                  <a:lnTo>
                    <a:pt x="1957" y="1663"/>
                  </a:lnTo>
                  <a:lnTo>
                    <a:pt x="1956" y="1690"/>
                  </a:lnTo>
                  <a:lnTo>
                    <a:pt x="1949" y="1715"/>
                  </a:lnTo>
                  <a:lnTo>
                    <a:pt x="1938" y="1739"/>
                  </a:lnTo>
                  <a:lnTo>
                    <a:pt x="1920" y="1759"/>
                  </a:lnTo>
                  <a:lnTo>
                    <a:pt x="1761" y="1920"/>
                  </a:lnTo>
                  <a:lnTo>
                    <a:pt x="1742" y="1935"/>
                  </a:lnTo>
                  <a:lnTo>
                    <a:pt x="1719" y="1947"/>
                  </a:lnTo>
                  <a:lnTo>
                    <a:pt x="1696" y="1955"/>
                  </a:lnTo>
                  <a:lnTo>
                    <a:pt x="1670" y="1957"/>
                  </a:lnTo>
                  <a:lnTo>
                    <a:pt x="1649" y="1955"/>
                  </a:lnTo>
                  <a:lnTo>
                    <a:pt x="1629" y="1949"/>
                  </a:lnTo>
                  <a:lnTo>
                    <a:pt x="1609" y="1941"/>
                  </a:lnTo>
                  <a:lnTo>
                    <a:pt x="1592" y="1929"/>
                  </a:lnTo>
                  <a:lnTo>
                    <a:pt x="1496" y="1853"/>
                  </a:lnTo>
                  <a:lnTo>
                    <a:pt x="1440" y="1881"/>
                  </a:lnTo>
                  <a:lnTo>
                    <a:pt x="1384" y="1904"/>
                  </a:lnTo>
                  <a:lnTo>
                    <a:pt x="1325" y="1922"/>
                  </a:lnTo>
                  <a:lnTo>
                    <a:pt x="1311" y="2045"/>
                  </a:lnTo>
                  <a:lnTo>
                    <a:pt x="1305" y="2072"/>
                  </a:lnTo>
                  <a:lnTo>
                    <a:pt x="1295" y="2096"/>
                  </a:lnTo>
                  <a:lnTo>
                    <a:pt x="1278" y="2118"/>
                  </a:lnTo>
                  <a:lnTo>
                    <a:pt x="1259" y="2135"/>
                  </a:lnTo>
                  <a:lnTo>
                    <a:pt x="1237" y="2148"/>
                  </a:lnTo>
                  <a:lnTo>
                    <a:pt x="1212" y="2156"/>
                  </a:lnTo>
                  <a:lnTo>
                    <a:pt x="1185" y="2159"/>
                  </a:lnTo>
                  <a:lnTo>
                    <a:pt x="958" y="2159"/>
                  </a:lnTo>
                  <a:lnTo>
                    <a:pt x="932" y="2156"/>
                  </a:lnTo>
                  <a:lnTo>
                    <a:pt x="906" y="2148"/>
                  </a:lnTo>
                  <a:lnTo>
                    <a:pt x="884" y="2135"/>
                  </a:lnTo>
                  <a:lnTo>
                    <a:pt x="865" y="2118"/>
                  </a:lnTo>
                  <a:lnTo>
                    <a:pt x="850" y="2096"/>
                  </a:lnTo>
                  <a:lnTo>
                    <a:pt x="838" y="2072"/>
                  </a:lnTo>
                  <a:lnTo>
                    <a:pt x="832" y="2045"/>
                  </a:lnTo>
                  <a:lnTo>
                    <a:pt x="817" y="1917"/>
                  </a:lnTo>
                  <a:lnTo>
                    <a:pt x="764" y="1898"/>
                  </a:lnTo>
                  <a:lnTo>
                    <a:pt x="711" y="1875"/>
                  </a:lnTo>
                  <a:lnTo>
                    <a:pt x="660" y="1850"/>
                  </a:lnTo>
                  <a:lnTo>
                    <a:pt x="561" y="1929"/>
                  </a:lnTo>
                  <a:lnTo>
                    <a:pt x="543" y="1941"/>
                  </a:lnTo>
                  <a:lnTo>
                    <a:pt x="523" y="1949"/>
                  </a:lnTo>
                  <a:lnTo>
                    <a:pt x="503" y="1955"/>
                  </a:lnTo>
                  <a:lnTo>
                    <a:pt x="482" y="1957"/>
                  </a:lnTo>
                  <a:lnTo>
                    <a:pt x="482" y="1957"/>
                  </a:lnTo>
                  <a:lnTo>
                    <a:pt x="457" y="1954"/>
                  </a:lnTo>
                  <a:lnTo>
                    <a:pt x="433" y="1947"/>
                  </a:lnTo>
                  <a:lnTo>
                    <a:pt x="411" y="1935"/>
                  </a:lnTo>
                  <a:lnTo>
                    <a:pt x="392" y="1919"/>
                  </a:lnTo>
                  <a:lnTo>
                    <a:pt x="232" y="1759"/>
                  </a:lnTo>
                  <a:lnTo>
                    <a:pt x="215" y="1738"/>
                  </a:lnTo>
                  <a:lnTo>
                    <a:pt x="203" y="1714"/>
                  </a:lnTo>
                  <a:lnTo>
                    <a:pt x="197" y="1688"/>
                  </a:lnTo>
                  <a:lnTo>
                    <a:pt x="195" y="1662"/>
                  </a:lnTo>
                  <a:lnTo>
                    <a:pt x="199" y="1637"/>
                  </a:lnTo>
                  <a:lnTo>
                    <a:pt x="208" y="1612"/>
                  </a:lnTo>
                  <a:lnTo>
                    <a:pt x="222" y="1589"/>
                  </a:lnTo>
                  <a:lnTo>
                    <a:pt x="301" y="1489"/>
                  </a:lnTo>
                  <a:lnTo>
                    <a:pt x="277" y="1440"/>
                  </a:lnTo>
                  <a:lnTo>
                    <a:pt x="257" y="1389"/>
                  </a:lnTo>
                  <a:lnTo>
                    <a:pt x="239" y="1338"/>
                  </a:lnTo>
                  <a:lnTo>
                    <a:pt x="113" y="1324"/>
                  </a:lnTo>
                  <a:lnTo>
                    <a:pt x="87" y="1317"/>
                  </a:lnTo>
                  <a:lnTo>
                    <a:pt x="62" y="1306"/>
                  </a:lnTo>
                  <a:lnTo>
                    <a:pt x="41" y="1291"/>
                  </a:lnTo>
                  <a:lnTo>
                    <a:pt x="24" y="1271"/>
                  </a:lnTo>
                  <a:lnTo>
                    <a:pt x="11" y="1249"/>
                  </a:lnTo>
                  <a:lnTo>
                    <a:pt x="3" y="1223"/>
                  </a:lnTo>
                  <a:lnTo>
                    <a:pt x="0" y="1196"/>
                  </a:lnTo>
                  <a:lnTo>
                    <a:pt x="0" y="970"/>
                  </a:lnTo>
                  <a:lnTo>
                    <a:pt x="3" y="943"/>
                  </a:lnTo>
                  <a:lnTo>
                    <a:pt x="11" y="918"/>
                  </a:lnTo>
                  <a:lnTo>
                    <a:pt x="24" y="895"/>
                  </a:lnTo>
                  <a:lnTo>
                    <a:pt x="41" y="876"/>
                  </a:lnTo>
                  <a:lnTo>
                    <a:pt x="62" y="860"/>
                  </a:lnTo>
                  <a:lnTo>
                    <a:pt x="87" y="849"/>
                  </a:lnTo>
                  <a:lnTo>
                    <a:pt x="113" y="842"/>
                  </a:lnTo>
                  <a:lnTo>
                    <a:pt x="231" y="829"/>
                  </a:lnTo>
                  <a:lnTo>
                    <a:pt x="248" y="773"/>
                  </a:lnTo>
                  <a:lnTo>
                    <a:pt x="271" y="717"/>
                  </a:lnTo>
                  <a:lnTo>
                    <a:pt x="296" y="662"/>
                  </a:lnTo>
                  <a:lnTo>
                    <a:pt x="222" y="568"/>
                  </a:lnTo>
                  <a:lnTo>
                    <a:pt x="208" y="545"/>
                  </a:lnTo>
                  <a:lnTo>
                    <a:pt x="199" y="520"/>
                  </a:lnTo>
                  <a:lnTo>
                    <a:pt x="195" y="495"/>
                  </a:lnTo>
                  <a:lnTo>
                    <a:pt x="196" y="469"/>
                  </a:lnTo>
                  <a:lnTo>
                    <a:pt x="203" y="444"/>
                  </a:lnTo>
                  <a:lnTo>
                    <a:pt x="215" y="420"/>
                  </a:lnTo>
                  <a:lnTo>
                    <a:pt x="232" y="398"/>
                  </a:lnTo>
                  <a:lnTo>
                    <a:pt x="392" y="239"/>
                  </a:lnTo>
                  <a:lnTo>
                    <a:pt x="411" y="222"/>
                  </a:lnTo>
                  <a:lnTo>
                    <a:pt x="433" y="210"/>
                  </a:lnTo>
                  <a:lnTo>
                    <a:pt x="457" y="204"/>
                  </a:lnTo>
                  <a:lnTo>
                    <a:pt x="482" y="202"/>
                  </a:lnTo>
                  <a:lnTo>
                    <a:pt x="504" y="203"/>
                  </a:lnTo>
                  <a:lnTo>
                    <a:pt x="524" y="208"/>
                  </a:lnTo>
                  <a:lnTo>
                    <a:pt x="543" y="217"/>
                  </a:lnTo>
                  <a:lnTo>
                    <a:pt x="561" y="229"/>
                  </a:lnTo>
                  <a:lnTo>
                    <a:pt x="648" y="298"/>
                  </a:lnTo>
                  <a:lnTo>
                    <a:pt x="706" y="268"/>
                  </a:lnTo>
                  <a:lnTo>
                    <a:pt x="767" y="242"/>
                  </a:lnTo>
                  <a:lnTo>
                    <a:pt x="829" y="221"/>
                  </a:lnTo>
                  <a:lnTo>
                    <a:pt x="841" y="113"/>
                  </a:lnTo>
                  <a:lnTo>
                    <a:pt x="847" y="86"/>
                  </a:lnTo>
                  <a:lnTo>
                    <a:pt x="858" y="62"/>
                  </a:lnTo>
                  <a:lnTo>
                    <a:pt x="874" y="41"/>
                  </a:lnTo>
                  <a:lnTo>
                    <a:pt x="893" y="24"/>
                  </a:lnTo>
                  <a:lnTo>
                    <a:pt x="916" y="10"/>
                  </a:lnTo>
                  <a:lnTo>
                    <a:pt x="941" y="2"/>
                  </a:lnTo>
                  <a:lnTo>
                    <a:pt x="9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xmlns="" id="{8C8FCDC0-9AB3-4C59-820D-68A03C0B06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1" y="1475"/>
              <a:ext cx="178" cy="179"/>
            </a:xfrm>
            <a:custGeom>
              <a:avLst/>
              <a:gdLst>
                <a:gd name="T0" fmla="*/ 702 w 1780"/>
                <a:gd name="T1" fmla="*/ 103 h 1789"/>
                <a:gd name="T2" fmla="*/ 609 w 1780"/>
                <a:gd name="T3" fmla="*/ 282 h 1789"/>
                <a:gd name="T4" fmla="*/ 374 w 1780"/>
                <a:gd name="T5" fmla="*/ 285 h 1789"/>
                <a:gd name="T6" fmla="*/ 209 w 1780"/>
                <a:gd name="T7" fmla="*/ 424 h 1789"/>
                <a:gd name="T8" fmla="*/ 211 w 1780"/>
                <a:gd name="T9" fmla="*/ 507 h 1789"/>
                <a:gd name="T10" fmla="*/ 237 w 1780"/>
                <a:gd name="T11" fmla="*/ 777 h 1789"/>
                <a:gd name="T12" fmla="*/ 72 w 1780"/>
                <a:gd name="T13" fmla="*/ 855 h 1789"/>
                <a:gd name="T14" fmla="*/ 90 w 1780"/>
                <a:gd name="T15" fmla="*/ 1079 h 1789"/>
                <a:gd name="T16" fmla="*/ 272 w 1780"/>
                <a:gd name="T17" fmla="*/ 1128 h 1789"/>
                <a:gd name="T18" fmla="*/ 285 w 1780"/>
                <a:gd name="T19" fmla="*/ 1391 h 1789"/>
                <a:gd name="T20" fmla="*/ 297 w 1780"/>
                <a:gd name="T21" fmla="*/ 1472 h 1789"/>
                <a:gd name="T22" fmla="*/ 471 w 1780"/>
                <a:gd name="T23" fmla="*/ 1586 h 1789"/>
                <a:gd name="T24" fmla="*/ 661 w 1780"/>
                <a:gd name="T25" fmla="*/ 1513 h 1789"/>
                <a:gd name="T26" fmla="*/ 817 w 1780"/>
                <a:gd name="T27" fmla="*/ 1692 h 1789"/>
                <a:gd name="T28" fmla="*/ 1032 w 1780"/>
                <a:gd name="T29" fmla="*/ 1712 h 1789"/>
                <a:gd name="T30" fmla="*/ 1090 w 1780"/>
                <a:gd name="T31" fmla="*/ 1652 h 1789"/>
                <a:gd name="T32" fmla="*/ 1267 w 1780"/>
                <a:gd name="T33" fmla="*/ 1440 h 1789"/>
                <a:gd name="T34" fmla="*/ 1423 w 1780"/>
                <a:gd name="T35" fmla="*/ 1506 h 1789"/>
                <a:gd name="T36" fmla="*/ 1581 w 1780"/>
                <a:gd name="T37" fmla="*/ 1349 h 1789"/>
                <a:gd name="T38" fmla="*/ 1485 w 1780"/>
                <a:gd name="T39" fmla="*/ 1192 h 1789"/>
                <a:gd name="T40" fmla="*/ 1550 w 1780"/>
                <a:gd name="T41" fmla="*/ 990 h 1789"/>
                <a:gd name="T42" fmla="*/ 1714 w 1780"/>
                <a:gd name="T43" fmla="*/ 918 h 1789"/>
                <a:gd name="T44" fmla="*/ 1676 w 1780"/>
                <a:gd name="T45" fmla="*/ 698 h 1789"/>
                <a:gd name="T46" fmla="*/ 1498 w 1780"/>
                <a:gd name="T47" fmla="*/ 610 h 1789"/>
                <a:gd name="T48" fmla="*/ 1502 w 1780"/>
                <a:gd name="T49" fmla="*/ 382 h 1789"/>
                <a:gd name="T50" fmla="*/ 1364 w 1780"/>
                <a:gd name="T51" fmla="*/ 216 h 1789"/>
                <a:gd name="T52" fmla="*/ 1295 w 1780"/>
                <a:gd name="T53" fmla="*/ 208 h 1789"/>
                <a:gd name="T54" fmla="*/ 1070 w 1780"/>
                <a:gd name="T55" fmla="*/ 244 h 1789"/>
                <a:gd name="T56" fmla="*/ 952 w 1780"/>
                <a:gd name="T57" fmla="*/ 83 h 1789"/>
                <a:gd name="T58" fmla="*/ 932 w 1780"/>
                <a:gd name="T59" fmla="*/ 2 h 1789"/>
                <a:gd name="T60" fmla="*/ 1025 w 1780"/>
                <a:gd name="T61" fmla="*/ 77 h 1789"/>
                <a:gd name="T62" fmla="*/ 1188 w 1780"/>
                <a:gd name="T63" fmla="*/ 217 h 1789"/>
                <a:gd name="T64" fmla="*/ 1325 w 1780"/>
                <a:gd name="T65" fmla="*/ 136 h 1789"/>
                <a:gd name="T66" fmla="*/ 1525 w 1780"/>
                <a:gd name="T67" fmla="*/ 267 h 1789"/>
                <a:gd name="T68" fmla="*/ 1568 w 1780"/>
                <a:gd name="T69" fmla="*/ 385 h 1789"/>
                <a:gd name="T70" fmla="*/ 1552 w 1780"/>
                <a:gd name="T71" fmla="*/ 576 h 1789"/>
                <a:gd name="T72" fmla="*/ 1718 w 1780"/>
                <a:gd name="T73" fmla="*/ 648 h 1789"/>
                <a:gd name="T74" fmla="*/ 1780 w 1780"/>
                <a:gd name="T75" fmla="*/ 894 h 1789"/>
                <a:gd name="T76" fmla="*/ 1728 w 1780"/>
                <a:gd name="T77" fmla="*/ 1009 h 1789"/>
                <a:gd name="T78" fmla="*/ 1580 w 1780"/>
                <a:gd name="T79" fmla="*/ 1135 h 1789"/>
                <a:gd name="T80" fmla="*/ 1649 w 1780"/>
                <a:gd name="T81" fmla="*/ 1309 h 1789"/>
                <a:gd name="T82" fmla="*/ 1520 w 1780"/>
                <a:gd name="T83" fmla="*/ 1526 h 1789"/>
                <a:gd name="T84" fmla="*/ 1423 w 1780"/>
                <a:gd name="T85" fmla="*/ 1571 h 1789"/>
                <a:gd name="T86" fmla="*/ 1285 w 1780"/>
                <a:gd name="T87" fmla="*/ 1505 h 1789"/>
                <a:gd name="T88" fmla="*/ 1150 w 1780"/>
                <a:gd name="T89" fmla="*/ 1680 h 1789"/>
                <a:gd name="T90" fmla="*/ 1065 w 1780"/>
                <a:gd name="T91" fmla="*/ 1771 h 1789"/>
                <a:gd name="T92" fmla="*/ 823 w 1780"/>
                <a:gd name="T93" fmla="*/ 1779 h 1789"/>
                <a:gd name="T94" fmla="*/ 748 w 1780"/>
                <a:gd name="T95" fmla="*/ 1688 h 1789"/>
                <a:gd name="T96" fmla="*/ 523 w 1780"/>
                <a:gd name="T97" fmla="*/ 1633 h 1789"/>
                <a:gd name="T98" fmla="*/ 412 w 1780"/>
                <a:gd name="T99" fmla="*/ 1645 h 1789"/>
                <a:gd name="T100" fmla="*/ 223 w 1780"/>
                <a:gd name="T101" fmla="*/ 1480 h 1789"/>
                <a:gd name="T102" fmla="*/ 232 w 1780"/>
                <a:gd name="T103" fmla="*/ 1355 h 1789"/>
                <a:gd name="T104" fmla="*/ 109 w 1780"/>
                <a:gd name="T105" fmla="*/ 1164 h 1789"/>
                <a:gd name="T106" fmla="*/ 18 w 1780"/>
                <a:gd name="T107" fmla="*/ 1077 h 1789"/>
                <a:gd name="T108" fmla="*/ 17 w 1780"/>
                <a:gd name="T109" fmla="*/ 819 h 1789"/>
                <a:gd name="T110" fmla="*/ 177 w 1780"/>
                <a:gd name="T111" fmla="*/ 744 h 1789"/>
                <a:gd name="T112" fmla="*/ 136 w 1780"/>
                <a:gd name="T113" fmla="*/ 506 h 1789"/>
                <a:gd name="T114" fmla="*/ 160 w 1780"/>
                <a:gd name="T115" fmla="*/ 383 h 1789"/>
                <a:gd name="T116" fmla="*/ 335 w 1780"/>
                <a:gd name="T117" fmla="*/ 219 h 1789"/>
                <a:gd name="T118" fmla="*/ 487 w 1780"/>
                <a:gd name="T119" fmla="*/ 279 h 1789"/>
                <a:gd name="T120" fmla="*/ 630 w 1780"/>
                <a:gd name="T121" fmla="*/ 109 h 1789"/>
                <a:gd name="T122" fmla="*/ 715 w 1780"/>
                <a:gd name="T123" fmla="*/ 18 h 1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0" h="1789">
                  <a:moveTo>
                    <a:pt x="902" y="64"/>
                  </a:moveTo>
                  <a:lnTo>
                    <a:pt x="747" y="77"/>
                  </a:lnTo>
                  <a:lnTo>
                    <a:pt x="729" y="82"/>
                  </a:lnTo>
                  <a:lnTo>
                    <a:pt x="714" y="91"/>
                  </a:lnTo>
                  <a:lnTo>
                    <a:pt x="702" y="103"/>
                  </a:lnTo>
                  <a:lnTo>
                    <a:pt x="693" y="120"/>
                  </a:lnTo>
                  <a:lnTo>
                    <a:pt x="690" y="138"/>
                  </a:lnTo>
                  <a:lnTo>
                    <a:pt x="686" y="252"/>
                  </a:lnTo>
                  <a:lnTo>
                    <a:pt x="666" y="260"/>
                  </a:lnTo>
                  <a:lnTo>
                    <a:pt x="609" y="282"/>
                  </a:lnTo>
                  <a:lnTo>
                    <a:pt x="556" y="311"/>
                  </a:lnTo>
                  <a:lnTo>
                    <a:pt x="506" y="344"/>
                  </a:lnTo>
                  <a:lnTo>
                    <a:pt x="488" y="357"/>
                  </a:lnTo>
                  <a:lnTo>
                    <a:pt x="391" y="292"/>
                  </a:lnTo>
                  <a:lnTo>
                    <a:pt x="374" y="285"/>
                  </a:lnTo>
                  <a:lnTo>
                    <a:pt x="357" y="281"/>
                  </a:lnTo>
                  <a:lnTo>
                    <a:pt x="338" y="285"/>
                  </a:lnTo>
                  <a:lnTo>
                    <a:pt x="323" y="292"/>
                  </a:lnTo>
                  <a:lnTo>
                    <a:pt x="309" y="304"/>
                  </a:lnTo>
                  <a:lnTo>
                    <a:pt x="209" y="424"/>
                  </a:lnTo>
                  <a:lnTo>
                    <a:pt x="199" y="440"/>
                  </a:lnTo>
                  <a:lnTo>
                    <a:pt x="195" y="457"/>
                  </a:lnTo>
                  <a:lnTo>
                    <a:pt x="195" y="475"/>
                  </a:lnTo>
                  <a:lnTo>
                    <a:pt x="200" y="492"/>
                  </a:lnTo>
                  <a:lnTo>
                    <a:pt x="211" y="507"/>
                  </a:lnTo>
                  <a:lnTo>
                    <a:pt x="294" y="597"/>
                  </a:lnTo>
                  <a:lnTo>
                    <a:pt x="285" y="617"/>
                  </a:lnTo>
                  <a:lnTo>
                    <a:pt x="265" y="668"/>
                  </a:lnTo>
                  <a:lnTo>
                    <a:pt x="249" y="721"/>
                  </a:lnTo>
                  <a:lnTo>
                    <a:pt x="237" y="777"/>
                  </a:lnTo>
                  <a:lnTo>
                    <a:pt x="234" y="799"/>
                  </a:lnTo>
                  <a:lnTo>
                    <a:pt x="113" y="823"/>
                  </a:lnTo>
                  <a:lnTo>
                    <a:pt x="97" y="829"/>
                  </a:lnTo>
                  <a:lnTo>
                    <a:pt x="82" y="840"/>
                  </a:lnTo>
                  <a:lnTo>
                    <a:pt x="72" y="855"/>
                  </a:lnTo>
                  <a:lnTo>
                    <a:pt x="65" y="871"/>
                  </a:lnTo>
                  <a:lnTo>
                    <a:pt x="64" y="890"/>
                  </a:lnTo>
                  <a:lnTo>
                    <a:pt x="77" y="1046"/>
                  </a:lnTo>
                  <a:lnTo>
                    <a:pt x="82" y="1063"/>
                  </a:lnTo>
                  <a:lnTo>
                    <a:pt x="90" y="1079"/>
                  </a:lnTo>
                  <a:lnTo>
                    <a:pt x="103" y="1091"/>
                  </a:lnTo>
                  <a:lnTo>
                    <a:pt x="119" y="1099"/>
                  </a:lnTo>
                  <a:lnTo>
                    <a:pt x="137" y="1102"/>
                  </a:lnTo>
                  <a:lnTo>
                    <a:pt x="264" y="1107"/>
                  </a:lnTo>
                  <a:lnTo>
                    <a:pt x="272" y="1128"/>
                  </a:lnTo>
                  <a:lnTo>
                    <a:pt x="293" y="1174"/>
                  </a:lnTo>
                  <a:lnTo>
                    <a:pt x="317" y="1220"/>
                  </a:lnTo>
                  <a:lnTo>
                    <a:pt x="344" y="1264"/>
                  </a:lnTo>
                  <a:lnTo>
                    <a:pt x="356" y="1283"/>
                  </a:lnTo>
                  <a:lnTo>
                    <a:pt x="285" y="1391"/>
                  </a:lnTo>
                  <a:lnTo>
                    <a:pt x="277" y="1407"/>
                  </a:lnTo>
                  <a:lnTo>
                    <a:pt x="274" y="1424"/>
                  </a:lnTo>
                  <a:lnTo>
                    <a:pt x="277" y="1442"/>
                  </a:lnTo>
                  <a:lnTo>
                    <a:pt x="284" y="1458"/>
                  </a:lnTo>
                  <a:lnTo>
                    <a:pt x="297" y="1472"/>
                  </a:lnTo>
                  <a:lnTo>
                    <a:pt x="416" y="1574"/>
                  </a:lnTo>
                  <a:lnTo>
                    <a:pt x="428" y="1582"/>
                  </a:lnTo>
                  <a:lnTo>
                    <a:pt x="442" y="1586"/>
                  </a:lnTo>
                  <a:lnTo>
                    <a:pt x="456" y="1588"/>
                  </a:lnTo>
                  <a:lnTo>
                    <a:pt x="471" y="1586"/>
                  </a:lnTo>
                  <a:lnTo>
                    <a:pt x="485" y="1581"/>
                  </a:lnTo>
                  <a:lnTo>
                    <a:pt x="498" y="1572"/>
                  </a:lnTo>
                  <a:lnTo>
                    <a:pt x="592" y="1483"/>
                  </a:lnTo>
                  <a:lnTo>
                    <a:pt x="611" y="1492"/>
                  </a:lnTo>
                  <a:lnTo>
                    <a:pt x="661" y="1513"/>
                  </a:lnTo>
                  <a:lnTo>
                    <a:pt x="713" y="1530"/>
                  </a:lnTo>
                  <a:lnTo>
                    <a:pt x="764" y="1542"/>
                  </a:lnTo>
                  <a:lnTo>
                    <a:pt x="785" y="1547"/>
                  </a:lnTo>
                  <a:lnTo>
                    <a:pt x="812" y="1674"/>
                  </a:lnTo>
                  <a:lnTo>
                    <a:pt x="817" y="1692"/>
                  </a:lnTo>
                  <a:lnTo>
                    <a:pt x="828" y="1706"/>
                  </a:lnTo>
                  <a:lnTo>
                    <a:pt x="842" y="1717"/>
                  </a:lnTo>
                  <a:lnTo>
                    <a:pt x="859" y="1724"/>
                  </a:lnTo>
                  <a:lnTo>
                    <a:pt x="878" y="1725"/>
                  </a:lnTo>
                  <a:lnTo>
                    <a:pt x="1032" y="1712"/>
                  </a:lnTo>
                  <a:lnTo>
                    <a:pt x="1051" y="1707"/>
                  </a:lnTo>
                  <a:lnTo>
                    <a:pt x="1066" y="1698"/>
                  </a:lnTo>
                  <a:lnTo>
                    <a:pt x="1078" y="1685"/>
                  </a:lnTo>
                  <a:lnTo>
                    <a:pt x="1087" y="1669"/>
                  </a:lnTo>
                  <a:lnTo>
                    <a:pt x="1090" y="1652"/>
                  </a:lnTo>
                  <a:lnTo>
                    <a:pt x="1094" y="1524"/>
                  </a:lnTo>
                  <a:lnTo>
                    <a:pt x="1115" y="1517"/>
                  </a:lnTo>
                  <a:lnTo>
                    <a:pt x="1167" y="1495"/>
                  </a:lnTo>
                  <a:lnTo>
                    <a:pt x="1218" y="1469"/>
                  </a:lnTo>
                  <a:lnTo>
                    <a:pt x="1267" y="1440"/>
                  </a:lnTo>
                  <a:lnTo>
                    <a:pt x="1285" y="1428"/>
                  </a:lnTo>
                  <a:lnTo>
                    <a:pt x="1389" y="1497"/>
                  </a:lnTo>
                  <a:lnTo>
                    <a:pt x="1406" y="1504"/>
                  </a:lnTo>
                  <a:lnTo>
                    <a:pt x="1423" y="1506"/>
                  </a:lnTo>
                  <a:lnTo>
                    <a:pt x="1423" y="1506"/>
                  </a:lnTo>
                  <a:lnTo>
                    <a:pt x="1441" y="1504"/>
                  </a:lnTo>
                  <a:lnTo>
                    <a:pt x="1458" y="1497"/>
                  </a:lnTo>
                  <a:lnTo>
                    <a:pt x="1471" y="1485"/>
                  </a:lnTo>
                  <a:lnTo>
                    <a:pt x="1571" y="1366"/>
                  </a:lnTo>
                  <a:lnTo>
                    <a:pt x="1581" y="1349"/>
                  </a:lnTo>
                  <a:lnTo>
                    <a:pt x="1586" y="1332"/>
                  </a:lnTo>
                  <a:lnTo>
                    <a:pt x="1585" y="1314"/>
                  </a:lnTo>
                  <a:lnTo>
                    <a:pt x="1580" y="1297"/>
                  </a:lnTo>
                  <a:lnTo>
                    <a:pt x="1569" y="1283"/>
                  </a:lnTo>
                  <a:lnTo>
                    <a:pt x="1485" y="1192"/>
                  </a:lnTo>
                  <a:lnTo>
                    <a:pt x="1495" y="1172"/>
                  </a:lnTo>
                  <a:lnTo>
                    <a:pt x="1516" y="1120"/>
                  </a:lnTo>
                  <a:lnTo>
                    <a:pt x="1534" y="1066"/>
                  </a:lnTo>
                  <a:lnTo>
                    <a:pt x="1546" y="1012"/>
                  </a:lnTo>
                  <a:lnTo>
                    <a:pt x="1550" y="990"/>
                  </a:lnTo>
                  <a:lnTo>
                    <a:pt x="1666" y="966"/>
                  </a:lnTo>
                  <a:lnTo>
                    <a:pt x="1683" y="959"/>
                  </a:lnTo>
                  <a:lnTo>
                    <a:pt x="1697" y="950"/>
                  </a:lnTo>
                  <a:lnTo>
                    <a:pt x="1708" y="935"/>
                  </a:lnTo>
                  <a:lnTo>
                    <a:pt x="1714" y="918"/>
                  </a:lnTo>
                  <a:lnTo>
                    <a:pt x="1716" y="899"/>
                  </a:lnTo>
                  <a:lnTo>
                    <a:pt x="1702" y="743"/>
                  </a:lnTo>
                  <a:lnTo>
                    <a:pt x="1698" y="726"/>
                  </a:lnTo>
                  <a:lnTo>
                    <a:pt x="1689" y="710"/>
                  </a:lnTo>
                  <a:lnTo>
                    <a:pt x="1676" y="698"/>
                  </a:lnTo>
                  <a:lnTo>
                    <a:pt x="1660" y="690"/>
                  </a:lnTo>
                  <a:lnTo>
                    <a:pt x="1643" y="686"/>
                  </a:lnTo>
                  <a:lnTo>
                    <a:pt x="1525" y="683"/>
                  </a:lnTo>
                  <a:lnTo>
                    <a:pt x="1519" y="662"/>
                  </a:lnTo>
                  <a:lnTo>
                    <a:pt x="1498" y="610"/>
                  </a:lnTo>
                  <a:lnTo>
                    <a:pt x="1472" y="561"/>
                  </a:lnTo>
                  <a:lnTo>
                    <a:pt x="1442" y="513"/>
                  </a:lnTo>
                  <a:lnTo>
                    <a:pt x="1431" y="495"/>
                  </a:lnTo>
                  <a:lnTo>
                    <a:pt x="1495" y="399"/>
                  </a:lnTo>
                  <a:lnTo>
                    <a:pt x="1502" y="382"/>
                  </a:lnTo>
                  <a:lnTo>
                    <a:pt x="1506" y="364"/>
                  </a:lnTo>
                  <a:lnTo>
                    <a:pt x="1503" y="347"/>
                  </a:lnTo>
                  <a:lnTo>
                    <a:pt x="1496" y="331"/>
                  </a:lnTo>
                  <a:lnTo>
                    <a:pt x="1484" y="316"/>
                  </a:lnTo>
                  <a:lnTo>
                    <a:pt x="1364" y="216"/>
                  </a:lnTo>
                  <a:lnTo>
                    <a:pt x="1352" y="207"/>
                  </a:lnTo>
                  <a:lnTo>
                    <a:pt x="1339" y="203"/>
                  </a:lnTo>
                  <a:lnTo>
                    <a:pt x="1325" y="201"/>
                  </a:lnTo>
                  <a:lnTo>
                    <a:pt x="1309" y="203"/>
                  </a:lnTo>
                  <a:lnTo>
                    <a:pt x="1295" y="208"/>
                  </a:lnTo>
                  <a:lnTo>
                    <a:pt x="1281" y="218"/>
                  </a:lnTo>
                  <a:lnTo>
                    <a:pt x="1200" y="295"/>
                  </a:lnTo>
                  <a:lnTo>
                    <a:pt x="1180" y="285"/>
                  </a:lnTo>
                  <a:lnTo>
                    <a:pt x="1127" y="262"/>
                  </a:lnTo>
                  <a:lnTo>
                    <a:pt x="1070" y="244"/>
                  </a:lnTo>
                  <a:lnTo>
                    <a:pt x="1013" y="231"/>
                  </a:lnTo>
                  <a:lnTo>
                    <a:pt x="992" y="227"/>
                  </a:lnTo>
                  <a:lnTo>
                    <a:pt x="969" y="114"/>
                  </a:lnTo>
                  <a:lnTo>
                    <a:pt x="963" y="97"/>
                  </a:lnTo>
                  <a:lnTo>
                    <a:pt x="952" y="83"/>
                  </a:lnTo>
                  <a:lnTo>
                    <a:pt x="938" y="72"/>
                  </a:lnTo>
                  <a:lnTo>
                    <a:pt x="920" y="65"/>
                  </a:lnTo>
                  <a:lnTo>
                    <a:pt x="902" y="64"/>
                  </a:lnTo>
                  <a:close/>
                  <a:moveTo>
                    <a:pt x="907" y="0"/>
                  </a:moveTo>
                  <a:lnTo>
                    <a:pt x="932" y="2"/>
                  </a:lnTo>
                  <a:lnTo>
                    <a:pt x="956" y="10"/>
                  </a:lnTo>
                  <a:lnTo>
                    <a:pt x="978" y="22"/>
                  </a:lnTo>
                  <a:lnTo>
                    <a:pt x="996" y="37"/>
                  </a:lnTo>
                  <a:lnTo>
                    <a:pt x="1013" y="55"/>
                  </a:lnTo>
                  <a:lnTo>
                    <a:pt x="1025" y="77"/>
                  </a:lnTo>
                  <a:lnTo>
                    <a:pt x="1031" y="101"/>
                  </a:lnTo>
                  <a:lnTo>
                    <a:pt x="1047" y="171"/>
                  </a:lnTo>
                  <a:lnTo>
                    <a:pt x="1094" y="183"/>
                  </a:lnTo>
                  <a:lnTo>
                    <a:pt x="1142" y="198"/>
                  </a:lnTo>
                  <a:lnTo>
                    <a:pt x="1188" y="217"/>
                  </a:lnTo>
                  <a:lnTo>
                    <a:pt x="1238" y="170"/>
                  </a:lnTo>
                  <a:lnTo>
                    <a:pt x="1256" y="156"/>
                  </a:lnTo>
                  <a:lnTo>
                    <a:pt x="1278" y="145"/>
                  </a:lnTo>
                  <a:lnTo>
                    <a:pt x="1301" y="138"/>
                  </a:lnTo>
                  <a:lnTo>
                    <a:pt x="1325" y="136"/>
                  </a:lnTo>
                  <a:lnTo>
                    <a:pt x="1347" y="138"/>
                  </a:lnTo>
                  <a:lnTo>
                    <a:pt x="1367" y="144"/>
                  </a:lnTo>
                  <a:lnTo>
                    <a:pt x="1388" y="154"/>
                  </a:lnTo>
                  <a:lnTo>
                    <a:pt x="1407" y="166"/>
                  </a:lnTo>
                  <a:lnTo>
                    <a:pt x="1525" y="267"/>
                  </a:lnTo>
                  <a:lnTo>
                    <a:pt x="1544" y="287"/>
                  </a:lnTo>
                  <a:lnTo>
                    <a:pt x="1558" y="309"/>
                  </a:lnTo>
                  <a:lnTo>
                    <a:pt x="1567" y="334"/>
                  </a:lnTo>
                  <a:lnTo>
                    <a:pt x="1570" y="359"/>
                  </a:lnTo>
                  <a:lnTo>
                    <a:pt x="1568" y="385"/>
                  </a:lnTo>
                  <a:lnTo>
                    <a:pt x="1561" y="411"/>
                  </a:lnTo>
                  <a:lnTo>
                    <a:pt x="1548" y="435"/>
                  </a:lnTo>
                  <a:lnTo>
                    <a:pt x="1508" y="495"/>
                  </a:lnTo>
                  <a:lnTo>
                    <a:pt x="1532" y="535"/>
                  </a:lnTo>
                  <a:lnTo>
                    <a:pt x="1552" y="576"/>
                  </a:lnTo>
                  <a:lnTo>
                    <a:pt x="1571" y="620"/>
                  </a:lnTo>
                  <a:lnTo>
                    <a:pt x="1645" y="622"/>
                  </a:lnTo>
                  <a:lnTo>
                    <a:pt x="1671" y="625"/>
                  </a:lnTo>
                  <a:lnTo>
                    <a:pt x="1696" y="635"/>
                  </a:lnTo>
                  <a:lnTo>
                    <a:pt x="1718" y="648"/>
                  </a:lnTo>
                  <a:lnTo>
                    <a:pt x="1736" y="666"/>
                  </a:lnTo>
                  <a:lnTo>
                    <a:pt x="1751" y="688"/>
                  </a:lnTo>
                  <a:lnTo>
                    <a:pt x="1761" y="712"/>
                  </a:lnTo>
                  <a:lnTo>
                    <a:pt x="1767" y="738"/>
                  </a:lnTo>
                  <a:lnTo>
                    <a:pt x="1780" y="894"/>
                  </a:lnTo>
                  <a:lnTo>
                    <a:pt x="1779" y="921"/>
                  </a:lnTo>
                  <a:lnTo>
                    <a:pt x="1773" y="947"/>
                  </a:lnTo>
                  <a:lnTo>
                    <a:pt x="1762" y="970"/>
                  </a:lnTo>
                  <a:lnTo>
                    <a:pt x="1746" y="991"/>
                  </a:lnTo>
                  <a:lnTo>
                    <a:pt x="1728" y="1009"/>
                  </a:lnTo>
                  <a:lnTo>
                    <a:pt x="1705" y="1022"/>
                  </a:lnTo>
                  <a:lnTo>
                    <a:pt x="1679" y="1029"/>
                  </a:lnTo>
                  <a:lnTo>
                    <a:pt x="1605" y="1045"/>
                  </a:lnTo>
                  <a:lnTo>
                    <a:pt x="1594" y="1090"/>
                  </a:lnTo>
                  <a:lnTo>
                    <a:pt x="1580" y="1135"/>
                  </a:lnTo>
                  <a:lnTo>
                    <a:pt x="1561" y="1180"/>
                  </a:lnTo>
                  <a:lnTo>
                    <a:pt x="1615" y="1238"/>
                  </a:lnTo>
                  <a:lnTo>
                    <a:pt x="1632" y="1260"/>
                  </a:lnTo>
                  <a:lnTo>
                    <a:pt x="1644" y="1283"/>
                  </a:lnTo>
                  <a:lnTo>
                    <a:pt x="1649" y="1309"/>
                  </a:lnTo>
                  <a:lnTo>
                    <a:pt x="1650" y="1334"/>
                  </a:lnTo>
                  <a:lnTo>
                    <a:pt x="1646" y="1360"/>
                  </a:lnTo>
                  <a:lnTo>
                    <a:pt x="1635" y="1384"/>
                  </a:lnTo>
                  <a:lnTo>
                    <a:pt x="1621" y="1407"/>
                  </a:lnTo>
                  <a:lnTo>
                    <a:pt x="1520" y="1526"/>
                  </a:lnTo>
                  <a:lnTo>
                    <a:pt x="1505" y="1541"/>
                  </a:lnTo>
                  <a:lnTo>
                    <a:pt x="1486" y="1554"/>
                  </a:lnTo>
                  <a:lnTo>
                    <a:pt x="1466" y="1563"/>
                  </a:lnTo>
                  <a:lnTo>
                    <a:pt x="1446" y="1570"/>
                  </a:lnTo>
                  <a:lnTo>
                    <a:pt x="1423" y="1571"/>
                  </a:lnTo>
                  <a:lnTo>
                    <a:pt x="1423" y="1571"/>
                  </a:lnTo>
                  <a:lnTo>
                    <a:pt x="1399" y="1569"/>
                  </a:lnTo>
                  <a:lnTo>
                    <a:pt x="1375" y="1562"/>
                  </a:lnTo>
                  <a:lnTo>
                    <a:pt x="1353" y="1550"/>
                  </a:lnTo>
                  <a:lnTo>
                    <a:pt x="1285" y="1505"/>
                  </a:lnTo>
                  <a:lnTo>
                    <a:pt x="1243" y="1529"/>
                  </a:lnTo>
                  <a:lnTo>
                    <a:pt x="1201" y="1551"/>
                  </a:lnTo>
                  <a:lnTo>
                    <a:pt x="1156" y="1570"/>
                  </a:lnTo>
                  <a:lnTo>
                    <a:pt x="1154" y="1653"/>
                  </a:lnTo>
                  <a:lnTo>
                    <a:pt x="1150" y="1680"/>
                  </a:lnTo>
                  <a:lnTo>
                    <a:pt x="1141" y="1704"/>
                  </a:lnTo>
                  <a:lnTo>
                    <a:pt x="1128" y="1727"/>
                  </a:lnTo>
                  <a:lnTo>
                    <a:pt x="1110" y="1745"/>
                  </a:lnTo>
                  <a:lnTo>
                    <a:pt x="1089" y="1760"/>
                  </a:lnTo>
                  <a:lnTo>
                    <a:pt x="1065" y="1771"/>
                  </a:lnTo>
                  <a:lnTo>
                    <a:pt x="1038" y="1776"/>
                  </a:lnTo>
                  <a:lnTo>
                    <a:pt x="883" y="1789"/>
                  </a:lnTo>
                  <a:lnTo>
                    <a:pt x="872" y="1789"/>
                  </a:lnTo>
                  <a:lnTo>
                    <a:pt x="847" y="1787"/>
                  </a:lnTo>
                  <a:lnTo>
                    <a:pt x="823" y="1779"/>
                  </a:lnTo>
                  <a:lnTo>
                    <a:pt x="802" y="1767"/>
                  </a:lnTo>
                  <a:lnTo>
                    <a:pt x="783" y="1752"/>
                  </a:lnTo>
                  <a:lnTo>
                    <a:pt x="767" y="1733"/>
                  </a:lnTo>
                  <a:lnTo>
                    <a:pt x="755" y="1712"/>
                  </a:lnTo>
                  <a:lnTo>
                    <a:pt x="748" y="1688"/>
                  </a:lnTo>
                  <a:lnTo>
                    <a:pt x="731" y="1601"/>
                  </a:lnTo>
                  <a:lnTo>
                    <a:pt x="667" y="1584"/>
                  </a:lnTo>
                  <a:lnTo>
                    <a:pt x="605" y="1560"/>
                  </a:lnTo>
                  <a:lnTo>
                    <a:pt x="542" y="1619"/>
                  </a:lnTo>
                  <a:lnTo>
                    <a:pt x="523" y="1633"/>
                  </a:lnTo>
                  <a:lnTo>
                    <a:pt x="503" y="1644"/>
                  </a:lnTo>
                  <a:lnTo>
                    <a:pt x="480" y="1650"/>
                  </a:lnTo>
                  <a:lnTo>
                    <a:pt x="456" y="1653"/>
                  </a:lnTo>
                  <a:lnTo>
                    <a:pt x="434" y="1650"/>
                  </a:lnTo>
                  <a:lnTo>
                    <a:pt x="412" y="1645"/>
                  </a:lnTo>
                  <a:lnTo>
                    <a:pt x="393" y="1635"/>
                  </a:lnTo>
                  <a:lnTo>
                    <a:pt x="374" y="1623"/>
                  </a:lnTo>
                  <a:lnTo>
                    <a:pt x="255" y="1522"/>
                  </a:lnTo>
                  <a:lnTo>
                    <a:pt x="236" y="1502"/>
                  </a:lnTo>
                  <a:lnTo>
                    <a:pt x="223" y="1480"/>
                  </a:lnTo>
                  <a:lnTo>
                    <a:pt x="214" y="1456"/>
                  </a:lnTo>
                  <a:lnTo>
                    <a:pt x="210" y="1430"/>
                  </a:lnTo>
                  <a:lnTo>
                    <a:pt x="212" y="1404"/>
                  </a:lnTo>
                  <a:lnTo>
                    <a:pt x="219" y="1379"/>
                  </a:lnTo>
                  <a:lnTo>
                    <a:pt x="232" y="1355"/>
                  </a:lnTo>
                  <a:lnTo>
                    <a:pt x="278" y="1283"/>
                  </a:lnTo>
                  <a:lnTo>
                    <a:pt x="247" y="1227"/>
                  </a:lnTo>
                  <a:lnTo>
                    <a:pt x="220" y="1170"/>
                  </a:lnTo>
                  <a:lnTo>
                    <a:pt x="135" y="1167"/>
                  </a:lnTo>
                  <a:lnTo>
                    <a:pt x="109" y="1164"/>
                  </a:lnTo>
                  <a:lnTo>
                    <a:pt x="84" y="1155"/>
                  </a:lnTo>
                  <a:lnTo>
                    <a:pt x="62" y="1141"/>
                  </a:lnTo>
                  <a:lnTo>
                    <a:pt x="43" y="1123"/>
                  </a:lnTo>
                  <a:lnTo>
                    <a:pt x="28" y="1102"/>
                  </a:lnTo>
                  <a:lnTo>
                    <a:pt x="18" y="1077"/>
                  </a:lnTo>
                  <a:lnTo>
                    <a:pt x="13" y="1051"/>
                  </a:lnTo>
                  <a:lnTo>
                    <a:pt x="0" y="895"/>
                  </a:lnTo>
                  <a:lnTo>
                    <a:pt x="0" y="868"/>
                  </a:lnTo>
                  <a:lnTo>
                    <a:pt x="6" y="843"/>
                  </a:lnTo>
                  <a:lnTo>
                    <a:pt x="17" y="819"/>
                  </a:lnTo>
                  <a:lnTo>
                    <a:pt x="33" y="798"/>
                  </a:lnTo>
                  <a:lnTo>
                    <a:pt x="52" y="781"/>
                  </a:lnTo>
                  <a:lnTo>
                    <a:pt x="75" y="768"/>
                  </a:lnTo>
                  <a:lnTo>
                    <a:pt x="101" y="760"/>
                  </a:lnTo>
                  <a:lnTo>
                    <a:pt x="177" y="744"/>
                  </a:lnTo>
                  <a:lnTo>
                    <a:pt x="195" y="676"/>
                  </a:lnTo>
                  <a:lnTo>
                    <a:pt x="219" y="610"/>
                  </a:lnTo>
                  <a:lnTo>
                    <a:pt x="164" y="551"/>
                  </a:lnTo>
                  <a:lnTo>
                    <a:pt x="148" y="530"/>
                  </a:lnTo>
                  <a:lnTo>
                    <a:pt x="136" y="506"/>
                  </a:lnTo>
                  <a:lnTo>
                    <a:pt x="131" y="481"/>
                  </a:lnTo>
                  <a:lnTo>
                    <a:pt x="129" y="455"/>
                  </a:lnTo>
                  <a:lnTo>
                    <a:pt x="135" y="430"/>
                  </a:lnTo>
                  <a:lnTo>
                    <a:pt x="145" y="405"/>
                  </a:lnTo>
                  <a:lnTo>
                    <a:pt x="160" y="383"/>
                  </a:lnTo>
                  <a:lnTo>
                    <a:pt x="260" y="263"/>
                  </a:lnTo>
                  <a:lnTo>
                    <a:pt x="275" y="246"/>
                  </a:lnTo>
                  <a:lnTo>
                    <a:pt x="294" y="234"/>
                  </a:lnTo>
                  <a:lnTo>
                    <a:pt x="313" y="225"/>
                  </a:lnTo>
                  <a:lnTo>
                    <a:pt x="335" y="219"/>
                  </a:lnTo>
                  <a:lnTo>
                    <a:pt x="357" y="217"/>
                  </a:lnTo>
                  <a:lnTo>
                    <a:pt x="381" y="220"/>
                  </a:lnTo>
                  <a:lnTo>
                    <a:pt x="405" y="227"/>
                  </a:lnTo>
                  <a:lnTo>
                    <a:pt x="426" y="239"/>
                  </a:lnTo>
                  <a:lnTo>
                    <a:pt x="487" y="279"/>
                  </a:lnTo>
                  <a:lnTo>
                    <a:pt x="531" y="252"/>
                  </a:lnTo>
                  <a:lnTo>
                    <a:pt x="577" y="228"/>
                  </a:lnTo>
                  <a:lnTo>
                    <a:pt x="623" y="207"/>
                  </a:lnTo>
                  <a:lnTo>
                    <a:pt x="625" y="136"/>
                  </a:lnTo>
                  <a:lnTo>
                    <a:pt x="630" y="109"/>
                  </a:lnTo>
                  <a:lnTo>
                    <a:pt x="639" y="85"/>
                  </a:lnTo>
                  <a:lnTo>
                    <a:pt x="652" y="62"/>
                  </a:lnTo>
                  <a:lnTo>
                    <a:pt x="670" y="43"/>
                  </a:lnTo>
                  <a:lnTo>
                    <a:pt x="691" y="29"/>
                  </a:lnTo>
                  <a:lnTo>
                    <a:pt x="715" y="18"/>
                  </a:lnTo>
                  <a:lnTo>
                    <a:pt x="742" y="13"/>
                  </a:lnTo>
                  <a:lnTo>
                    <a:pt x="897" y="0"/>
                  </a:lnTo>
                  <a:lnTo>
                    <a:pt x="902" y="0"/>
                  </a:lnTo>
                  <a:lnTo>
                    <a:pt x="9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xmlns="" id="{2AA29743-2073-4FCA-B4FC-E1532A8E9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6" y="1530"/>
              <a:ext cx="68" cy="68"/>
            </a:xfrm>
            <a:custGeom>
              <a:avLst/>
              <a:gdLst>
                <a:gd name="T0" fmla="*/ 314 w 674"/>
                <a:gd name="T1" fmla="*/ 65 h 677"/>
                <a:gd name="T2" fmla="*/ 245 w 674"/>
                <a:gd name="T3" fmla="*/ 81 h 677"/>
                <a:gd name="T4" fmla="*/ 182 w 674"/>
                <a:gd name="T5" fmla="*/ 113 h 677"/>
                <a:gd name="T6" fmla="*/ 128 w 674"/>
                <a:gd name="T7" fmla="*/ 161 h 677"/>
                <a:gd name="T8" fmla="*/ 90 w 674"/>
                <a:gd name="T9" fmla="*/ 223 h 677"/>
                <a:gd name="T10" fmla="*/ 68 w 674"/>
                <a:gd name="T11" fmla="*/ 289 h 677"/>
                <a:gd name="T12" fmla="*/ 65 w 674"/>
                <a:gd name="T13" fmla="*/ 361 h 677"/>
                <a:gd name="T14" fmla="*/ 85 w 674"/>
                <a:gd name="T15" fmla="*/ 442 h 677"/>
                <a:gd name="T16" fmla="*/ 125 w 674"/>
                <a:gd name="T17" fmla="*/ 511 h 677"/>
                <a:gd name="T18" fmla="*/ 184 w 674"/>
                <a:gd name="T19" fmla="*/ 564 h 677"/>
                <a:gd name="T20" fmla="*/ 256 w 674"/>
                <a:gd name="T21" fmla="*/ 600 h 677"/>
                <a:gd name="T22" fmla="*/ 337 w 674"/>
                <a:gd name="T23" fmla="*/ 612 h 677"/>
                <a:gd name="T24" fmla="*/ 396 w 674"/>
                <a:gd name="T25" fmla="*/ 606 h 677"/>
                <a:gd name="T26" fmla="*/ 462 w 674"/>
                <a:gd name="T27" fmla="*/ 582 h 677"/>
                <a:gd name="T28" fmla="*/ 521 w 674"/>
                <a:gd name="T29" fmla="*/ 541 h 677"/>
                <a:gd name="T30" fmla="*/ 568 w 674"/>
                <a:gd name="T31" fmla="*/ 486 h 677"/>
                <a:gd name="T32" fmla="*/ 598 w 674"/>
                <a:gd name="T33" fmla="*/ 421 h 677"/>
                <a:gd name="T34" fmla="*/ 610 w 674"/>
                <a:gd name="T35" fmla="*/ 351 h 677"/>
                <a:gd name="T36" fmla="*/ 603 w 674"/>
                <a:gd name="T37" fmla="*/ 274 h 677"/>
                <a:gd name="T38" fmla="*/ 572 w 674"/>
                <a:gd name="T39" fmla="*/ 199 h 677"/>
                <a:gd name="T40" fmla="*/ 522 w 674"/>
                <a:gd name="T41" fmla="*/ 137 h 677"/>
                <a:gd name="T42" fmla="*/ 457 w 674"/>
                <a:gd name="T43" fmla="*/ 92 h 677"/>
                <a:gd name="T44" fmla="*/ 380 w 674"/>
                <a:gd name="T45" fmla="*/ 68 h 677"/>
                <a:gd name="T46" fmla="*/ 338 w 674"/>
                <a:gd name="T47" fmla="*/ 0 h 677"/>
                <a:gd name="T48" fmla="*/ 430 w 674"/>
                <a:gd name="T49" fmla="*/ 13 h 677"/>
                <a:gd name="T50" fmla="*/ 512 w 674"/>
                <a:gd name="T51" fmla="*/ 49 h 677"/>
                <a:gd name="T52" fmla="*/ 582 w 674"/>
                <a:gd name="T53" fmla="*/ 106 h 677"/>
                <a:gd name="T54" fmla="*/ 634 w 674"/>
                <a:gd name="T55" fmla="*/ 178 h 677"/>
                <a:gd name="T56" fmla="*/ 667 w 674"/>
                <a:gd name="T57" fmla="*/ 263 h 677"/>
                <a:gd name="T58" fmla="*/ 674 w 674"/>
                <a:gd name="T59" fmla="*/ 355 h 677"/>
                <a:gd name="T60" fmla="*/ 659 w 674"/>
                <a:gd name="T61" fmla="*/ 441 h 677"/>
                <a:gd name="T62" fmla="*/ 622 w 674"/>
                <a:gd name="T63" fmla="*/ 521 h 677"/>
                <a:gd name="T64" fmla="*/ 564 w 674"/>
                <a:gd name="T65" fmla="*/ 589 h 677"/>
                <a:gd name="T66" fmla="*/ 493 w 674"/>
                <a:gd name="T67" fmla="*/ 640 h 677"/>
                <a:gd name="T68" fmla="*/ 410 w 674"/>
                <a:gd name="T69" fmla="*/ 669 h 677"/>
                <a:gd name="T70" fmla="*/ 337 w 674"/>
                <a:gd name="T71" fmla="*/ 677 h 677"/>
                <a:gd name="T72" fmla="*/ 246 w 674"/>
                <a:gd name="T73" fmla="*/ 664 h 677"/>
                <a:gd name="T74" fmla="*/ 163 w 674"/>
                <a:gd name="T75" fmla="*/ 628 h 677"/>
                <a:gd name="T76" fmla="*/ 93 w 674"/>
                <a:gd name="T77" fmla="*/ 572 h 677"/>
                <a:gd name="T78" fmla="*/ 40 w 674"/>
                <a:gd name="T79" fmla="*/ 499 h 677"/>
                <a:gd name="T80" fmla="*/ 9 w 674"/>
                <a:gd name="T81" fmla="*/ 414 h 677"/>
                <a:gd name="T82" fmla="*/ 0 w 674"/>
                <a:gd name="T83" fmla="*/ 322 h 677"/>
                <a:gd name="T84" fmla="*/ 15 w 674"/>
                <a:gd name="T85" fmla="*/ 236 h 677"/>
                <a:gd name="T86" fmla="*/ 53 w 674"/>
                <a:gd name="T87" fmla="*/ 156 h 677"/>
                <a:gd name="T88" fmla="*/ 111 w 674"/>
                <a:gd name="T89" fmla="*/ 87 h 677"/>
                <a:gd name="T90" fmla="*/ 183 w 674"/>
                <a:gd name="T91" fmla="*/ 37 h 677"/>
                <a:gd name="T92" fmla="*/ 265 w 674"/>
                <a:gd name="T93" fmla="*/ 8 h 677"/>
                <a:gd name="T94" fmla="*/ 338 w 674"/>
                <a:gd name="T95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74" h="677">
                  <a:moveTo>
                    <a:pt x="338" y="64"/>
                  </a:moveTo>
                  <a:lnTo>
                    <a:pt x="314" y="65"/>
                  </a:lnTo>
                  <a:lnTo>
                    <a:pt x="278" y="71"/>
                  </a:lnTo>
                  <a:lnTo>
                    <a:pt x="245" y="81"/>
                  </a:lnTo>
                  <a:lnTo>
                    <a:pt x="212" y="95"/>
                  </a:lnTo>
                  <a:lnTo>
                    <a:pt x="182" y="113"/>
                  </a:lnTo>
                  <a:lnTo>
                    <a:pt x="153" y="135"/>
                  </a:lnTo>
                  <a:lnTo>
                    <a:pt x="128" y="161"/>
                  </a:lnTo>
                  <a:lnTo>
                    <a:pt x="108" y="191"/>
                  </a:lnTo>
                  <a:lnTo>
                    <a:pt x="90" y="223"/>
                  </a:lnTo>
                  <a:lnTo>
                    <a:pt x="77" y="255"/>
                  </a:lnTo>
                  <a:lnTo>
                    <a:pt x="68" y="289"/>
                  </a:lnTo>
                  <a:lnTo>
                    <a:pt x="64" y="325"/>
                  </a:lnTo>
                  <a:lnTo>
                    <a:pt x="65" y="361"/>
                  </a:lnTo>
                  <a:lnTo>
                    <a:pt x="72" y="403"/>
                  </a:lnTo>
                  <a:lnTo>
                    <a:pt x="85" y="442"/>
                  </a:lnTo>
                  <a:lnTo>
                    <a:pt x="102" y="478"/>
                  </a:lnTo>
                  <a:lnTo>
                    <a:pt x="125" y="511"/>
                  </a:lnTo>
                  <a:lnTo>
                    <a:pt x="152" y="540"/>
                  </a:lnTo>
                  <a:lnTo>
                    <a:pt x="184" y="564"/>
                  </a:lnTo>
                  <a:lnTo>
                    <a:pt x="219" y="585"/>
                  </a:lnTo>
                  <a:lnTo>
                    <a:pt x="256" y="600"/>
                  </a:lnTo>
                  <a:lnTo>
                    <a:pt x="296" y="609"/>
                  </a:lnTo>
                  <a:lnTo>
                    <a:pt x="337" y="612"/>
                  </a:lnTo>
                  <a:lnTo>
                    <a:pt x="360" y="611"/>
                  </a:lnTo>
                  <a:lnTo>
                    <a:pt x="396" y="606"/>
                  </a:lnTo>
                  <a:lnTo>
                    <a:pt x="431" y="596"/>
                  </a:lnTo>
                  <a:lnTo>
                    <a:pt x="462" y="582"/>
                  </a:lnTo>
                  <a:lnTo>
                    <a:pt x="493" y="564"/>
                  </a:lnTo>
                  <a:lnTo>
                    <a:pt x="521" y="541"/>
                  </a:lnTo>
                  <a:lnTo>
                    <a:pt x="546" y="515"/>
                  </a:lnTo>
                  <a:lnTo>
                    <a:pt x="568" y="486"/>
                  </a:lnTo>
                  <a:lnTo>
                    <a:pt x="585" y="455"/>
                  </a:lnTo>
                  <a:lnTo>
                    <a:pt x="598" y="421"/>
                  </a:lnTo>
                  <a:lnTo>
                    <a:pt x="606" y="387"/>
                  </a:lnTo>
                  <a:lnTo>
                    <a:pt x="610" y="351"/>
                  </a:lnTo>
                  <a:lnTo>
                    <a:pt x="609" y="315"/>
                  </a:lnTo>
                  <a:lnTo>
                    <a:pt x="603" y="274"/>
                  </a:lnTo>
                  <a:lnTo>
                    <a:pt x="591" y="236"/>
                  </a:lnTo>
                  <a:lnTo>
                    <a:pt x="572" y="199"/>
                  </a:lnTo>
                  <a:lnTo>
                    <a:pt x="549" y="166"/>
                  </a:lnTo>
                  <a:lnTo>
                    <a:pt x="522" y="137"/>
                  </a:lnTo>
                  <a:lnTo>
                    <a:pt x="491" y="112"/>
                  </a:lnTo>
                  <a:lnTo>
                    <a:pt x="457" y="92"/>
                  </a:lnTo>
                  <a:lnTo>
                    <a:pt x="419" y="77"/>
                  </a:lnTo>
                  <a:lnTo>
                    <a:pt x="380" y="68"/>
                  </a:lnTo>
                  <a:lnTo>
                    <a:pt x="338" y="64"/>
                  </a:lnTo>
                  <a:close/>
                  <a:moveTo>
                    <a:pt x="338" y="0"/>
                  </a:moveTo>
                  <a:lnTo>
                    <a:pt x="385" y="3"/>
                  </a:lnTo>
                  <a:lnTo>
                    <a:pt x="430" y="13"/>
                  </a:lnTo>
                  <a:lnTo>
                    <a:pt x="472" y="28"/>
                  </a:lnTo>
                  <a:lnTo>
                    <a:pt x="512" y="49"/>
                  </a:lnTo>
                  <a:lnTo>
                    <a:pt x="548" y="75"/>
                  </a:lnTo>
                  <a:lnTo>
                    <a:pt x="582" y="106"/>
                  </a:lnTo>
                  <a:lnTo>
                    <a:pt x="610" y="140"/>
                  </a:lnTo>
                  <a:lnTo>
                    <a:pt x="634" y="178"/>
                  </a:lnTo>
                  <a:lnTo>
                    <a:pt x="653" y="219"/>
                  </a:lnTo>
                  <a:lnTo>
                    <a:pt x="667" y="263"/>
                  </a:lnTo>
                  <a:lnTo>
                    <a:pt x="673" y="310"/>
                  </a:lnTo>
                  <a:lnTo>
                    <a:pt x="674" y="355"/>
                  </a:lnTo>
                  <a:lnTo>
                    <a:pt x="670" y="398"/>
                  </a:lnTo>
                  <a:lnTo>
                    <a:pt x="659" y="441"/>
                  </a:lnTo>
                  <a:lnTo>
                    <a:pt x="643" y="482"/>
                  </a:lnTo>
                  <a:lnTo>
                    <a:pt x="622" y="521"/>
                  </a:lnTo>
                  <a:lnTo>
                    <a:pt x="595" y="557"/>
                  </a:lnTo>
                  <a:lnTo>
                    <a:pt x="564" y="589"/>
                  </a:lnTo>
                  <a:lnTo>
                    <a:pt x="530" y="617"/>
                  </a:lnTo>
                  <a:lnTo>
                    <a:pt x="493" y="640"/>
                  </a:lnTo>
                  <a:lnTo>
                    <a:pt x="452" y="657"/>
                  </a:lnTo>
                  <a:lnTo>
                    <a:pt x="410" y="669"/>
                  </a:lnTo>
                  <a:lnTo>
                    <a:pt x="365" y="676"/>
                  </a:lnTo>
                  <a:lnTo>
                    <a:pt x="337" y="677"/>
                  </a:lnTo>
                  <a:lnTo>
                    <a:pt x="290" y="673"/>
                  </a:lnTo>
                  <a:lnTo>
                    <a:pt x="246" y="664"/>
                  </a:lnTo>
                  <a:lnTo>
                    <a:pt x="202" y="648"/>
                  </a:lnTo>
                  <a:lnTo>
                    <a:pt x="163" y="628"/>
                  </a:lnTo>
                  <a:lnTo>
                    <a:pt x="126" y="601"/>
                  </a:lnTo>
                  <a:lnTo>
                    <a:pt x="93" y="572"/>
                  </a:lnTo>
                  <a:lnTo>
                    <a:pt x="64" y="537"/>
                  </a:lnTo>
                  <a:lnTo>
                    <a:pt x="40" y="499"/>
                  </a:lnTo>
                  <a:lnTo>
                    <a:pt x="22" y="457"/>
                  </a:lnTo>
                  <a:lnTo>
                    <a:pt x="9" y="414"/>
                  </a:lnTo>
                  <a:lnTo>
                    <a:pt x="1" y="367"/>
                  </a:lnTo>
                  <a:lnTo>
                    <a:pt x="0" y="322"/>
                  </a:lnTo>
                  <a:lnTo>
                    <a:pt x="5" y="278"/>
                  </a:lnTo>
                  <a:lnTo>
                    <a:pt x="15" y="236"/>
                  </a:lnTo>
                  <a:lnTo>
                    <a:pt x="31" y="195"/>
                  </a:lnTo>
                  <a:lnTo>
                    <a:pt x="53" y="156"/>
                  </a:lnTo>
                  <a:lnTo>
                    <a:pt x="79" y="120"/>
                  </a:lnTo>
                  <a:lnTo>
                    <a:pt x="111" y="87"/>
                  </a:lnTo>
                  <a:lnTo>
                    <a:pt x="145" y="60"/>
                  </a:lnTo>
                  <a:lnTo>
                    <a:pt x="183" y="37"/>
                  </a:lnTo>
                  <a:lnTo>
                    <a:pt x="223" y="20"/>
                  </a:lnTo>
                  <a:lnTo>
                    <a:pt x="265" y="8"/>
                  </a:lnTo>
                  <a:lnTo>
                    <a:pt x="309" y="1"/>
                  </a:lnTo>
                  <a:lnTo>
                    <a:pt x="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xmlns="" id="{DD4F9B72-A774-4A47-9015-A6F36F067F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0" y="1622"/>
              <a:ext cx="56" cy="56"/>
            </a:xfrm>
            <a:custGeom>
              <a:avLst/>
              <a:gdLst>
                <a:gd name="T0" fmla="*/ 246 w 561"/>
                <a:gd name="T1" fmla="*/ 68 h 564"/>
                <a:gd name="T2" fmla="*/ 183 w 561"/>
                <a:gd name="T3" fmla="*/ 89 h 564"/>
                <a:gd name="T4" fmla="*/ 130 w 561"/>
                <a:gd name="T5" fmla="*/ 128 h 564"/>
                <a:gd name="T6" fmla="*/ 89 w 561"/>
                <a:gd name="T7" fmla="*/ 181 h 564"/>
                <a:gd name="T8" fmla="*/ 68 w 561"/>
                <a:gd name="T9" fmla="*/ 245 h 564"/>
                <a:gd name="T10" fmla="*/ 66 w 561"/>
                <a:gd name="T11" fmla="*/ 315 h 564"/>
                <a:gd name="T12" fmla="*/ 87 w 561"/>
                <a:gd name="T13" fmla="*/ 379 h 564"/>
                <a:gd name="T14" fmla="*/ 126 w 561"/>
                <a:gd name="T15" fmla="*/ 434 h 564"/>
                <a:gd name="T16" fmla="*/ 180 w 561"/>
                <a:gd name="T17" fmla="*/ 474 h 564"/>
                <a:gd name="T18" fmla="*/ 244 w 561"/>
                <a:gd name="T19" fmla="*/ 496 h 564"/>
                <a:gd name="T20" fmla="*/ 281 w 561"/>
                <a:gd name="T21" fmla="*/ 499 h 564"/>
                <a:gd name="T22" fmla="*/ 348 w 561"/>
                <a:gd name="T23" fmla="*/ 488 h 564"/>
                <a:gd name="T24" fmla="*/ 408 w 561"/>
                <a:gd name="T25" fmla="*/ 458 h 564"/>
                <a:gd name="T26" fmla="*/ 455 w 561"/>
                <a:gd name="T27" fmla="*/ 412 h 564"/>
                <a:gd name="T28" fmla="*/ 486 w 561"/>
                <a:gd name="T29" fmla="*/ 353 h 564"/>
                <a:gd name="T30" fmla="*/ 497 w 561"/>
                <a:gd name="T31" fmla="*/ 285 h 564"/>
                <a:gd name="T32" fmla="*/ 487 w 561"/>
                <a:gd name="T33" fmla="*/ 218 h 564"/>
                <a:gd name="T34" fmla="*/ 458 w 561"/>
                <a:gd name="T35" fmla="*/ 157 h 564"/>
                <a:gd name="T36" fmla="*/ 410 w 561"/>
                <a:gd name="T37" fmla="*/ 107 h 564"/>
                <a:gd name="T38" fmla="*/ 350 w 561"/>
                <a:gd name="T39" fmla="*/ 77 h 564"/>
                <a:gd name="T40" fmla="*/ 284 w 561"/>
                <a:gd name="T41" fmla="*/ 65 h 564"/>
                <a:gd name="T42" fmla="*/ 281 w 561"/>
                <a:gd name="T43" fmla="*/ 0 h 564"/>
                <a:gd name="T44" fmla="*/ 321 w 561"/>
                <a:gd name="T45" fmla="*/ 4 h 564"/>
                <a:gd name="T46" fmla="*/ 392 w 561"/>
                <a:gd name="T47" fmla="*/ 23 h 564"/>
                <a:gd name="T48" fmla="*/ 454 w 561"/>
                <a:gd name="T49" fmla="*/ 60 h 564"/>
                <a:gd name="T50" fmla="*/ 506 w 561"/>
                <a:gd name="T51" fmla="*/ 114 h 564"/>
                <a:gd name="T52" fmla="*/ 542 w 561"/>
                <a:gd name="T53" fmla="*/ 177 h 564"/>
                <a:gd name="T54" fmla="*/ 560 w 561"/>
                <a:gd name="T55" fmla="*/ 248 h 564"/>
                <a:gd name="T56" fmla="*/ 558 w 561"/>
                <a:gd name="T57" fmla="*/ 327 h 564"/>
                <a:gd name="T58" fmla="*/ 534 w 561"/>
                <a:gd name="T59" fmla="*/ 403 h 564"/>
                <a:gd name="T60" fmla="*/ 492 w 561"/>
                <a:gd name="T61" fmla="*/ 469 h 564"/>
                <a:gd name="T62" fmla="*/ 433 w 561"/>
                <a:gd name="T63" fmla="*/ 519 h 564"/>
                <a:gd name="T64" fmla="*/ 361 w 561"/>
                <a:gd name="T65" fmla="*/ 553 h 564"/>
                <a:gd name="T66" fmla="*/ 281 w 561"/>
                <a:gd name="T67" fmla="*/ 564 h 564"/>
                <a:gd name="T68" fmla="*/ 236 w 561"/>
                <a:gd name="T69" fmla="*/ 560 h 564"/>
                <a:gd name="T70" fmla="*/ 160 w 561"/>
                <a:gd name="T71" fmla="*/ 536 h 564"/>
                <a:gd name="T72" fmla="*/ 95 w 561"/>
                <a:gd name="T73" fmla="*/ 493 h 564"/>
                <a:gd name="T74" fmla="*/ 44 w 561"/>
                <a:gd name="T75" fmla="*/ 433 h 564"/>
                <a:gd name="T76" fmla="*/ 11 w 561"/>
                <a:gd name="T77" fmla="*/ 361 h 564"/>
                <a:gd name="T78" fmla="*/ 0 w 561"/>
                <a:gd name="T79" fmla="*/ 279 h 564"/>
                <a:gd name="T80" fmla="*/ 13 w 561"/>
                <a:gd name="T81" fmla="*/ 199 h 564"/>
                <a:gd name="T82" fmla="*/ 47 w 561"/>
                <a:gd name="T83" fmla="*/ 127 h 564"/>
                <a:gd name="T84" fmla="*/ 98 w 561"/>
                <a:gd name="T85" fmla="*/ 69 h 564"/>
                <a:gd name="T86" fmla="*/ 164 w 561"/>
                <a:gd name="T87" fmla="*/ 27 h 564"/>
                <a:gd name="T88" fmla="*/ 241 w 561"/>
                <a:gd name="T89" fmla="*/ 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1" h="564">
                  <a:moveTo>
                    <a:pt x="281" y="65"/>
                  </a:moveTo>
                  <a:lnTo>
                    <a:pt x="246" y="68"/>
                  </a:lnTo>
                  <a:lnTo>
                    <a:pt x="213" y="76"/>
                  </a:lnTo>
                  <a:lnTo>
                    <a:pt x="183" y="89"/>
                  </a:lnTo>
                  <a:lnTo>
                    <a:pt x="155" y="106"/>
                  </a:lnTo>
                  <a:lnTo>
                    <a:pt x="130" y="128"/>
                  </a:lnTo>
                  <a:lnTo>
                    <a:pt x="108" y="153"/>
                  </a:lnTo>
                  <a:lnTo>
                    <a:pt x="89" y="181"/>
                  </a:lnTo>
                  <a:lnTo>
                    <a:pt x="76" y="212"/>
                  </a:lnTo>
                  <a:lnTo>
                    <a:pt x="68" y="245"/>
                  </a:lnTo>
                  <a:lnTo>
                    <a:pt x="64" y="280"/>
                  </a:lnTo>
                  <a:lnTo>
                    <a:pt x="66" y="315"/>
                  </a:lnTo>
                  <a:lnTo>
                    <a:pt x="75" y="349"/>
                  </a:lnTo>
                  <a:lnTo>
                    <a:pt x="87" y="379"/>
                  </a:lnTo>
                  <a:lnTo>
                    <a:pt x="105" y="409"/>
                  </a:lnTo>
                  <a:lnTo>
                    <a:pt x="126" y="434"/>
                  </a:lnTo>
                  <a:lnTo>
                    <a:pt x="151" y="456"/>
                  </a:lnTo>
                  <a:lnTo>
                    <a:pt x="180" y="474"/>
                  </a:lnTo>
                  <a:lnTo>
                    <a:pt x="210" y="487"/>
                  </a:lnTo>
                  <a:lnTo>
                    <a:pt x="244" y="496"/>
                  </a:lnTo>
                  <a:lnTo>
                    <a:pt x="279" y="499"/>
                  </a:lnTo>
                  <a:lnTo>
                    <a:pt x="281" y="499"/>
                  </a:lnTo>
                  <a:lnTo>
                    <a:pt x="316" y="497"/>
                  </a:lnTo>
                  <a:lnTo>
                    <a:pt x="348" y="488"/>
                  </a:lnTo>
                  <a:lnTo>
                    <a:pt x="380" y="475"/>
                  </a:lnTo>
                  <a:lnTo>
                    <a:pt x="408" y="458"/>
                  </a:lnTo>
                  <a:lnTo>
                    <a:pt x="433" y="437"/>
                  </a:lnTo>
                  <a:lnTo>
                    <a:pt x="455" y="412"/>
                  </a:lnTo>
                  <a:lnTo>
                    <a:pt x="472" y="384"/>
                  </a:lnTo>
                  <a:lnTo>
                    <a:pt x="486" y="353"/>
                  </a:lnTo>
                  <a:lnTo>
                    <a:pt x="494" y="319"/>
                  </a:lnTo>
                  <a:lnTo>
                    <a:pt x="497" y="285"/>
                  </a:lnTo>
                  <a:lnTo>
                    <a:pt x="495" y="250"/>
                  </a:lnTo>
                  <a:lnTo>
                    <a:pt x="487" y="218"/>
                  </a:lnTo>
                  <a:lnTo>
                    <a:pt x="476" y="186"/>
                  </a:lnTo>
                  <a:lnTo>
                    <a:pt x="458" y="157"/>
                  </a:lnTo>
                  <a:lnTo>
                    <a:pt x="436" y="130"/>
                  </a:lnTo>
                  <a:lnTo>
                    <a:pt x="410" y="107"/>
                  </a:lnTo>
                  <a:lnTo>
                    <a:pt x="382" y="90"/>
                  </a:lnTo>
                  <a:lnTo>
                    <a:pt x="350" y="77"/>
                  </a:lnTo>
                  <a:lnTo>
                    <a:pt x="318" y="68"/>
                  </a:lnTo>
                  <a:lnTo>
                    <a:pt x="284" y="65"/>
                  </a:lnTo>
                  <a:lnTo>
                    <a:pt x="281" y="65"/>
                  </a:lnTo>
                  <a:close/>
                  <a:moveTo>
                    <a:pt x="281" y="0"/>
                  </a:moveTo>
                  <a:lnTo>
                    <a:pt x="284" y="0"/>
                  </a:lnTo>
                  <a:lnTo>
                    <a:pt x="321" y="4"/>
                  </a:lnTo>
                  <a:lnTo>
                    <a:pt x="357" y="11"/>
                  </a:lnTo>
                  <a:lnTo>
                    <a:pt x="392" y="23"/>
                  </a:lnTo>
                  <a:lnTo>
                    <a:pt x="424" y="40"/>
                  </a:lnTo>
                  <a:lnTo>
                    <a:pt x="454" y="60"/>
                  </a:lnTo>
                  <a:lnTo>
                    <a:pt x="482" y="86"/>
                  </a:lnTo>
                  <a:lnTo>
                    <a:pt x="506" y="114"/>
                  </a:lnTo>
                  <a:lnTo>
                    <a:pt x="527" y="145"/>
                  </a:lnTo>
                  <a:lnTo>
                    <a:pt x="542" y="177"/>
                  </a:lnTo>
                  <a:lnTo>
                    <a:pt x="553" y="212"/>
                  </a:lnTo>
                  <a:lnTo>
                    <a:pt x="560" y="248"/>
                  </a:lnTo>
                  <a:lnTo>
                    <a:pt x="561" y="285"/>
                  </a:lnTo>
                  <a:lnTo>
                    <a:pt x="558" y="327"/>
                  </a:lnTo>
                  <a:lnTo>
                    <a:pt x="549" y="366"/>
                  </a:lnTo>
                  <a:lnTo>
                    <a:pt x="534" y="403"/>
                  </a:lnTo>
                  <a:lnTo>
                    <a:pt x="516" y="437"/>
                  </a:lnTo>
                  <a:lnTo>
                    <a:pt x="492" y="469"/>
                  </a:lnTo>
                  <a:lnTo>
                    <a:pt x="464" y="496"/>
                  </a:lnTo>
                  <a:lnTo>
                    <a:pt x="433" y="519"/>
                  </a:lnTo>
                  <a:lnTo>
                    <a:pt x="398" y="539"/>
                  </a:lnTo>
                  <a:lnTo>
                    <a:pt x="361" y="553"/>
                  </a:lnTo>
                  <a:lnTo>
                    <a:pt x="322" y="562"/>
                  </a:lnTo>
                  <a:lnTo>
                    <a:pt x="281" y="564"/>
                  </a:lnTo>
                  <a:lnTo>
                    <a:pt x="278" y="564"/>
                  </a:lnTo>
                  <a:lnTo>
                    <a:pt x="236" y="560"/>
                  </a:lnTo>
                  <a:lnTo>
                    <a:pt x="197" y="552"/>
                  </a:lnTo>
                  <a:lnTo>
                    <a:pt x="160" y="536"/>
                  </a:lnTo>
                  <a:lnTo>
                    <a:pt x="125" y="517"/>
                  </a:lnTo>
                  <a:lnTo>
                    <a:pt x="95" y="493"/>
                  </a:lnTo>
                  <a:lnTo>
                    <a:pt x="68" y="464"/>
                  </a:lnTo>
                  <a:lnTo>
                    <a:pt x="44" y="433"/>
                  </a:lnTo>
                  <a:lnTo>
                    <a:pt x="25" y="398"/>
                  </a:lnTo>
                  <a:lnTo>
                    <a:pt x="11" y="361"/>
                  </a:lnTo>
                  <a:lnTo>
                    <a:pt x="2" y="320"/>
                  </a:lnTo>
                  <a:lnTo>
                    <a:pt x="0" y="279"/>
                  </a:lnTo>
                  <a:lnTo>
                    <a:pt x="3" y="237"/>
                  </a:lnTo>
                  <a:lnTo>
                    <a:pt x="13" y="199"/>
                  </a:lnTo>
                  <a:lnTo>
                    <a:pt x="27" y="162"/>
                  </a:lnTo>
                  <a:lnTo>
                    <a:pt x="47" y="127"/>
                  </a:lnTo>
                  <a:lnTo>
                    <a:pt x="71" y="96"/>
                  </a:lnTo>
                  <a:lnTo>
                    <a:pt x="98" y="69"/>
                  </a:lnTo>
                  <a:lnTo>
                    <a:pt x="130" y="45"/>
                  </a:lnTo>
                  <a:lnTo>
                    <a:pt x="164" y="27"/>
                  </a:lnTo>
                  <a:lnTo>
                    <a:pt x="201" y="12"/>
                  </a:lnTo>
                  <a:lnTo>
                    <a:pt x="241" y="4"/>
                  </a:lnTo>
                  <a:lnTo>
                    <a:pt x="2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Freeform 42">
              <a:extLst>
                <a:ext uri="{FF2B5EF4-FFF2-40B4-BE49-F238E27FC236}">
                  <a16:creationId xmlns:a16="http://schemas.microsoft.com/office/drawing/2014/main" xmlns="" id="{542E15F9-C798-4C32-ADF6-2522198EE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5" y="1578"/>
              <a:ext cx="146" cy="146"/>
            </a:xfrm>
            <a:custGeom>
              <a:avLst/>
              <a:gdLst>
                <a:gd name="T0" fmla="*/ 635 w 1458"/>
                <a:gd name="T1" fmla="*/ 102 h 1463"/>
                <a:gd name="T2" fmla="*/ 507 w 1458"/>
                <a:gd name="T3" fmla="*/ 238 h 1463"/>
                <a:gd name="T4" fmla="*/ 355 w 1458"/>
                <a:gd name="T5" fmla="*/ 206 h 1463"/>
                <a:gd name="T6" fmla="*/ 229 w 1458"/>
                <a:gd name="T7" fmla="*/ 290 h 1463"/>
                <a:gd name="T8" fmla="*/ 223 w 1458"/>
                <a:gd name="T9" fmla="*/ 373 h 1463"/>
                <a:gd name="T10" fmla="*/ 215 w 1458"/>
                <a:gd name="T11" fmla="*/ 586 h 1463"/>
                <a:gd name="T12" fmla="*/ 76 w 1458"/>
                <a:gd name="T13" fmla="*/ 644 h 1463"/>
                <a:gd name="T14" fmla="*/ 74 w 1458"/>
                <a:gd name="T15" fmla="*/ 809 h 1463"/>
                <a:gd name="T16" fmla="*/ 216 w 1458"/>
                <a:gd name="T17" fmla="*/ 870 h 1463"/>
                <a:gd name="T18" fmla="*/ 214 w 1458"/>
                <a:gd name="T19" fmla="*/ 1078 h 1463"/>
                <a:gd name="T20" fmla="*/ 218 w 1458"/>
                <a:gd name="T21" fmla="*/ 1161 h 1463"/>
                <a:gd name="T22" fmla="*/ 343 w 1458"/>
                <a:gd name="T23" fmla="*/ 1247 h 1463"/>
                <a:gd name="T24" fmla="*/ 499 w 1458"/>
                <a:gd name="T25" fmla="*/ 1210 h 1463"/>
                <a:gd name="T26" fmla="*/ 613 w 1458"/>
                <a:gd name="T27" fmla="*/ 1359 h 1463"/>
                <a:gd name="T28" fmla="*/ 767 w 1458"/>
                <a:gd name="T29" fmla="*/ 1399 h 1463"/>
                <a:gd name="T30" fmla="*/ 829 w 1458"/>
                <a:gd name="T31" fmla="*/ 1344 h 1463"/>
                <a:gd name="T32" fmla="*/ 990 w 1458"/>
                <a:gd name="T33" fmla="*/ 1198 h 1463"/>
                <a:gd name="T34" fmla="*/ 1118 w 1458"/>
                <a:gd name="T35" fmla="*/ 1258 h 1463"/>
                <a:gd name="T36" fmla="*/ 1240 w 1458"/>
                <a:gd name="T37" fmla="*/ 1158 h 1463"/>
                <a:gd name="T38" fmla="*/ 1181 w 1458"/>
                <a:gd name="T39" fmla="*/ 1020 h 1463"/>
                <a:gd name="T40" fmla="*/ 1253 w 1458"/>
                <a:gd name="T41" fmla="*/ 855 h 1463"/>
                <a:gd name="T42" fmla="*/ 1390 w 1458"/>
                <a:gd name="T43" fmla="*/ 804 h 1463"/>
                <a:gd name="T44" fmla="*/ 1373 w 1458"/>
                <a:gd name="T45" fmla="*/ 641 h 1463"/>
                <a:gd name="T46" fmla="*/ 1239 w 1458"/>
                <a:gd name="T47" fmla="*/ 550 h 1463"/>
                <a:gd name="T48" fmla="*/ 1253 w 1458"/>
                <a:gd name="T49" fmla="*/ 370 h 1463"/>
                <a:gd name="T50" fmla="*/ 1173 w 1458"/>
                <a:gd name="T51" fmla="*/ 234 h 1463"/>
                <a:gd name="T52" fmla="*/ 1102 w 1458"/>
                <a:gd name="T53" fmla="*/ 222 h 1463"/>
                <a:gd name="T54" fmla="*/ 923 w 1458"/>
                <a:gd name="T55" fmla="*/ 224 h 1463"/>
                <a:gd name="T56" fmla="*/ 835 w 1458"/>
                <a:gd name="T57" fmla="*/ 88 h 1463"/>
                <a:gd name="T58" fmla="*/ 692 w 1458"/>
                <a:gd name="T59" fmla="*/ 0 h 1463"/>
                <a:gd name="T60" fmla="*/ 862 w 1458"/>
                <a:gd name="T61" fmla="*/ 26 h 1463"/>
                <a:gd name="T62" fmla="*/ 917 w 1458"/>
                <a:gd name="T63" fmla="*/ 154 h 1463"/>
                <a:gd name="T64" fmla="*/ 1101 w 1458"/>
                <a:gd name="T65" fmla="*/ 154 h 1463"/>
                <a:gd name="T66" fmla="*/ 1219 w 1458"/>
                <a:gd name="T67" fmla="*/ 189 h 1463"/>
                <a:gd name="T68" fmla="*/ 1321 w 1458"/>
                <a:gd name="T69" fmla="*/ 354 h 1463"/>
                <a:gd name="T70" fmla="*/ 1290 w 1458"/>
                <a:gd name="T71" fmla="*/ 506 h 1463"/>
                <a:gd name="T72" fmla="*/ 1418 w 1458"/>
                <a:gd name="T73" fmla="*/ 595 h 1463"/>
                <a:gd name="T74" fmla="*/ 1457 w 1458"/>
                <a:gd name="T75" fmla="*/ 785 h 1463"/>
                <a:gd name="T76" fmla="*/ 1394 w 1458"/>
                <a:gd name="T77" fmla="*/ 894 h 1463"/>
                <a:gd name="T78" fmla="*/ 1258 w 1458"/>
                <a:gd name="T79" fmla="*/ 1015 h 1463"/>
                <a:gd name="T80" fmla="*/ 1311 w 1458"/>
                <a:gd name="T81" fmla="*/ 1150 h 1463"/>
                <a:gd name="T82" fmla="*/ 1187 w 1458"/>
                <a:gd name="T83" fmla="*/ 1301 h 1463"/>
                <a:gd name="T84" fmla="*/ 1076 w 1458"/>
                <a:gd name="T85" fmla="*/ 1316 h 1463"/>
                <a:gd name="T86" fmla="*/ 898 w 1458"/>
                <a:gd name="T87" fmla="*/ 1305 h 1463"/>
                <a:gd name="T88" fmla="*/ 841 w 1458"/>
                <a:gd name="T89" fmla="*/ 1439 h 1463"/>
                <a:gd name="T90" fmla="*/ 670 w 1458"/>
                <a:gd name="T91" fmla="*/ 1462 h 1463"/>
                <a:gd name="T92" fmla="*/ 561 w 1458"/>
                <a:gd name="T93" fmla="*/ 1399 h 1463"/>
                <a:gd name="T94" fmla="*/ 447 w 1458"/>
                <a:gd name="T95" fmla="*/ 1256 h 1463"/>
                <a:gd name="T96" fmla="*/ 329 w 1458"/>
                <a:gd name="T97" fmla="*/ 1312 h 1463"/>
                <a:gd name="T98" fmla="*/ 172 w 1458"/>
                <a:gd name="T99" fmla="*/ 1205 h 1463"/>
                <a:gd name="T100" fmla="*/ 140 w 1458"/>
                <a:gd name="T101" fmla="*/ 1084 h 1463"/>
                <a:gd name="T102" fmla="*/ 160 w 1458"/>
                <a:gd name="T103" fmla="*/ 908 h 1463"/>
                <a:gd name="T104" fmla="*/ 22 w 1458"/>
                <a:gd name="T105" fmla="*/ 848 h 1463"/>
                <a:gd name="T106" fmla="*/ 4 w 1458"/>
                <a:gd name="T107" fmla="*/ 651 h 1463"/>
                <a:gd name="T108" fmla="*/ 88 w 1458"/>
                <a:gd name="T109" fmla="*/ 559 h 1463"/>
                <a:gd name="T110" fmla="*/ 173 w 1458"/>
                <a:gd name="T111" fmla="*/ 413 h 1463"/>
                <a:gd name="T112" fmla="*/ 154 w 1458"/>
                <a:gd name="T113" fmla="*/ 288 h 1463"/>
                <a:gd name="T114" fmla="*/ 293 w 1458"/>
                <a:gd name="T115" fmla="*/ 150 h 1463"/>
                <a:gd name="T116" fmla="*/ 403 w 1458"/>
                <a:gd name="T117" fmla="*/ 157 h 1463"/>
                <a:gd name="T118" fmla="*/ 566 w 1458"/>
                <a:gd name="T119" fmla="*/ 111 h 1463"/>
                <a:gd name="T120" fmla="*/ 640 w 1458"/>
                <a:gd name="T121" fmla="*/ 11 h 1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58" h="1463">
                  <a:moveTo>
                    <a:pt x="692" y="64"/>
                  </a:moveTo>
                  <a:lnTo>
                    <a:pt x="673" y="68"/>
                  </a:lnTo>
                  <a:lnTo>
                    <a:pt x="658" y="75"/>
                  </a:lnTo>
                  <a:lnTo>
                    <a:pt x="644" y="86"/>
                  </a:lnTo>
                  <a:lnTo>
                    <a:pt x="635" y="102"/>
                  </a:lnTo>
                  <a:lnTo>
                    <a:pt x="630" y="119"/>
                  </a:lnTo>
                  <a:lnTo>
                    <a:pt x="620" y="200"/>
                  </a:lnTo>
                  <a:lnTo>
                    <a:pt x="598" y="205"/>
                  </a:lnTo>
                  <a:lnTo>
                    <a:pt x="552" y="220"/>
                  </a:lnTo>
                  <a:lnTo>
                    <a:pt x="507" y="238"/>
                  </a:lnTo>
                  <a:lnTo>
                    <a:pt x="464" y="261"/>
                  </a:lnTo>
                  <a:lnTo>
                    <a:pt x="445" y="272"/>
                  </a:lnTo>
                  <a:lnTo>
                    <a:pt x="380" y="220"/>
                  </a:lnTo>
                  <a:lnTo>
                    <a:pt x="368" y="212"/>
                  </a:lnTo>
                  <a:lnTo>
                    <a:pt x="355" y="206"/>
                  </a:lnTo>
                  <a:lnTo>
                    <a:pt x="341" y="205"/>
                  </a:lnTo>
                  <a:lnTo>
                    <a:pt x="325" y="207"/>
                  </a:lnTo>
                  <a:lnTo>
                    <a:pt x="311" y="213"/>
                  </a:lnTo>
                  <a:lnTo>
                    <a:pt x="298" y="223"/>
                  </a:lnTo>
                  <a:lnTo>
                    <a:pt x="229" y="290"/>
                  </a:lnTo>
                  <a:lnTo>
                    <a:pt x="217" y="305"/>
                  </a:lnTo>
                  <a:lnTo>
                    <a:pt x="212" y="322"/>
                  </a:lnTo>
                  <a:lnTo>
                    <a:pt x="211" y="340"/>
                  </a:lnTo>
                  <a:lnTo>
                    <a:pt x="214" y="357"/>
                  </a:lnTo>
                  <a:lnTo>
                    <a:pt x="223" y="373"/>
                  </a:lnTo>
                  <a:lnTo>
                    <a:pt x="277" y="443"/>
                  </a:lnTo>
                  <a:lnTo>
                    <a:pt x="266" y="462"/>
                  </a:lnTo>
                  <a:lnTo>
                    <a:pt x="245" y="502"/>
                  </a:lnTo>
                  <a:lnTo>
                    <a:pt x="228" y="545"/>
                  </a:lnTo>
                  <a:lnTo>
                    <a:pt x="215" y="586"/>
                  </a:lnTo>
                  <a:lnTo>
                    <a:pt x="210" y="608"/>
                  </a:lnTo>
                  <a:lnTo>
                    <a:pt x="121" y="617"/>
                  </a:lnTo>
                  <a:lnTo>
                    <a:pt x="103" y="622"/>
                  </a:lnTo>
                  <a:lnTo>
                    <a:pt x="88" y="631"/>
                  </a:lnTo>
                  <a:lnTo>
                    <a:pt x="76" y="644"/>
                  </a:lnTo>
                  <a:lnTo>
                    <a:pt x="68" y="661"/>
                  </a:lnTo>
                  <a:lnTo>
                    <a:pt x="65" y="679"/>
                  </a:lnTo>
                  <a:lnTo>
                    <a:pt x="64" y="775"/>
                  </a:lnTo>
                  <a:lnTo>
                    <a:pt x="67" y="793"/>
                  </a:lnTo>
                  <a:lnTo>
                    <a:pt x="74" y="809"/>
                  </a:lnTo>
                  <a:lnTo>
                    <a:pt x="86" y="823"/>
                  </a:lnTo>
                  <a:lnTo>
                    <a:pt x="101" y="833"/>
                  </a:lnTo>
                  <a:lnTo>
                    <a:pt x="118" y="837"/>
                  </a:lnTo>
                  <a:lnTo>
                    <a:pt x="210" y="849"/>
                  </a:lnTo>
                  <a:lnTo>
                    <a:pt x="216" y="870"/>
                  </a:lnTo>
                  <a:lnTo>
                    <a:pt x="228" y="909"/>
                  </a:lnTo>
                  <a:lnTo>
                    <a:pt x="244" y="949"/>
                  </a:lnTo>
                  <a:lnTo>
                    <a:pt x="263" y="986"/>
                  </a:lnTo>
                  <a:lnTo>
                    <a:pt x="274" y="1004"/>
                  </a:lnTo>
                  <a:lnTo>
                    <a:pt x="214" y="1078"/>
                  </a:lnTo>
                  <a:lnTo>
                    <a:pt x="205" y="1094"/>
                  </a:lnTo>
                  <a:lnTo>
                    <a:pt x="201" y="1111"/>
                  </a:lnTo>
                  <a:lnTo>
                    <a:pt x="202" y="1129"/>
                  </a:lnTo>
                  <a:lnTo>
                    <a:pt x="207" y="1145"/>
                  </a:lnTo>
                  <a:lnTo>
                    <a:pt x="218" y="1161"/>
                  </a:lnTo>
                  <a:lnTo>
                    <a:pt x="285" y="1229"/>
                  </a:lnTo>
                  <a:lnTo>
                    <a:pt x="298" y="1239"/>
                  </a:lnTo>
                  <a:lnTo>
                    <a:pt x="313" y="1246"/>
                  </a:lnTo>
                  <a:lnTo>
                    <a:pt x="329" y="1248"/>
                  </a:lnTo>
                  <a:lnTo>
                    <a:pt x="343" y="1247"/>
                  </a:lnTo>
                  <a:lnTo>
                    <a:pt x="356" y="1242"/>
                  </a:lnTo>
                  <a:lnTo>
                    <a:pt x="367" y="1235"/>
                  </a:lnTo>
                  <a:lnTo>
                    <a:pt x="441" y="1178"/>
                  </a:lnTo>
                  <a:lnTo>
                    <a:pt x="460" y="1189"/>
                  </a:lnTo>
                  <a:lnTo>
                    <a:pt x="499" y="1210"/>
                  </a:lnTo>
                  <a:lnTo>
                    <a:pt x="538" y="1227"/>
                  </a:lnTo>
                  <a:lnTo>
                    <a:pt x="578" y="1241"/>
                  </a:lnTo>
                  <a:lnTo>
                    <a:pt x="599" y="1247"/>
                  </a:lnTo>
                  <a:lnTo>
                    <a:pt x="609" y="1342"/>
                  </a:lnTo>
                  <a:lnTo>
                    <a:pt x="613" y="1359"/>
                  </a:lnTo>
                  <a:lnTo>
                    <a:pt x="623" y="1375"/>
                  </a:lnTo>
                  <a:lnTo>
                    <a:pt x="636" y="1387"/>
                  </a:lnTo>
                  <a:lnTo>
                    <a:pt x="651" y="1394"/>
                  </a:lnTo>
                  <a:lnTo>
                    <a:pt x="670" y="1397"/>
                  </a:lnTo>
                  <a:lnTo>
                    <a:pt x="767" y="1399"/>
                  </a:lnTo>
                  <a:lnTo>
                    <a:pt x="785" y="1396"/>
                  </a:lnTo>
                  <a:lnTo>
                    <a:pt x="800" y="1389"/>
                  </a:lnTo>
                  <a:lnTo>
                    <a:pt x="813" y="1377"/>
                  </a:lnTo>
                  <a:lnTo>
                    <a:pt x="823" y="1361"/>
                  </a:lnTo>
                  <a:lnTo>
                    <a:pt x="829" y="1344"/>
                  </a:lnTo>
                  <a:lnTo>
                    <a:pt x="839" y="1253"/>
                  </a:lnTo>
                  <a:lnTo>
                    <a:pt x="861" y="1248"/>
                  </a:lnTo>
                  <a:lnTo>
                    <a:pt x="905" y="1235"/>
                  </a:lnTo>
                  <a:lnTo>
                    <a:pt x="948" y="1218"/>
                  </a:lnTo>
                  <a:lnTo>
                    <a:pt x="990" y="1198"/>
                  </a:lnTo>
                  <a:lnTo>
                    <a:pt x="1008" y="1188"/>
                  </a:lnTo>
                  <a:lnTo>
                    <a:pt x="1078" y="1244"/>
                  </a:lnTo>
                  <a:lnTo>
                    <a:pt x="1090" y="1251"/>
                  </a:lnTo>
                  <a:lnTo>
                    <a:pt x="1104" y="1257"/>
                  </a:lnTo>
                  <a:lnTo>
                    <a:pt x="1118" y="1258"/>
                  </a:lnTo>
                  <a:lnTo>
                    <a:pt x="1133" y="1256"/>
                  </a:lnTo>
                  <a:lnTo>
                    <a:pt x="1148" y="1250"/>
                  </a:lnTo>
                  <a:lnTo>
                    <a:pt x="1160" y="1240"/>
                  </a:lnTo>
                  <a:lnTo>
                    <a:pt x="1229" y="1173"/>
                  </a:lnTo>
                  <a:lnTo>
                    <a:pt x="1240" y="1158"/>
                  </a:lnTo>
                  <a:lnTo>
                    <a:pt x="1246" y="1142"/>
                  </a:lnTo>
                  <a:lnTo>
                    <a:pt x="1247" y="1123"/>
                  </a:lnTo>
                  <a:lnTo>
                    <a:pt x="1244" y="1106"/>
                  </a:lnTo>
                  <a:lnTo>
                    <a:pt x="1234" y="1090"/>
                  </a:lnTo>
                  <a:lnTo>
                    <a:pt x="1181" y="1020"/>
                  </a:lnTo>
                  <a:lnTo>
                    <a:pt x="1192" y="1001"/>
                  </a:lnTo>
                  <a:lnTo>
                    <a:pt x="1214" y="961"/>
                  </a:lnTo>
                  <a:lnTo>
                    <a:pt x="1232" y="919"/>
                  </a:lnTo>
                  <a:lnTo>
                    <a:pt x="1246" y="876"/>
                  </a:lnTo>
                  <a:lnTo>
                    <a:pt x="1253" y="855"/>
                  </a:lnTo>
                  <a:lnTo>
                    <a:pt x="1337" y="846"/>
                  </a:lnTo>
                  <a:lnTo>
                    <a:pt x="1355" y="842"/>
                  </a:lnTo>
                  <a:lnTo>
                    <a:pt x="1370" y="832"/>
                  </a:lnTo>
                  <a:lnTo>
                    <a:pt x="1382" y="819"/>
                  </a:lnTo>
                  <a:lnTo>
                    <a:pt x="1390" y="804"/>
                  </a:lnTo>
                  <a:lnTo>
                    <a:pt x="1392" y="785"/>
                  </a:lnTo>
                  <a:lnTo>
                    <a:pt x="1393" y="689"/>
                  </a:lnTo>
                  <a:lnTo>
                    <a:pt x="1391" y="670"/>
                  </a:lnTo>
                  <a:lnTo>
                    <a:pt x="1383" y="654"/>
                  </a:lnTo>
                  <a:lnTo>
                    <a:pt x="1373" y="641"/>
                  </a:lnTo>
                  <a:lnTo>
                    <a:pt x="1357" y="631"/>
                  </a:lnTo>
                  <a:lnTo>
                    <a:pt x="1340" y="626"/>
                  </a:lnTo>
                  <a:lnTo>
                    <a:pt x="1256" y="615"/>
                  </a:lnTo>
                  <a:lnTo>
                    <a:pt x="1251" y="594"/>
                  </a:lnTo>
                  <a:lnTo>
                    <a:pt x="1239" y="550"/>
                  </a:lnTo>
                  <a:lnTo>
                    <a:pt x="1222" y="509"/>
                  </a:lnTo>
                  <a:lnTo>
                    <a:pt x="1202" y="468"/>
                  </a:lnTo>
                  <a:lnTo>
                    <a:pt x="1192" y="450"/>
                  </a:lnTo>
                  <a:lnTo>
                    <a:pt x="1244" y="385"/>
                  </a:lnTo>
                  <a:lnTo>
                    <a:pt x="1253" y="370"/>
                  </a:lnTo>
                  <a:lnTo>
                    <a:pt x="1257" y="353"/>
                  </a:lnTo>
                  <a:lnTo>
                    <a:pt x="1256" y="335"/>
                  </a:lnTo>
                  <a:lnTo>
                    <a:pt x="1251" y="318"/>
                  </a:lnTo>
                  <a:lnTo>
                    <a:pt x="1240" y="302"/>
                  </a:lnTo>
                  <a:lnTo>
                    <a:pt x="1173" y="234"/>
                  </a:lnTo>
                  <a:lnTo>
                    <a:pt x="1160" y="224"/>
                  </a:lnTo>
                  <a:lnTo>
                    <a:pt x="1145" y="217"/>
                  </a:lnTo>
                  <a:lnTo>
                    <a:pt x="1129" y="215"/>
                  </a:lnTo>
                  <a:lnTo>
                    <a:pt x="1115" y="216"/>
                  </a:lnTo>
                  <a:lnTo>
                    <a:pt x="1102" y="222"/>
                  </a:lnTo>
                  <a:lnTo>
                    <a:pt x="1091" y="228"/>
                  </a:lnTo>
                  <a:lnTo>
                    <a:pt x="1027" y="277"/>
                  </a:lnTo>
                  <a:lnTo>
                    <a:pt x="1008" y="265"/>
                  </a:lnTo>
                  <a:lnTo>
                    <a:pt x="967" y="244"/>
                  </a:lnTo>
                  <a:lnTo>
                    <a:pt x="923" y="224"/>
                  </a:lnTo>
                  <a:lnTo>
                    <a:pt x="879" y="210"/>
                  </a:lnTo>
                  <a:lnTo>
                    <a:pt x="858" y="203"/>
                  </a:lnTo>
                  <a:lnTo>
                    <a:pt x="849" y="122"/>
                  </a:lnTo>
                  <a:lnTo>
                    <a:pt x="845" y="104"/>
                  </a:lnTo>
                  <a:lnTo>
                    <a:pt x="835" y="88"/>
                  </a:lnTo>
                  <a:lnTo>
                    <a:pt x="822" y="76"/>
                  </a:lnTo>
                  <a:lnTo>
                    <a:pt x="807" y="69"/>
                  </a:lnTo>
                  <a:lnTo>
                    <a:pt x="788" y="66"/>
                  </a:lnTo>
                  <a:lnTo>
                    <a:pt x="692" y="64"/>
                  </a:lnTo>
                  <a:close/>
                  <a:moveTo>
                    <a:pt x="692" y="0"/>
                  </a:moveTo>
                  <a:lnTo>
                    <a:pt x="694" y="0"/>
                  </a:lnTo>
                  <a:lnTo>
                    <a:pt x="788" y="1"/>
                  </a:lnTo>
                  <a:lnTo>
                    <a:pt x="816" y="4"/>
                  </a:lnTo>
                  <a:lnTo>
                    <a:pt x="841" y="13"/>
                  </a:lnTo>
                  <a:lnTo>
                    <a:pt x="862" y="26"/>
                  </a:lnTo>
                  <a:lnTo>
                    <a:pt x="882" y="44"/>
                  </a:lnTo>
                  <a:lnTo>
                    <a:pt x="897" y="64"/>
                  </a:lnTo>
                  <a:lnTo>
                    <a:pt x="908" y="88"/>
                  </a:lnTo>
                  <a:lnTo>
                    <a:pt x="913" y="116"/>
                  </a:lnTo>
                  <a:lnTo>
                    <a:pt x="917" y="154"/>
                  </a:lnTo>
                  <a:lnTo>
                    <a:pt x="971" y="174"/>
                  </a:lnTo>
                  <a:lnTo>
                    <a:pt x="1022" y="200"/>
                  </a:lnTo>
                  <a:lnTo>
                    <a:pt x="1051" y="177"/>
                  </a:lnTo>
                  <a:lnTo>
                    <a:pt x="1074" y="163"/>
                  </a:lnTo>
                  <a:lnTo>
                    <a:pt x="1101" y="154"/>
                  </a:lnTo>
                  <a:lnTo>
                    <a:pt x="1129" y="151"/>
                  </a:lnTo>
                  <a:lnTo>
                    <a:pt x="1154" y="153"/>
                  </a:lnTo>
                  <a:lnTo>
                    <a:pt x="1178" y="161"/>
                  </a:lnTo>
                  <a:lnTo>
                    <a:pt x="1200" y="173"/>
                  </a:lnTo>
                  <a:lnTo>
                    <a:pt x="1219" y="189"/>
                  </a:lnTo>
                  <a:lnTo>
                    <a:pt x="1286" y="258"/>
                  </a:lnTo>
                  <a:lnTo>
                    <a:pt x="1303" y="278"/>
                  </a:lnTo>
                  <a:lnTo>
                    <a:pt x="1314" y="302"/>
                  </a:lnTo>
                  <a:lnTo>
                    <a:pt x="1320" y="328"/>
                  </a:lnTo>
                  <a:lnTo>
                    <a:pt x="1321" y="354"/>
                  </a:lnTo>
                  <a:lnTo>
                    <a:pt x="1318" y="379"/>
                  </a:lnTo>
                  <a:lnTo>
                    <a:pt x="1308" y="404"/>
                  </a:lnTo>
                  <a:lnTo>
                    <a:pt x="1294" y="427"/>
                  </a:lnTo>
                  <a:lnTo>
                    <a:pt x="1269" y="458"/>
                  </a:lnTo>
                  <a:lnTo>
                    <a:pt x="1290" y="506"/>
                  </a:lnTo>
                  <a:lnTo>
                    <a:pt x="1307" y="557"/>
                  </a:lnTo>
                  <a:lnTo>
                    <a:pt x="1348" y="562"/>
                  </a:lnTo>
                  <a:lnTo>
                    <a:pt x="1374" y="568"/>
                  </a:lnTo>
                  <a:lnTo>
                    <a:pt x="1398" y="580"/>
                  </a:lnTo>
                  <a:lnTo>
                    <a:pt x="1418" y="595"/>
                  </a:lnTo>
                  <a:lnTo>
                    <a:pt x="1436" y="615"/>
                  </a:lnTo>
                  <a:lnTo>
                    <a:pt x="1448" y="638"/>
                  </a:lnTo>
                  <a:lnTo>
                    <a:pt x="1455" y="663"/>
                  </a:lnTo>
                  <a:lnTo>
                    <a:pt x="1458" y="690"/>
                  </a:lnTo>
                  <a:lnTo>
                    <a:pt x="1457" y="785"/>
                  </a:lnTo>
                  <a:lnTo>
                    <a:pt x="1454" y="812"/>
                  </a:lnTo>
                  <a:lnTo>
                    <a:pt x="1445" y="837"/>
                  </a:lnTo>
                  <a:lnTo>
                    <a:pt x="1432" y="859"/>
                  </a:lnTo>
                  <a:lnTo>
                    <a:pt x="1415" y="879"/>
                  </a:lnTo>
                  <a:lnTo>
                    <a:pt x="1394" y="894"/>
                  </a:lnTo>
                  <a:lnTo>
                    <a:pt x="1370" y="905"/>
                  </a:lnTo>
                  <a:lnTo>
                    <a:pt x="1343" y="911"/>
                  </a:lnTo>
                  <a:lnTo>
                    <a:pt x="1302" y="915"/>
                  </a:lnTo>
                  <a:lnTo>
                    <a:pt x="1282" y="966"/>
                  </a:lnTo>
                  <a:lnTo>
                    <a:pt x="1258" y="1015"/>
                  </a:lnTo>
                  <a:lnTo>
                    <a:pt x="1286" y="1050"/>
                  </a:lnTo>
                  <a:lnTo>
                    <a:pt x="1300" y="1073"/>
                  </a:lnTo>
                  <a:lnTo>
                    <a:pt x="1308" y="1098"/>
                  </a:lnTo>
                  <a:lnTo>
                    <a:pt x="1313" y="1125"/>
                  </a:lnTo>
                  <a:lnTo>
                    <a:pt x="1311" y="1150"/>
                  </a:lnTo>
                  <a:lnTo>
                    <a:pt x="1303" y="1175"/>
                  </a:lnTo>
                  <a:lnTo>
                    <a:pt x="1291" y="1199"/>
                  </a:lnTo>
                  <a:lnTo>
                    <a:pt x="1275" y="1220"/>
                  </a:lnTo>
                  <a:lnTo>
                    <a:pt x="1206" y="1286"/>
                  </a:lnTo>
                  <a:lnTo>
                    <a:pt x="1187" y="1301"/>
                  </a:lnTo>
                  <a:lnTo>
                    <a:pt x="1165" y="1313"/>
                  </a:lnTo>
                  <a:lnTo>
                    <a:pt x="1142" y="1320"/>
                  </a:lnTo>
                  <a:lnTo>
                    <a:pt x="1118" y="1322"/>
                  </a:lnTo>
                  <a:lnTo>
                    <a:pt x="1096" y="1321"/>
                  </a:lnTo>
                  <a:lnTo>
                    <a:pt x="1076" y="1316"/>
                  </a:lnTo>
                  <a:lnTo>
                    <a:pt x="1056" y="1306"/>
                  </a:lnTo>
                  <a:lnTo>
                    <a:pt x="1037" y="1294"/>
                  </a:lnTo>
                  <a:lnTo>
                    <a:pt x="1002" y="1264"/>
                  </a:lnTo>
                  <a:lnTo>
                    <a:pt x="950" y="1287"/>
                  </a:lnTo>
                  <a:lnTo>
                    <a:pt x="898" y="1305"/>
                  </a:lnTo>
                  <a:lnTo>
                    <a:pt x="892" y="1353"/>
                  </a:lnTo>
                  <a:lnTo>
                    <a:pt x="886" y="1378"/>
                  </a:lnTo>
                  <a:lnTo>
                    <a:pt x="874" y="1402"/>
                  </a:lnTo>
                  <a:lnTo>
                    <a:pt x="859" y="1423"/>
                  </a:lnTo>
                  <a:lnTo>
                    <a:pt x="841" y="1439"/>
                  </a:lnTo>
                  <a:lnTo>
                    <a:pt x="818" y="1452"/>
                  </a:lnTo>
                  <a:lnTo>
                    <a:pt x="794" y="1461"/>
                  </a:lnTo>
                  <a:lnTo>
                    <a:pt x="767" y="1463"/>
                  </a:lnTo>
                  <a:lnTo>
                    <a:pt x="764" y="1463"/>
                  </a:lnTo>
                  <a:lnTo>
                    <a:pt x="670" y="1462"/>
                  </a:lnTo>
                  <a:lnTo>
                    <a:pt x="643" y="1459"/>
                  </a:lnTo>
                  <a:lnTo>
                    <a:pt x="618" y="1451"/>
                  </a:lnTo>
                  <a:lnTo>
                    <a:pt x="596" y="1437"/>
                  </a:lnTo>
                  <a:lnTo>
                    <a:pt x="576" y="1420"/>
                  </a:lnTo>
                  <a:lnTo>
                    <a:pt x="561" y="1399"/>
                  </a:lnTo>
                  <a:lnTo>
                    <a:pt x="550" y="1375"/>
                  </a:lnTo>
                  <a:lnTo>
                    <a:pt x="545" y="1348"/>
                  </a:lnTo>
                  <a:lnTo>
                    <a:pt x="539" y="1296"/>
                  </a:lnTo>
                  <a:lnTo>
                    <a:pt x="492" y="1278"/>
                  </a:lnTo>
                  <a:lnTo>
                    <a:pt x="447" y="1256"/>
                  </a:lnTo>
                  <a:lnTo>
                    <a:pt x="406" y="1286"/>
                  </a:lnTo>
                  <a:lnTo>
                    <a:pt x="384" y="1300"/>
                  </a:lnTo>
                  <a:lnTo>
                    <a:pt x="358" y="1310"/>
                  </a:lnTo>
                  <a:lnTo>
                    <a:pt x="329" y="1312"/>
                  </a:lnTo>
                  <a:lnTo>
                    <a:pt x="329" y="1312"/>
                  </a:lnTo>
                  <a:lnTo>
                    <a:pt x="304" y="1310"/>
                  </a:lnTo>
                  <a:lnTo>
                    <a:pt x="280" y="1303"/>
                  </a:lnTo>
                  <a:lnTo>
                    <a:pt x="259" y="1291"/>
                  </a:lnTo>
                  <a:lnTo>
                    <a:pt x="239" y="1274"/>
                  </a:lnTo>
                  <a:lnTo>
                    <a:pt x="172" y="1205"/>
                  </a:lnTo>
                  <a:lnTo>
                    <a:pt x="155" y="1185"/>
                  </a:lnTo>
                  <a:lnTo>
                    <a:pt x="144" y="1161"/>
                  </a:lnTo>
                  <a:lnTo>
                    <a:pt x="138" y="1135"/>
                  </a:lnTo>
                  <a:lnTo>
                    <a:pt x="137" y="1110"/>
                  </a:lnTo>
                  <a:lnTo>
                    <a:pt x="140" y="1084"/>
                  </a:lnTo>
                  <a:lnTo>
                    <a:pt x="150" y="1060"/>
                  </a:lnTo>
                  <a:lnTo>
                    <a:pt x="164" y="1037"/>
                  </a:lnTo>
                  <a:lnTo>
                    <a:pt x="197" y="998"/>
                  </a:lnTo>
                  <a:lnTo>
                    <a:pt x="176" y="953"/>
                  </a:lnTo>
                  <a:lnTo>
                    <a:pt x="160" y="908"/>
                  </a:lnTo>
                  <a:lnTo>
                    <a:pt x="111" y="902"/>
                  </a:lnTo>
                  <a:lnTo>
                    <a:pt x="84" y="895"/>
                  </a:lnTo>
                  <a:lnTo>
                    <a:pt x="61" y="884"/>
                  </a:lnTo>
                  <a:lnTo>
                    <a:pt x="40" y="868"/>
                  </a:lnTo>
                  <a:lnTo>
                    <a:pt x="22" y="848"/>
                  </a:lnTo>
                  <a:lnTo>
                    <a:pt x="11" y="827"/>
                  </a:lnTo>
                  <a:lnTo>
                    <a:pt x="3" y="801"/>
                  </a:lnTo>
                  <a:lnTo>
                    <a:pt x="0" y="774"/>
                  </a:lnTo>
                  <a:lnTo>
                    <a:pt x="1" y="678"/>
                  </a:lnTo>
                  <a:lnTo>
                    <a:pt x="4" y="651"/>
                  </a:lnTo>
                  <a:lnTo>
                    <a:pt x="13" y="627"/>
                  </a:lnTo>
                  <a:lnTo>
                    <a:pt x="26" y="604"/>
                  </a:lnTo>
                  <a:lnTo>
                    <a:pt x="43" y="585"/>
                  </a:lnTo>
                  <a:lnTo>
                    <a:pt x="64" y="570"/>
                  </a:lnTo>
                  <a:lnTo>
                    <a:pt x="88" y="559"/>
                  </a:lnTo>
                  <a:lnTo>
                    <a:pt x="115" y="554"/>
                  </a:lnTo>
                  <a:lnTo>
                    <a:pt x="160" y="548"/>
                  </a:lnTo>
                  <a:lnTo>
                    <a:pt x="177" y="498"/>
                  </a:lnTo>
                  <a:lnTo>
                    <a:pt x="200" y="449"/>
                  </a:lnTo>
                  <a:lnTo>
                    <a:pt x="173" y="413"/>
                  </a:lnTo>
                  <a:lnTo>
                    <a:pt x="158" y="390"/>
                  </a:lnTo>
                  <a:lnTo>
                    <a:pt x="150" y="365"/>
                  </a:lnTo>
                  <a:lnTo>
                    <a:pt x="145" y="340"/>
                  </a:lnTo>
                  <a:lnTo>
                    <a:pt x="148" y="313"/>
                  </a:lnTo>
                  <a:lnTo>
                    <a:pt x="154" y="288"/>
                  </a:lnTo>
                  <a:lnTo>
                    <a:pt x="167" y="265"/>
                  </a:lnTo>
                  <a:lnTo>
                    <a:pt x="183" y="245"/>
                  </a:lnTo>
                  <a:lnTo>
                    <a:pt x="253" y="177"/>
                  </a:lnTo>
                  <a:lnTo>
                    <a:pt x="272" y="162"/>
                  </a:lnTo>
                  <a:lnTo>
                    <a:pt x="293" y="150"/>
                  </a:lnTo>
                  <a:lnTo>
                    <a:pt x="316" y="143"/>
                  </a:lnTo>
                  <a:lnTo>
                    <a:pt x="341" y="141"/>
                  </a:lnTo>
                  <a:lnTo>
                    <a:pt x="362" y="142"/>
                  </a:lnTo>
                  <a:lnTo>
                    <a:pt x="384" y="147"/>
                  </a:lnTo>
                  <a:lnTo>
                    <a:pt x="403" y="157"/>
                  </a:lnTo>
                  <a:lnTo>
                    <a:pt x="421" y="169"/>
                  </a:lnTo>
                  <a:lnTo>
                    <a:pt x="451" y="194"/>
                  </a:lnTo>
                  <a:lnTo>
                    <a:pt x="505" y="169"/>
                  </a:lnTo>
                  <a:lnTo>
                    <a:pt x="561" y="150"/>
                  </a:lnTo>
                  <a:lnTo>
                    <a:pt x="566" y="111"/>
                  </a:lnTo>
                  <a:lnTo>
                    <a:pt x="572" y="85"/>
                  </a:lnTo>
                  <a:lnTo>
                    <a:pt x="583" y="61"/>
                  </a:lnTo>
                  <a:lnTo>
                    <a:pt x="599" y="42"/>
                  </a:lnTo>
                  <a:lnTo>
                    <a:pt x="618" y="24"/>
                  </a:lnTo>
                  <a:lnTo>
                    <a:pt x="640" y="11"/>
                  </a:lnTo>
                  <a:lnTo>
                    <a:pt x="664" y="3"/>
                  </a:lnTo>
                  <a:lnTo>
                    <a:pt x="6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1B9E076C-15D1-468B-90F5-F1A0EF6EF817}"/>
              </a:ext>
            </a:extLst>
          </p:cNvPr>
          <p:cNvGrpSpPr/>
          <p:nvPr/>
        </p:nvGrpSpPr>
        <p:grpSpPr>
          <a:xfrm>
            <a:off x="6792605" y="4266928"/>
            <a:ext cx="672797" cy="820675"/>
            <a:chOff x="4709342" y="3807234"/>
            <a:chExt cx="504598" cy="615506"/>
          </a:xfrm>
        </p:grpSpPr>
        <p:sp>
          <p:nvSpPr>
            <p:cNvPr id="41" name="Text Placeholder 3">
              <a:extLst>
                <a:ext uri="{FF2B5EF4-FFF2-40B4-BE49-F238E27FC236}">
                  <a16:creationId xmlns:a16="http://schemas.microsoft.com/office/drawing/2014/main" xmlns="" id="{1E9253F5-84BD-41BB-AF5E-114F519FA0EE}"/>
                </a:ext>
              </a:extLst>
            </p:cNvPr>
            <p:cNvSpPr txBox="1">
              <a:spLocks/>
            </p:cNvSpPr>
            <p:nvPr/>
          </p:nvSpPr>
          <p:spPr>
            <a:xfrm>
              <a:off x="4758638" y="3807234"/>
              <a:ext cx="455302" cy="61550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algn="l" rtl="0" fontAlgn="base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defRPr lang="en-US" sz="200" b="0" kern="1200" smtClean="0">
                  <a:solidFill>
                    <a:schemeClr val="bg1">
                      <a:lumMod val="7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389626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2pPr>
              <a:lvl3pPr marL="779252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3pPr>
              <a:lvl4pPr marL="1168878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4pPr>
              <a:lvl5pPr marL="1558503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5pPr>
              <a:lvl6pPr marL="1948129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6pPr>
              <a:lvl7pPr marL="2337755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7pPr>
              <a:lvl8pPr marL="2727381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8pPr>
              <a:lvl9pPr marL="3117007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9pPr>
            </a:lstStyle>
            <a:p>
              <a:r>
                <a:rPr lang="en-GB" sz="5333" dirty="0">
                  <a:solidFill>
                    <a:schemeClr val="accent5"/>
                  </a:solidFill>
                  <a:latin typeface="Arial Unicode MS"/>
                </a:rPr>
                <a:t>✓</a:t>
              </a:r>
              <a:r>
                <a:rPr lang="en-GB" sz="5333" dirty="0">
                  <a:solidFill>
                    <a:schemeClr val="accent5"/>
                  </a:solidFill>
                  <a:latin typeface="Arial Narrow" panose="020B0606020202030204" pitchFamily="34" charset="0"/>
                </a:rPr>
                <a:t> 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DB1E7956-1780-4564-B20A-482CD8861815}"/>
                </a:ext>
              </a:extLst>
            </p:cNvPr>
            <p:cNvSpPr/>
            <p:nvPr/>
          </p:nvSpPr>
          <p:spPr>
            <a:xfrm>
              <a:off x="4709342" y="4031079"/>
              <a:ext cx="360000" cy="360000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6000" tIns="96000" rIns="96000" bIns="96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</a:pPr>
              <a:endParaRPr lang="en-GB" sz="2000" b="0" dirty="0"/>
            </a:p>
          </p:txBody>
        </p:sp>
      </p:grpSp>
      <p:sp>
        <p:nvSpPr>
          <p:cNvPr id="45" name="RbNavigator">
            <a:extLst>
              <a:ext uri="{FF2B5EF4-FFF2-40B4-BE49-F238E27FC236}">
                <a16:creationId xmlns:a16="http://schemas.microsoft.com/office/drawing/2014/main" xmlns="" id="{3AD10A08-3B91-45A6-9F02-C97E66631249}"/>
              </a:ext>
            </a:extLst>
          </p:cNvPr>
          <p:cNvSpPr txBox="1"/>
          <p:nvPr/>
        </p:nvSpPr>
        <p:spPr>
          <a:xfrm>
            <a:off x="2820927" y="1"/>
            <a:ext cx="288000" cy="288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+mn-lt"/>
                <a:sym typeface="+mn-lt"/>
              </a:rPr>
              <a:t>2</a:t>
            </a:r>
          </a:p>
        </p:txBody>
      </p:sp>
      <p:sp>
        <p:nvSpPr>
          <p:cNvPr id="46" name="RbSticker">
            <a:extLst>
              <a:ext uri="{FF2B5EF4-FFF2-40B4-BE49-F238E27FC236}">
                <a16:creationId xmlns:a16="http://schemas.microsoft.com/office/drawing/2014/main" xmlns="" id="{912637B8-F480-445A-A0A0-4F986489340C}"/>
              </a:ext>
            </a:extLst>
          </p:cNvPr>
          <p:cNvSpPr txBox="1"/>
          <p:nvPr/>
        </p:nvSpPr>
        <p:spPr>
          <a:xfrm>
            <a:off x="3188804" y="53111"/>
            <a:ext cx="1056379" cy="23544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strategia</a:t>
            </a:r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43" name="rbStamp_Illustrative">
            <a:extLst>
              <a:ext uri="{FF2B5EF4-FFF2-40B4-BE49-F238E27FC236}">
                <a16:creationId xmlns:a16="http://schemas.microsoft.com/office/drawing/2014/main" xmlns="" id="{33C2F49D-4E37-4C5A-BC47-6B49E48C9DEF}"/>
              </a:ext>
            </a:extLst>
          </p:cNvPr>
          <p:cNvSpPr txBox="1"/>
          <p:nvPr/>
        </p:nvSpPr>
        <p:spPr>
          <a:xfrm>
            <a:off x="9346437" y="1180227"/>
            <a:ext cx="2793204" cy="526274"/>
          </a:xfrm>
          <a:prstGeom prst="rect">
            <a:avLst/>
          </a:prstGeom>
          <a:noFill/>
          <a:ln w="15875" cmpd="sng">
            <a:solidFill>
              <a:schemeClr val="accent5"/>
            </a:solidFill>
          </a:ln>
        </p:spPr>
        <p:txBody>
          <a:bodyPr vert="horz" wrap="square" lIns="96000" tIns="96000" rIns="96000" bIns="96000" rtlCol="0" anchor="ctr">
            <a:sp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200" dirty="0">
                <a:solidFill>
                  <a:schemeClr val="accent5"/>
                </a:solidFill>
                <a:latin typeface="+mn-lt"/>
                <a:sym typeface="+mn-lt"/>
              </a:rPr>
              <a:t>Otros detalles se comunicarán en el transcurso del proyecto</a:t>
            </a:r>
            <a:endParaRPr lang="en-GB" sz="1200" dirty="0">
              <a:solidFill>
                <a:schemeClr val="accent5"/>
              </a:solidFill>
              <a:latin typeface="+mn-lt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0359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xmlns="" id="{EB2886F9-DD5D-4539-A3DF-196A61CF7B2A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5262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_tradnl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l paso 3 tiene como objetivo desarrollar una hoja de ruta para la implementación, con lo que se delinean las prioridades, la gobernanza y la financiación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A8B9D028-9077-4C01-87EA-1EA8955E94F9}"/>
              </a:ext>
            </a:extLst>
          </p:cNvPr>
          <p:cNvGrpSpPr/>
          <p:nvPr/>
        </p:nvGrpSpPr>
        <p:grpSpPr>
          <a:xfrm>
            <a:off x="7435307" y="3376502"/>
            <a:ext cx="4395550" cy="500138"/>
            <a:chOff x="7435307" y="3170465"/>
            <a:chExt cx="4395550" cy="500138"/>
          </a:xfrm>
        </p:grpSpPr>
        <p:sp>
          <p:nvSpPr>
            <p:cNvPr id="9" name="Textframe 23">
              <a:extLst>
                <a:ext uri="{FF2B5EF4-FFF2-40B4-BE49-F238E27FC236}">
                  <a16:creationId xmlns:a16="http://schemas.microsoft.com/office/drawing/2014/main" xmlns="" id="{5537C3F2-147F-4FF7-9C0E-55BB0AAB33A7}"/>
                </a:ext>
              </a:extLst>
            </p:cNvPr>
            <p:cNvSpPr txBox="1"/>
            <p:nvPr/>
          </p:nvSpPr>
          <p:spPr>
            <a:xfrm>
              <a:off x="7786869" y="3170466"/>
              <a:ext cx="4043988" cy="50013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n-GB" sz="150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Ideaci</a:t>
              </a:r>
              <a:r>
                <a:rPr lang="en-GB" sz="150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ón</a:t>
              </a:r>
              <a:r>
                <a:rPr lang="en-GB" sz="15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 y </a:t>
              </a:r>
              <a:r>
                <a:rPr lang="en-GB" sz="150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formulaci</a:t>
              </a:r>
              <a:r>
                <a:rPr lang="en-GB" sz="150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ón</a:t>
              </a:r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marL="201784" lvl="1" indent="-201784" defTabSz="1269968">
                <a:spcBef>
                  <a:spcPts val="267"/>
                </a:spcBef>
                <a:buSzPct val="100000"/>
                <a:buFont typeface="Arial"/>
                <a:buChar char="•"/>
                <a:defRPr/>
              </a:pPr>
              <a:r>
                <a:rPr lang="en-GB" sz="1500" b="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Seminario</a:t>
              </a:r>
              <a:r>
                <a:rPr lang="en-GB" sz="1500" b="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 de la </a:t>
              </a:r>
              <a:r>
                <a:rPr lang="en-GB" sz="1500" b="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Hoja</a:t>
              </a:r>
              <a:r>
                <a:rPr lang="en-GB" sz="1500" b="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sz="1500" b="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Ruta</a:t>
              </a: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" name="RbNavigator">
              <a:extLst>
                <a:ext uri="{FF2B5EF4-FFF2-40B4-BE49-F238E27FC236}">
                  <a16:creationId xmlns:a16="http://schemas.microsoft.com/office/drawing/2014/main" xmlns="" id="{ABAE6239-710F-4AB3-897D-96E6D73E2DB8}"/>
                </a:ext>
              </a:extLst>
            </p:cNvPr>
            <p:cNvSpPr txBox="1"/>
            <p:nvPr/>
          </p:nvSpPr>
          <p:spPr>
            <a:xfrm>
              <a:off x="7435307" y="3170465"/>
              <a:ext cx="269227" cy="2692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B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21E39C44-4D8D-4EC3-A80D-49D8C847EEA6}"/>
              </a:ext>
            </a:extLst>
          </p:cNvPr>
          <p:cNvGrpSpPr/>
          <p:nvPr/>
        </p:nvGrpSpPr>
        <p:grpSpPr>
          <a:xfrm>
            <a:off x="7435307" y="3996994"/>
            <a:ext cx="4944276" cy="500137"/>
            <a:chOff x="7435307" y="3997701"/>
            <a:chExt cx="4944276" cy="500137"/>
          </a:xfrm>
        </p:grpSpPr>
        <p:sp>
          <p:nvSpPr>
            <p:cNvPr id="11" name="Textframe 23">
              <a:extLst>
                <a:ext uri="{FF2B5EF4-FFF2-40B4-BE49-F238E27FC236}">
                  <a16:creationId xmlns:a16="http://schemas.microsoft.com/office/drawing/2014/main" xmlns="" id="{7DE98784-989A-460F-87FA-5C0985C1574C}"/>
                </a:ext>
              </a:extLst>
            </p:cNvPr>
            <p:cNvSpPr txBox="1"/>
            <p:nvPr/>
          </p:nvSpPr>
          <p:spPr>
            <a:xfrm>
              <a:off x="7786868" y="3997701"/>
              <a:ext cx="4592715" cy="50013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n-GB" sz="150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Validaci</a:t>
              </a:r>
              <a:r>
                <a:rPr lang="en-GB" sz="150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ón</a:t>
              </a:r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marL="201784" lvl="1" indent="-201784" defTabSz="1269968">
                <a:spcBef>
                  <a:spcPts val="267"/>
                </a:spcBef>
                <a:buSzPct val="100000"/>
                <a:buFont typeface="Arial"/>
                <a:buChar char="•"/>
                <a:defRPr/>
              </a:pPr>
              <a:r>
                <a:rPr lang="en-GB" sz="1500" b="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Seminario</a:t>
              </a:r>
              <a:r>
                <a:rPr lang="en-GB" sz="1500" b="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sz="1500" b="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Hoja</a:t>
              </a:r>
              <a:r>
                <a:rPr lang="en-GB" sz="1500" b="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sz="1500" b="0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Ruta</a:t>
              </a:r>
              <a:endParaRPr lang="en-GB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" name="RbNavigator">
              <a:extLst>
                <a:ext uri="{FF2B5EF4-FFF2-40B4-BE49-F238E27FC236}">
                  <a16:creationId xmlns:a16="http://schemas.microsoft.com/office/drawing/2014/main" xmlns="" id="{0E7EC5DF-DD66-452B-B877-4D5DDA89DF08}"/>
                </a:ext>
              </a:extLst>
            </p:cNvPr>
            <p:cNvSpPr txBox="1"/>
            <p:nvPr/>
          </p:nvSpPr>
          <p:spPr>
            <a:xfrm>
              <a:off x="7435307" y="3997701"/>
              <a:ext cx="269227" cy="2692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5FCDEC4-E185-4ACC-A53D-B84C1E26FFC6}"/>
              </a:ext>
            </a:extLst>
          </p:cNvPr>
          <p:cNvSpPr/>
          <p:nvPr/>
        </p:nvSpPr>
        <p:spPr>
          <a:xfrm>
            <a:off x="2820927" y="1544731"/>
            <a:ext cx="3642196" cy="399546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endParaRPr lang="en-GB" sz="1500" b="0" dirty="0">
              <a:highlight>
                <a:srgbClr val="CEEAB0"/>
              </a:highlight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ListLeanHorizontalTextTopic1">
            <a:extLst>
              <a:ext uri="{FF2B5EF4-FFF2-40B4-BE49-F238E27FC236}">
                <a16:creationId xmlns:a16="http://schemas.microsoft.com/office/drawing/2014/main" xmlns="" id="{E1514C44-CF39-4EB3-903E-3135FD89E26E}"/>
              </a:ext>
            </a:extLst>
          </p:cNvPr>
          <p:cNvSpPr txBox="1">
            <a:spLocks/>
          </p:cNvSpPr>
          <p:nvPr/>
        </p:nvSpPr>
        <p:spPr bwMode="auto">
          <a:xfrm>
            <a:off x="7540083" y="1771238"/>
            <a:ext cx="4704333" cy="268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smtClean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ma de </a:t>
            </a:r>
            <a:r>
              <a:rPr lang="en-GB" altLang="en-US" sz="1900" b="0" dirty="0" err="1" smtClean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bajo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E92F0E87-184B-4B90-B5D1-2C174E93138C}"/>
              </a:ext>
            </a:extLst>
          </p:cNvPr>
          <p:cNvGrpSpPr/>
          <p:nvPr/>
        </p:nvGrpSpPr>
        <p:grpSpPr>
          <a:xfrm>
            <a:off x="7435307" y="2255874"/>
            <a:ext cx="4185193" cy="961802"/>
            <a:chOff x="7435307" y="2255874"/>
            <a:chExt cx="4185193" cy="961802"/>
          </a:xfrm>
        </p:grpSpPr>
        <p:sp>
          <p:nvSpPr>
            <p:cNvPr id="7" name="Textframe 23">
              <a:extLst>
                <a:ext uri="{FF2B5EF4-FFF2-40B4-BE49-F238E27FC236}">
                  <a16:creationId xmlns:a16="http://schemas.microsoft.com/office/drawing/2014/main" xmlns="" id="{41780C8F-8CC0-44F2-B369-76EADD333AE2}"/>
                </a:ext>
              </a:extLst>
            </p:cNvPr>
            <p:cNvSpPr txBox="1"/>
            <p:nvPr/>
          </p:nvSpPr>
          <p:spPr>
            <a:xfrm>
              <a:off x="7786868" y="2255874"/>
              <a:ext cx="3833632" cy="96180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_tradnl" sz="15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Recopilación </a:t>
              </a:r>
              <a:r>
                <a:rPr lang="es-ES_tradnl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de datos</a:t>
              </a:r>
            </a:p>
            <a:p>
              <a:pPr defTabSz="1269968">
                <a:spcBef>
                  <a:spcPts val="267"/>
                </a:spcBef>
                <a:buSzPct val="100000"/>
                <a:defRPr/>
              </a:pPr>
              <a:r>
                <a:rPr lang="es-ES_tradnl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• Cuestionario del método Delphi </a:t>
              </a:r>
              <a:r>
                <a:rPr lang="es-ES_tradnl" sz="15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para la identificación de prioridades de inversión o taller (es) de prioridad de inversión</a:t>
              </a:r>
              <a:endParaRPr lang="en-US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" name="RbNavigator">
              <a:extLst>
                <a:ext uri="{FF2B5EF4-FFF2-40B4-BE49-F238E27FC236}">
                  <a16:creationId xmlns:a16="http://schemas.microsoft.com/office/drawing/2014/main" xmlns="" id="{220BD153-C23A-4EB3-8908-E1B9217A513E}"/>
                </a:ext>
              </a:extLst>
            </p:cNvPr>
            <p:cNvSpPr txBox="1"/>
            <p:nvPr/>
          </p:nvSpPr>
          <p:spPr>
            <a:xfrm>
              <a:off x="7435307" y="2255874"/>
              <a:ext cx="269227" cy="269227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SzPct val="100000"/>
              </a:pPr>
              <a:r>
                <a:rPr kumimoji="1" lang="en-GB" sz="1500" b="0" dirty="0">
                  <a:solidFill>
                    <a:schemeClr val="accent3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</a:t>
              </a:r>
            </a:p>
          </p:txBody>
        </p:sp>
      </p:grpSp>
      <p:sp>
        <p:nvSpPr>
          <p:cNvPr id="13" name="ListLeanHorizontalTextTopic1">
            <a:extLst>
              <a:ext uri="{FF2B5EF4-FFF2-40B4-BE49-F238E27FC236}">
                <a16:creationId xmlns:a16="http://schemas.microsoft.com/office/drawing/2014/main" xmlns="" id="{7F0596CC-B5F6-46A4-87B5-E4D13CF1526B}"/>
              </a:ext>
            </a:extLst>
          </p:cNvPr>
          <p:cNvSpPr txBox="1">
            <a:spLocks/>
          </p:cNvSpPr>
          <p:nvPr/>
        </p:nvSpPr>
        <p:spPr bwMode="auto">
          <a:xfrm>
            <a:off x="7540083" y="4732905"/>
            <a:ext cx="4704333" cy="268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 smtClean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trega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Textframe 23">
            <a:extLst>
              <a:ext uri="{FF2B5EF4-FFF2-40B4-BE49-F238E27FC236}">
                <a16:creationId xmlns:a16="http://schemas.microsoft.com/office/drawing/2014/main" xmlns="" id="{6D7AAF0D-8DC9-425A-8265-53B6768AA5D4}"/>
              </a:ext>
            </a:extLst>
          </p:cNvPr>
          <p:cNvSpPr txBox="1">
            <a:spLocks/>
          </p:cNvSpPr>
          <p:nvPr/>
        </p:nvSpPr>
        <p:spPr>
          <a:xfrm>
            <a:off x="7435308" y="5118209"/>
            <a:ext cx="4704333" cy="230832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marL="201784" lvl="1" indent="-201784" defTabSz="1269968">
              <a:spcBef>
                <a:spcPts val="267"/>
              </a:spcBef>
              <a:buSzPct val="100000"/>
              <a:buFont typeface="Arial"/>
              <a:buChar char="•"/>
              <a:defRPr/>
            </a:pPr>
            <a:r>
              <a:rPr lang="en-GB" sz="15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Hoja</a:t>
            </a:r>
            <a:r>
              <a:rPr lang="en-GB" sz="15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de </a:t>
            </a:r>
            <a:r>
              <a:rPr lang="en-GB" sz="15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Ruta</a:t>
            </a:r>
            <a:endParaRPr lang="en-GB" sz="15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RBContent15">
            <a:extLst>
              <a:ext uri="{FF2B5EF4-FFF2-40B4-BE49-F238E27FC236}">
                <a16:creationId xmlns:a16="http://schemas.microsoft.com/office/drawing/2014/main" xmlns="" id="{D3042F9E-0107-4FCC-BE15-02FB89E89A57}"/>
              </a:ext>
            </a:extLst>
          </p:cNvPr>
          <p:cNvSpPr txBox="1">
            <a:spLocks/>
          </p:cNvSpPr>
          <p:nvPr/>
        </p:nvSpPr>
        <p:spPr>
          <a:xfrm>
            <a:off x="2917883" y="2255874"/>
            <a:ext cx="3648017" cy="307776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67889" lvl="1" indent="-167889">
              <a:spcBef>
                <a:spcPts val="8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_tradnl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• Desarrollar una </a:t>
            </a:r>
            <a:r>
              <a:rPr lang="es-ES_tradnl" sz="1500" dirty="0">
                <a:latin typeface="Helvetica" panose="020B0604020202020204" pitchFamily="34" charset="0"/>
                <a:cs typeface="Helvetica" panose="020B0604020202020204" pitchFamily="34" charset="0"/>
              </a:rPr>
              <a:t>hoja de ruta </a:t>
            </a:r>
            <a:r>
              <a:rPr lang="es-ES_tradnl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detallada para la implementación del documento de estrategia adoptado en la fase previa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_tradnl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• Definir una </a:t>
            </a:r>
            <a:r>
              <a:rPr lang="es-ES_tradnl" sz="1500" dirty="0">
                <a:latin typeface="Helvetica" panose="020B0604020202020204" pitchFamily="34" charset="0"/>
                <a:cs typeface="Helvetica" panose="020B0604020202020204" pitchFamily="34" charset="0"/>
              </a:rPr>
              <a:t>lista de proyectos prioritarios</a:t>
            </a:r>
            <a:r>
              <a:rPr lang="es-ES_tradnl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 bajo cada uno de los objetivos específicos definidos en la lógica de intervención de estrategia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_tradnl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• Definir </a:t>
            </a:r>
            <a:r>
              <a:rPr lang="es-ES_tradnl" sz="1500" dirty="0">
                <a:latin typeface="Helvetica" panose="020B0604020202020204" pitchFamily="34" charset="0"/>
                <a:cs typeface="Helvetica" panose="020B0604020202020204" pitchFamily="34" charset="0"/>
              </a:rPr>
              <a:t>la gobernanza </a:t>
            </a:r>
            <a:r>
              <a:rPr lang="es-ES_tradnl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y la dirección estratégica de la estrategia</a:t>
            </a:r>
          </a:p>
          <a:p>
            <a:pPr marL="167889" lvl="1" indent="-167889">
              <a:spcBef>
                <a:spcPts val="8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_tradnl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• Identificar </a:t>
            </a:r>
            <a:r>
              <a:rPr lang="es-ES_tradnl" sz="1500" dirty="0">
                <a:latin typeface="Helvetica" panose="020B0604020202020204" pitchFamily="34" charset="0"/>
                <a:cs typeface="Helvetica" panose="020B0604020202020204" pitchFamily="34" charset="0"/>
              </a:rPr>
              <a:t>potenciales flujos de </a:t>
            </a:r>
            <a:r>
              <a:rPr lang="es-ES_tradnl" sz="15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financinancaci</a:t>
            </a:r>
            <a:r>
              <a:rPr lang="es-ES_tradnl" sz="1500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ón</a:t>
            </a:r>
            <a:r>
              <a:rPr lang="es-ES_tradnl" sz="1500" b="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s-ES_tradnl" sz="1500" b="0" dirty="0">
                <a:latin typeface="Helvetica" panose="020B0604020202020204" pitchFamily="34" charset="0"/>
                <a:cs typeface="Helvetica" panose="020B0604020202020204" pitchFamily="34" charset="0"/>
              </a:rPr>
              <a:t>para la implementación de proyectos prioritarios</a:t>
            </a:r>
            <a:endParaRPr lang="en-GB" sz="15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AFD6643C-5ED3-4AC4-96A1-13DBD3EA85CB}"/>
              </a:ext>
            </a:extLst>
          </p:cNvPr>
          <p:cNvCxnSpPr>
            <a:cxnSpLocks/>
          </p:cNvCxnSpPr>
          <p:nvPr/>
        </p:nvCxnSpPr>
        <p:spPr>
          <a:xfrm>
            <a:off x="4762500" y="1905248"/>
            <a:ext cx="1980959" cy="0"/>
          </a:xfrm>
          <a:prstGeom prst="line">
            <a:avLst/>
          </a:prstGeom>
          <a:ln w="28575" cmpd="sng">
            <a:solidFill>
              <a:schemeClr val="accent3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A2EF059C-65B5-4E13-A8B7-E6BD9707F6E1}"/>
              </a:ext>
            </a:extLst>
          </p:cNvPr>
          <p:cNvGrpSpPr>
            <a:grpSpLocks noChangeAspect="1"/>
          </p:cNvGrpSpPr>
          <p:nvPr/>
        </p:nvGrpSpPr>
        <p:grpSpPr>
          <a:xfrm>
            <a:off x="2942204" y="1648237"/>
            <a:ext cx="732116" cy="505625"/>
            <a:chOff x="1720851" y="1301751"/>
            <a:chExt cx="3576638" cy="2470150"/>
          </a:xfrm>
          <a:solidFill>
            <a:schemeClr val="accent5"/>
          </a:solidFill>
        </p:grpSpPr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xmlns="" id="{38B7FB9D-D7BA-4C60-A632-FD5863EB4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3088" y="1301751"/>
              <a:ext cx="2389188" cy="2395538"/>
            </a:xfrm>
            <a:custGeom>
              <a:avLst/>
              <a:gdLst>
                <a:gd name="T0" fmla="*/ 1992 w 2074"/>
                <a:gd name="T1" fmla="*/ 1162 h 2080"/>
                <a:gd name="T2" fmla="*/ 1040 w 2074"/>
                <a:gd name="T3" fmla="*/ 2000 h 2080"/>
                <a:gd name="T4" fmla="*/ 80 w 2074"/>
                <a:gd name="T5" fmla="*/ 1040 h 2080"/>
                <a:gd name="T6" fmla="*/ 1040 w 2074"/>
                <a:gd name="T7" fmla="*/ 80 h 2080"/>
                <a:gd name="T8" fmla="*/ 1993 w 2074"/>
                <a:gd name="T9" fmla="*/ 925 h 2080"/>
                <a:gd name="T10" fmla="*/ 2074 w 2074"/>
                <a:gd name="T11" fmla="*/ 925 h 2080"/>
                <a:gd name="T12" fmla="*/ 1040 w 2074"/>
                <a:gd name="T13" fmla="*/ 0 h 2080"/>
                <a:gd name="T14" fmla="*/ 0 w 2074"/>
                <a:gd name="T15" fmla="*/ 1040 h 2080"/>
                <a:gd name="T16" fmla="*/ 1040 w 2074"/>
                <a:gd name="T17" fmla="*/ 2080 h 2080"/>
                <a:gd name="T18" fmla="*/ 2073 w 2074"/>
                <a:gd name="T19" fmla="*/ 1162 h 2080"/>
                <a:gd name="T20" fmla="*/ 1992 w 2074"/>
                <a:gd name="T21" fmla="*/ 1162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74" h="2080">
                  <a:moveTo>
                    <a:pt x="1992" y="1162"/>
                  </a:moveTo>
                  <a:cubicBezTo>
                    <a:pt x="1933" y="1635"/>
                    <a:pt x="1529" y="2000"/>
                    <a:pt x="1040" y="2000"/>
                  </a:cubicBezTo>
                  <a:cubicBezTo>
                    <a:pt x="510" y="2000"/>
                    <a:pt x="80" y="1571"/>
                    <a:pt x="80" y="1040"/>
                  </a:cubicBezTo>
                  <a:cubicBezTo>
                    <a:pt x="80" y="510"/>
                    <a:pt x="510" y="80"/>
                    <a:pt x="1040" y="80"/>
                  </a:cubicBezTo>
                  <a:cubicBezTo>
                    <a:pt x="1531" y="80"/>
                    <a:pt x="1936" y="449"/>
                    <a:pt x="1993" y="925"/>
                  </a:cubicBezTo>
                  <a:cubicBezTo>
                    <a:pt x="2074" y="925"/>
                    <a:pt x="2074" y="925"/>
                    <a:pt x="2074" y="925"/>
                  </a:cubicBezTo>
                  <a:cubicBezTo>
                    <a:pt x="2016" y="405"/>
                    <a:pt x="1575" y="0"/>
                    <a:pt x="1040" y="0"/>
                  </a:cubicBezTo>
                  <a:cubicBezTo>
                    <a:pt x="466" y="0"/>
                    <a:pt x="0" y="466"/>
                    <a:pt x="0" y="1040"/>
                  </a:cubicBezTo>
                  <a:cubicBezTo>
                    <a:pt x="0" y="1615"/>
                    <a:pt x="466" y="2080"/>
                    <a:pt x="1040" y="2080"/>
                  </a:cubicBezTo>
                  <a:cubicBezTo>
                    <a:pt x="1573" y="2080"/>
                    <a:pt x="2013" y="1679"/>
                    <a:pt x="2073" y="1162"/>
                  </a:cubicBezTo>
                  <a:lnTo>
                    <a:pt x="1992" y="1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xmlns="" id="{1B8AFA3D-66A5-4FC8-B43F-38FD8918D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2225676"/>
              <a:ext cx="514350" cy="547688"/>
            </a:xfrm>
            <a:custGeom>
              <a:avLst/>
              <a:gdLst>
                <a:gd name="T0" fmla="*/ 238 w 446"/>
                <a:gd name="T1" fmla="*/ 80 h 475"/>
                <a:gd name="T2" fmla="*/ 346 w 446"/>
                <a:gd name="T3" fmla="*/ 122 h 475"/>
                <a:gd name="T4" fmla="*/ 446 w 446"/>
                <a:gd name="T5" fmla="*/ 122 h 475"/>
                <a:gd name="T6" fmla="*/ 238 w 446"/>
                <a:gd name="T7" fmla="*/ 0 h 475"/>
                <a:gd name="T8" fmla="*/ 0 w 446"/>
                <a:gd name="T9" fmla="*/ 237 h 475"/>
                <a:gd name="T10" fmla="*/ 238 w 446"/>
                <a:gd name="T11" fmla="*/ 475 h 475"/>
                <a:gd name="T12" fmla="*/ 443 w 446"/>
                <a:gd name="T13" fmla="*/ 359 h 475"/>
                <a:gd name="T14" fmla="*/ 339 w 446"/>
                <a:gd name="T15" fmla="*/ 359 h 475"/>
                <a:gd name="T16" fmla="*/ 238 w 446"/>
                <a:gd name="T17" fmla="*/ 395 h 475"/>
                <a:gd name="T18" fmla="*/ 80 w 446"/>
                <a:gd name="T19" fmla="*/ 237 h 475"/>
                <a:gd name="T20" fmla="*/ 238 w 446"/>
                <a:gd name="T21" fmla="*/ 8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6" h="475">
                  <a:moveTo>
                    <a:pt x="238" y="80"/>
                  </a:moveTo>
                  <a:cubicBezTo>
                    <a:pt x="280" y="80"/>
                    <a:pt x="318" y="96"/>
                    <a:pt x="346" y="122"/>
                  </a:cubicBezTo>
                  <a:cubicBezTo>
                    <a:pt x="446" y="122"/>
                    <a:pt x="446" y="122"/>
                    <a:pt x="446" y="122"/>
                  </a:cubicBezTo>
                  <a:cubicBezTo>
                    <a:pt x="406" y="49"/>
                    <a:pt x="328" y="0"/>
                    <a:pt x="238" y="0"/>
                  </a:cubicBezTo>
                  <a:cubicBezTo>
                    <a:pt x="107" y="0"/>
                    <a:pt x="0" y="106"/>
                    <a:pt x="0" y="237"/>
                  </a:cubicBezTo>
                  <a:cubicBezTo>
                    <a:pt x="0" y="369"/>
                    <a:pt x="107" y="475"/>
                    <a:pt x="238" y="475"/>
                  </a:cubicBezTo>
                  <a:cubicBezTo>
                    <a:pt x="325" y="475"/>
                    <a:pt x="401" y="428"/>
                    <a:pt x="443" y="359"/>
                  </a:cubicBezTo>
                  <a:cubicBezTo>
                    <a:pt x="339" y="359"/>
                    <a:pt x="339" y="359"/>
                    <a:pt x="339" y="359"/>
                  </a:cubicBezTo>
                  <a:cubicBezTo>
                    <a:pt x="312" y="381"/>
                    <a:pt x="277" y="395"/>
                    <a:pt x="238" y="395"/>
                  </a:cubicBezTo>
                  <a:cubicBezTo>
                    <a:pt x="151" y="395"/>
                    <a:pt x="80" y="325"/>
                    <a:pt x="80" y="237"/>
                  </a:cubicBezTo>
                  <a:cubicBezTo>
                    <a:pt x="80" y="150"/>
                    <a:pt x="151" y="80"/>
                    <a:pt x="238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xmlns="" id="{A0FB8A26-862C-45DA-BB7E-E5B6A0940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8226" y="1765301"/>
              <a:ext cx="1458913" cy="1468438"/>
            </a:xfrm>
            <a:custGeom>
              <a:avLst/>
              <a:gdLst>
                <a:gd name="T0" fmla="*/ 1184 w 1266"/>
                <a:gd name="T1" fmla="*/ 522 h 1275"/>
                <a:gd name="T2" fmla="*/ 1266 w 1266"/>
                <a:gd name="T3" fmla="*/ 522 h 1275"/>
                <a:gd name="T4" fmla="*/ 638 w 1266"/>
                <a:gd name="T5" fmla="*/ 0 h 1275"/>
                <a:gd name="T6" fmla="*/ 0 w 1266"/>
                <a:gd name="T7" fmla="*/ 637 h 1275"/>
                <a:gd name="T8" fmla="*/ 638 w 1266"/>
                <a:gd name="T9" fmla="*/ 1275 h 1275"/>
                <a:gd name="T10" fmla="*/ 1264 w 1266"/>
                <a:gd name="T11" fmla="*/ 759 h 1275"/>
                <a:gd name="T12" fmla="*/ 1183 w 1266"/>
                <a:gd name="T13" fmla="*/ 759 h 1275"/>
                <a:gd name="T14" fmla="*/ 638 w 1266"/>
                <a:gd name="T15" fmla="*/ 1195 h 1275"/>
                <a:gd name="T16" fmla="*/ 80 w 1266"/>
                <a:gd name="T17" fmla="*/ 637 h 1275"/>
                <a:gd name="T18" fmla="*/ 638 w 1266"/>
                <a:gd name="T19" fmla="*/ 80 h 1275"/>
                <a:gd name="T20" fmla="*/ 1184 w 1266"/>
                <a:gd name="T21" fmla="*/ 522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6" h="1275">
                  <a:moveTo>
                    <a:pt x="1184" y="522"/>
                  </a:moveTo>
                  <a:cubicBezTo>
                    <a:pt x="1266" y="522"/>
                    <a:pt x="1266" y="522"/>
                    <a:pt x="1266" y="522"/>
                  </a:cubicBezTo>
                  <a:cubicBezTo>
                    <a:pt x="1211" y="225"/>
                    <a:pt x="951" y="0"/>
                    <a:pt x="638" y="0"/>
                  </a:cubicBezTo>
                  <a:cubicBezTo>
                    <a:pt x="286" y="0"/>
                    <a:pt x="0" y="285"/>
                    <a:pt x="0" y="637"/>
                  </a:cubicBezTo>
                  <a:cubicBezTo>
                    <a:pt x="0" y="990"/>
                    <a:pt x="286" y="1275"/>
                    <a:pt x="638" y="1275"/>
                  </a:cubicBezTo>
                  <a:cubicBezTo>
                    <a:pt x="949" y="1275"/>
                    <a:pt x="1208" y="1053"/>
                    <a:pt x="1264" y="759"/>
                  </a:cubicBezTo>
                  <a:cubicBezTo>
                    <a:pt x="1183" y="759"/>
                    <a:pt x="1183" y="759"/>
                    <a:pt x="1183" y="759"/>
                  </a:cubicBezTo>
                  <a:cubicBezTo>
                    <a:pt x="1127" y="1008"/>
                    <a:pt x="905" y="1195"/>
                    <a:pt x="638" y="1195"/>
                  </a:cubicBezTo>
                  <a:cubicBezTo>
                    <a:pt x="330" y="1195"/>
                    <a:pt x="80" y="945"/>
                    <a:pt x="80" y="637"/>
                  </a:cubicBezTo>
                  <a:cubicBezTo>
                    <a:pt x="80" y="329"/>
                    <a:pt x="330" y="80"/>
                    <a:pt x="638" y="80"/>
                  </a:cubicBezTo>
                  <a:cubicBezTo>
                    <a:pt x="907" y="80"/>
                    <a:pt x="1131" y="269"/>
                    <a:pt x="1184" y="5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xmlns="" id="{475A5465-BAB3-4E3B-9A7C-3210569DD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351" y="2109788"/>
              <a:ext cx="2243138" cy="785813"/>
            </a:xfrm>
            <a:custGeom>
              <a:avLst/>
              <a:gdLst>
                <a:gd name="T0" fmla="*/ 1209 w 1413"/>
                <a:gd name="T1" fmla="*/ 245 h 495"/>
                <a:gd name="T2" fmla="*/ 1413 w 1413"/>
                <a:gd name="T3" fmla="*/ 41 h 495"/>
                <a:gd name="T4" fmla="*/ 1372 w 1413"/>
                <a:gd name="T5" fmla="*/ 0 h 495"/>
                <a:gd name="T6" fmla="*/ 1155 w 1413"/>
                <a:gd name="T7" fmla="*/ 218 h 495"/>
                <a:gd name="T8" fmla="*/ 967 w 1413"/>
                <a:gd name="T9" fmla="*/ 218 h 495"/>
                <a:gd name="T10" fmla="*/ 1143 w 1413"/>
                <a:gd name="T11" fmla="*/ 41 h 495"/>
                <a:gd name="T12" fmla="*/ 1103 w 1413"/>
                <a:gd name="T13" fmla="*/ 0 h 495"/>
                <a:gd name="T14" fmla="*/ 885 w 1413"/>
                <a:gd name="T15" fmla="*/ 218 h 495"/>
                <a:gd name="T16" fmla="*/ 0 w 1413"/>
                <a:gd name="T17" fmla="*/ 218 h 495"/>
                <a:gd name="T18" fmla="*/ 0 w 1413"/>
                <a:gd name="T19" fmla="*/ 276 h 495"/>
                <a:gd name="T20" fmla="*/ 883 w 1413"/>
                <a:gd name="T21" fmla="*/ 276 h 495"/>
                <a:gd name="T22" fmla="*/ 1103 w 1413"/>
                <a:gd name="T23" fmla="*/ 495 h 495"/>
                <a:gd name="T24" fmla="*/ 1143 w 1413"/>
                <a:gd name="T25" fmla="*/ 454 h 495"/>
                <a:gd name="T26" fmla="*/ 965 w 1413"/>
                <a:gd name="T27" fmla="*/ 276 h 495"/>
                <a:gd name="T28" fmla="*/ 1153 w 1413"/>
                <a:gd name="T29" fmla="*/ 276 h 495"/>
                <a:gd name="T30" fmla="*/ 1372 w 1413"/>
                <a:gd name="T31" fmla="*/ 495 h 495"/>
                <a:gd name="T32" fmla="*/ 1413 w 1413"/>
                <a:gd name="T33" fmla="*/ 454 h 495"/>
                <a:gd name="T34" fmla="*/ 1209 w 1413"/>
                <a:gd name="T35" fmla="*/ 250 h 495"/>
                <a:gd name="T36" fmla="*/ 1209 w 1413"/>
                <a:gd name="T37" fmla="*/ 24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13" h="495">
                  <a:moveTo>
                    <a:pt x="1209" y="245"/>
                  </a:moveTo>
                  <a:lnTo>
                    <a:pt x="1413" y="41"/>
                  </a:lnTo>
                  <a:lnTo>
                    <a:pt x="1372" y="0"/>
                  </a:lnTo>
                  <a:lnTo>
                    <a:pt x="1155" y="218"/>
                  </a:lnTo>
                  <a:lnTo>
                    <a:pt x="967" y="218"/>
                  </a:lnTo>
                  <a:lnTo>
                    <a:pt x="1143" y="41"/>
                  </a:lnTo>
                  <a:lnTo>
                    <a:pt x="1103" y="0"/>
                  </a:lnTo>
                  <a:lnTo>
                    <a:pt x="885" y="218"/>
                  </a:lnTo>
                  <a:lnTo>
                    <a:pt x="0" y="218"/>
                  </a:lnTo>
                  <a:lnTo>
                    <a:pt x="0" y="276"/>
                  </a:lnTo>
                  <a:lnTo>
                    <a:pt x="883" y="276"/>
                  </a:lnTo>
                  <a:lnTo>
                    <a:pt x="1103" y="495"/>
                  </a:lnTo>
                  <a:lnTo>
                    <a:pt x="1143" y="454"/>
                  </a:lnTo>
                  <a:lnTo>
                    <a:pt x="965" y="276"/>
                  </a:lnTo>
                  <a:lnTo>
                    <a:pt x="1153" y="276"/>
                  </a:lnTo>
                  <a:lnTo>
                    <a:pt x="1372" y="495"/>
                  </a:lnTo>
                  <a:lnTo>
                    <a:pt x="1413" y="454"/>
                  </a:lnTo>
                  <a:lnTo>
                    <a:pt x="1209" y="250"/>
                  </a:lnTo>
                  <a:lnTo>
                    <a:pt x="1209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xmlns="" id="{1E3A1EB7-AEC5-43BE-9C8A-3CB930AE2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4938" y="3351213"/>
              <a:ext cx="415925" cy="417513"/>
            </a:xfrm>
            <a:custGeom>
              <a:avLst/>
              <a:gdLst>
                <a:gd name="T0" fmla="*/ 0 w 262"/>
                <a:gd name="T1" fmla="*/ 41 h 263"/>
                <a:gd name="T2" fmla="*/ 222 w 262"/>
                <a:gd name="T3" fmla="*/ 263 h 263"/>
                <a:gd name="T4" fmla="*/ 262 w 262"/>
                <a:gd name="T5" fmla="*/ 221 h 263"/>
                <a:gd name="T6" fmla="*/ 41 w 262"/>
                <a:gd name="T7" fmla="*/ 0 h 263"/>
                <a:gd name="T8" fmla="*/ 0 w 262"/>
                <a:gd name="T9" fmla="*/ 4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63">
                  <a:moveTo>
                    <a:pt x="0" y="41"/>
                  </a:moveTo>
                  <a:lnTo>
                    <a:pt x="222" y="263"/>
                  </a:lnTo>
                  <a:lnTo>
                    <a:pt x="262" y="221"/>
                  </a:lnTo>
                  <a:lnTo>
                    <a:pt x="41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xmlns="" id="{CAC74DC6-B63A-40A9-BF11-2DC29EB18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851" y="3352801"/>
              <a:ext cx="417513" cy="419100"/>
            </a:xfrm>
            <a:custGeom>
              <a:avLst/>
              <a:gdLst>
                <a:gd name="T0" fmla="*/ 0 w 263"/>
                <a:gd name="T1" fmla="*/ 222 h 264"/>
                <a:gd name="T2" fmla="*/ 41 w 263"/>
                <a:gd name="T3" fmla="*/ 264 h 264"/>
                <a:gd name="T4" fmla="*/ 263 w 263"/>
                <a:gd name="T5" fmla="*/ 42 h 264"/>
                <a:gd name="T6" fmla="*/ 222 w 263"/>
                <a:gd name="T7" fmla="*/ 0 h 264"/>
                <a:gd name="T8" fmla="*/ 0 w 263"/>
                <a:gd name="T9" fmla="*/ 22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264">
                  <a:moveTo>
                    <a:pt x="0" y="222"/>
                  </a:moveTo>
                  <a:lnTo>
                    <a:pt x="41" y="264"/>
                  </a:lnTo>
                  <a:lnTo>
                    <a:pt x="263" y="42"/>
                  </a:lnTo>
                  <a:lnTo>
                    <a:pt x="222" y="0"/>
                  </a:lnTo>
                  <a:lnTo>
                    <a:pt x="0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</p:grpSp>
      <p:sp>
        <p:nvSpPr>
          <p:cNvPr id="18" name="ListLeanHorizontalTextTopic1">
            <a:extLst>
              <a:ext uri="{FF2B5EF4-FFF2-40B4-BE49-F238E27FC236}">
                <a16:creationId xmlns:a16="http://schemas.microsoft.com/office/drawing/2014/main" xmlns="" id="{5D2402EE-EA34-4322-86A0-1F27931531E5}"/>
              </a:ext>
            </a:extLst>
          </p:cNvPr>
          <p:cNvSpPr txBox="1">
            <a:spLocks/>
          </p:cNvSpPr>
          <p:nvPr/>
        </p:nvSpPr>
        <p:spPr bwMode="auto">
          <a:xfrm>
            <a:off x="3774792" y="1771238"/>
            <a:ext cx="1015671" cy="26802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en-GB" altLang="en-US" sz="1900" b="0" dirty="0" err="1" smtClean="0">
                <a:solidFill>
                  <a:schemeClr val="accent5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bjetivos</a:t>
            </a:r>
            <a:endParaRPr lang="en-GB" altLang="en-US" sz="1900" b="0" dirty="0">
              <a:solidFill>
                <a:schemeClr val="accent5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B415F6A1-00C1-43BE-8885-0DE7143AE2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22872" y="1595924"/>
            <a:ext cx="612262" cy="605460"/>
            <a:chOff x="1826" y="1368"/>
            <a:chExt cx="363" cy="356"/>
          </a:xfrm>
          <a:solidFill>
            <a:schemeClr val="accent5"/>
          </a:solidFill>
        </p:grpSpPr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xmlns="" id="{755AA74C-F4F1-412A-B036-F2CF58D07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4" y="1434"/>
              <a:ext cx="81" cy="81"/>
            </a:xfrm>
            <a:custGeom>
              <a:avLst/>
              <a:gdLst>
                <a:gd name="T0" fmla="*/ 359 w 810"/>
                <a:gd name="T1" fmla="*/ 68 h 814"/>
                <a:gd name="T2" fmla="*/ 273 w 810"/>
                <a:gd name="T3" fmla="*/ 91 h 814"/>
                <a:gd name="T4" fmla="*/ 196 w 810"/>
                <a:gd name="T5" fmla="*/ 136 h 814"/>
                <a:gd name="T6" fmla="*/ 136 w 810"/>
                <a:gd name="T7" fmla="*/ 198 h 814"/>
                <a:gd name="T8" fmla="*/ 91 w 810"/>
                <a:gd name="T9" fmla="*/ 273 h 814"/>
                <a:gd name="T10" fmla="*/ 67 w 810"/>
                <a:gd name="T11" fmla="*/ 361 h 814"/>
                <a:gd name="T12" fmla="*/ 67 w 810"/>
                <a:gd name="T13" fmla="*/ 453 h 814"/>
                <a:gd name="T14" fmla="*/ 91 w 810"/>
                <a:gd name="T15" fmla="*/ 540 h 814"/>
                <a:gd name="T16" fmla="*/ 136 w 810"/>
                <a:gd name="T17" fmla="*/ 615 h 814"/>
                <a:gd name="T18" fmla="*/ 196 w 810"/>
                <a:gd name="T19" fmla="*/ 677 h 814"/>
                <a:gd name="T20" fmla="*/ 273 w 810"/>
                <a:gd name="T21" fmla="*/ 722 h 814"/>
                <a:gd name="T22" fmla="*/ 359 w 810"/>
                <a:gd name="T23" fmla="*/ 746 h 814"/>
                <a:gd name="T24" fmla="*/ 451 w 810"/>
                <a:gd name="T25" fmla="*/ 746 h 814"/>
                <a:gd name="T26" fmla="*/ 537 w 810"/>
                <a:gd name="T27" fmla="*/ 722 h 814"/>
                <a:gd name="T28" fmla="*/ 613 w 810"/>
                <a:gd name="T29" fmla="*/ 677 h 814"/>
                <a:gd name="T30" fmla="*/ 675 w 810"/>
                <a:gd name="T31" fmla="*/ 615 h 814"/>
                <a:gd name="T32" fmla="*/ 719 w 810"/>
                <a:gd name="T33" fmla="*/ 540 h 814"/>
                <a:gd name="T34" fmla="*/ 743 w 810"/>
                <a:gd name="T35" fmla="*/ 453 h 814"/>
                <a:gd name="T36" fmla="*/ 743 w 810"/>
                <a:gd name="T37" fmla="*/ 361 h 814"/>
                <a:gd name="T38" fmla="*/ 719 w 810"/>
                <a:gd name="T39" fmla="*/ 273 h 814"/>
                <a:gd name="T40" fmla="*/ 675 w 810"/>
                <a:gd name="T41" fmla="*/ 198 h 814"/>
                <a:gd name="T42" fmla="*/ 613 w 810"/>
                <a:gd name="T43" fmla="*/ 136 h 814"/>
                <a:gd name="T44" fmla="*/ 537 w 810"/>
                <a:gd name="T45" fmla="*/ 91 h 814"/>
                <a:gd name="T46" fmla="*/ 451 w 810"/>
                <a:gd name="T47" fmla="*/ 68 h 814"/>
                <a:gd name="T48" fmla="*/ 405 w 810"/>
                <a:gd name="T49" fmla="*/ 0 h 814"/>
                <a:gd name="T50" fmla="*/ 504 w 810"/>
                <a:gd name="T51" fmla="*/ 12 h 814"/>
                <a:gd name="T52" fmla="*/ 596 w 810"/>
                <a:gd name="T53" fmla="*/ 47 h 814"/>
                <a:gd name="T54" fmla="*/ 674 w 810"/>
                <a:gd name="T55" fmla="*/ 103 h 814"/>
                <a:gd name="T56" fmla="*/ 737 w 810"/>
                <a:gd name="T57" fmla="*/ 174 h 814"/>
                <a:gd name="T58" fmla="*/ 783 w 810"/>
                <a:gd name="T59" fmla="*/ 260 h 814"/>
                <a:gd name="T60" fmla="*/ 807 w 810"/>
                <a:gd name="T61" fmla="*/ 355 h 814"/>
                <a:gd name="T62" fmla="*/ 807 w 810"/>
                <a:gd name="T63" fmla="*/ 458 h 814"/>
                <a:gd name="T64" fmla="*/ 783 w 810"/>
                <a:gd name="T65" fmla="*/ 554 h 814"/>
                <a:gd name="T66" fmla="*/ 737 w 810"/>
                <a:gd name="T67" fmla="*/ 639 h 814"/>
                <a:gd name="T68" fmla="*/ 674 w 810"/>
                <a:gd name="T69" fmla="*/ 710 h 814"/>
                <a:gd name="T70" fmla="*/ 596 w 810"/>
                <a:gd name="T71" fmla="*/ 766 h 814"/>
                <a:gd name="T72" fmla="*/ 504 w 810"/>
                <a:gd name="T73" fmla="*/ 801 h 814"/>
                <a:gd name="T74" fmla="*/ 405 w 810"/>
                <a:gd name="T75" fmla="*/ 814 h 814"/>
                <a:gd name="T76" fmla="*/ 305 w 810"/>
                <a:gd name="T77" fmla="*/ 801 h 814"/>
                <a:gd name="T78" fmla="*/ 215 w 810"/>
                <a:gd name="T79" fmla="*/ 766 h 814"/>
                <a:gd name="T80" fmla="*/ 136 w 810"/>
                <a:gd name="T81" fmla="*/ 710 h 814"/>
                <a:gd name="T82" fmla="*/ 72 w 810"/>
                <a:gd name="T83" fmla="*/ 639 h 814"/>
                <a:gd name="T84" fmla="*/ 27 w 810"/>
                <a:gd name="T85" fmla="*/ 554 h 814"/>
                <a:gd name="T86" fmla="*/ 3 w 810"/>
                <a:gd name="T87" fmla="*/ 458 h 814"/>
                <a:gd name="T88" fmla="*/ 3 w 810"/>
                <a:gd name="T89" fmla="*/ 355 h 814"/>
                <a:gd name="T90" fmla="*/ 27 w 810"/>
                <a:gd name="T91" fmla="*/ 260 h 814"/>
                <a:gd name="T92" fmla="*/ 72 w 810"/>
                <a:gd name="T93" fmla="*/ 174 h 814"/>
                <a:gd name="T94" fmla="*/ 136 w 810"/>
                <a:gd name="T95" fmla="*/ 103 h 814"/>
                <a:gd name="T96" fmla="*/ 215 w 810"/>
                <a:gd name="T97" fmla="*/ 47 h 814"/>
                <a:gd name="T98" fmla="*/ 305 w 810"/>
                <a:gd name="T99" fmla="*/ 12 h 814"/>
                <a:gd name="T100" fmla="*/ 405 w 810"/>
                <a:gd name="T101" fmla="*/ 0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10" h="814">
                  <a:moveTo>
                    <a:pt x="405" y="65"/>
                  </a:moveTo>
                  <a:lnTo>
                    <a:pt x="359" y="68"/>
                  </a:lnTo>
                  <a:lnTo>
                    <a:pt x="314" y="77"/>
                  </a:lnTo>
                  <a:lnTo>
                    <a:pt x="273" y="91"/>
                  </a:lnTo>
                  <a:lnTo>
                    <a:pt x="233" y="112"/>
                  </a:lnTo>
                  <a:lnTo>
                    <a:pt x="196" y="136"/>
                  </a:lnTo>
                  <a:lnTo>
                    <a:pt x="164" y="165"/>
                  </a:lnTo>
                  <a:lnTo>
                    <a:pt x="136" y="198"/>
                  </a:lnTo>
                  <a:lnTo>
                    <a:pt x="111" y="234"/>
                  </a:lnTo>
                  <a:lnTo>
                    <a:pt x="91" y="273"/>
                  </a:lnTo>
                  <a:lnTo>
                    <a:pt x="76" y="316"/>
                  </a:lnTo>
                  <a:lnTo>
                    <a:pt x="67" y="361"/>
                  </a:lnTo>
                  <a:lnTo>
                    <a:pt x="64" y="407"/>
                  </a:lnTo>
                  <a:lnTo>
                    <a:pt x="67" y="453"/>
                  </a:lnTo>
                  <a:lnTo>
                    <a:pt x="76" y="497"/>
                  </a:lnTo>
                  <a:lnTo>
                    <a:pt x="91" y="540"/>
                  </a:lnTo>
                  <a:lnTo>
                    <a:pt x="111" y="579"/>
                  </a:lnTo>
                  <a:lnTo>
                    <a:pt x="136" y="615"/>
                  </a:lnTo>
                  <a:lnTo>
                    <a:pt x="164" y="649"/>
                  </a:lnTo>
                  <a:lnTo>
                    <a:pt x="196" y="677"/>
                  </a:lnTo>
                  <a:lnTo>
                    <a:pt x="233" y="702"/>
                  </a:lnTo>
                  <a:lnTo>
                    <a:pt x="273" y="722"/>
                  </a:lnTo>
                  <a:lnTo>
                    <a:pt x="314" y="736"/>
                  </a:lnTo>
                  <a:lnTo>
                    <a:pt x="359" y="746"/>
                  </a:lnTo>
                  <a:lnTo>
                    <a:pt x="405" y="748"/>
                  </a:lnTo>
                  <a:lnTo>
                    <a:pt x="451" y="746"/>
                  </a:lnTo>
                  <a:lnTo>
                    <a:pt x="496" y="736"/>
                  </a:lnTo>
                  <a:lnTo>
                    <a:pt x="537" y="722"/>
                  </a:lnTo>
                  <a:lnTo>
                    <a:pt x="577" y="702"/>
                  </a:lnTo>
                  <a:lnTo>
                    <a:pt x="613" y="677"/>
                  </a:lnTo>
                  <a:lnTo>
                    <a:pt x="646" y="649"/>
                  </a:lnTo>
                  <a:lnTo>
                    <a:pt x="675" y="615"/>
                  </a:lnTo>
                  <a:lnTo>
                    <a:pt x="699" y="579"/>
                  </a:lnTo>
                  <a:lnTo>
                    <a:pt x="719" y="540"/>
                  </a:lnTo>
                  <a:lnTo>
                    <a:pt x="734" y="497"/>
                  </a:lnTo>
                  <a:lnTo>
                    <a:pt x="743" y="453"/>
                  </a:lnTo>
                  <a:lnTo>
                    <a:pt x="746" y="407"/>
                  </a:lnTo>
                  <a:lnTo>
                    <a:pt x="743" y="361"/>
                  </a:lnTo>
                  <a:lnTo>
                    <a:pt x="734" y="316"/>
                  </a:lnTo>
                  <a:lnTo>
                    <a:pt x="719" y="273"/>
                  </a:lnTo>
                  <a:lnTo>
                    <a:pt x="699" y="234"/>
                  </a:lnTo>
                  <a:lnTo>
                    <a:pt x="675" y="198"/>
                  </a:lnTo>
                  <a:lnTo>
                    <a:pt x="646" y="165"/>
                  </a:lnTo>
                  <a:lnTo>
                    <a:pt x="613" y="136"/>
                  </a:lnTo>
                  <a:lnTo>
                    <a:pt x="577" y="112"/>
                  </a:lnTo>
                  <a:lnTo>
                    <a:pt x="537" y="91"/>
                  </a:lnTo>
                  <a:lnTo>
                    <a:pt x="496" y="77"/>
                  </a:lnTo>
                  <a:lnTo>
                    <a:pt x="451" y="68"/>
                  </a:lnTo>
                  <a:lnTo>
                    <a:pt x="405" y="65"/>
                  </a:lnTo>
                  <a:close/>
                  <a:moveTo>
                    <a:pt x="405" y="0"/>
                  </a:moveTo>
                  <a:lnTo>
                    <a:pt x="455" y="4"/>
                  </a:lnTo>
                  <a:lnTo>
                    <a:pt x="504" y="12"/>
                  </a:lnTo>
                  <a:lnTo>
                    <a:pt x="551" y="28"/>
                  </a:lnTo>
                  <a:lnTo>
                    <a:pt x="596" y="47"/>
                  </a:lnTo>
                  <a:lnTo>
                    <a:pt x="636" y="72"/>
                  </a:lnTo>
                  <a:lnTo>
                    <a:pt x="674" y="103"/>
                  </a:lnTo>
                  <a:lnTo>
                    <a:pt x="708" y="137"/>
                  </a:lnTo>
                  <a:lnTo>
                    <a:pt x="737" y="174"/>
                  </a:lnTo>
                  <a:lnTo>
                    <a:pt x="762" y="215"/>
                  </a:lnTo>
                  <a:lnTo>
                    <a:pt x="783" y="260"/>
                  </a:lnTo>
                  <a:lnTo>
                    <a:pt x="798" y="307"/>
                  </a:lnTo>
                  <a:lnTo>
                    <a:pt x="807" y="355"/>
                  </a:lnTo>
                  <a:lnTo>
                    <a:pt x="810" y="407"/>
                  </a:lnTo>
                  <a:lnTo>
                    <a:pt x="807" y="458"/>
                  </a:lnTo>
                  <a:lnTo>
                    <a:pt x="798" y="507"/>
                  </a:lnTo>
                  <a:lnTo>
                    <a:pt x="783" y="554"/>
                  </a:lnTo>
                  <a:lnTo>
                    <a:pt x="762" y="598"/>
                  </a:lnTo>
                  <a:lnTo>
                    <a:pt x="737" y="639"/>
                  </a:lnTo>
                  <a:lnTo>
                    <a:pt x="708" y="676"/>
                  </a:lnTo>
                  <a:lnTo>
                    <a:pt x="674" y="710"/>
                  </a:lnTo>
                  <a:lnTo>
                    <a:pt x="636" y="741"/>
                  </a:lnTo>
                  <a:lnTo>
                    <a:pt x="596" y="766"/>
                  </a:lnTo>
                  <a:lnTo>
                    <a:pt x="551" y="785"/>
                  </a:lnTo>
                  <a:lnTo>
                    <a:pt x="504" y="801"/>
                  </a:lnTo>
                  <a:lnTo>
                    <a:pt x="455" y="810"/>
                  </a:lnTo>
                  <a:lnTo>
                    <a:pt x="405" y="814"/>
                  </a:lnTo>
                  <a:lnTo>
                    <a:pt x="354" y="810"/>
                  </a:lnTo>
                  <a:lnTo>
                    <a:pt x="305" y="801"/>
                  </a:lnTo>
                  <a:lnTo>
                    <a:pt x="258" y="785"/>
                  </a:lnTo>
                  <a:lnTo>
                    <a:pt x="215" y="766"/>
                  </a:lnTo>
                  <a:lnTo>
                    <a:pt x="174" y="741"/>
                  </a:lnTo>
                  <a:lnTo>
                    <a:pt x="136" y="710"/>
                  </a:lnTo>
                  <a:lnTo>
                    <a:pt x="102" y="676"/>
                  </a:lnTo>
                  <a:lnTo>
                    <a:pt x="72" y="639"/>
                  </a:lnTo>
                  <a:lnTo>
                    <a:pt x="47" y="598"/>
                  </a:lnTo>
                  <a:lnTo>
                    <a:pt x="27" y="554"/>
                  </a:lnTo>
                  <a:lnTo>
                    <a:pt x="13" y="507"/>
                  </a:lnTo>
                  <a:lnTo>
                    <a:pt x="3" y="458"/>
                  </a:lnTo>
                  <a:lnTo>
                    <a:pt x="0" y="407"/>
                  </a:lnTo>
                  <a:lnTo>
                    <a:pt x="3" y="355"/>
                  </a:lnTo>
                  <a:lnTo>
                    <a:pt x="13" y="307"/>
                  </a:lnTo>
                  <a:lnTo>
                    <a:pt x="27" y="260"/>
                  </a:lnTo>
                  <a:lnTo>
                    <a:pt x="47" y="215"/>
                  </a:lnTo>
                  <a:lnTo>
                    <a:pt x="72" y="174"/>
                  </a:lnTo>
                  <a:lnTo>
                    <a:pt x="102" y="137"/>
                  </a:lnTo>
                  <a:lnTo>
                    <a:pt x="136" y="103"/>
                  </a:lnTo>
                  <a:lnTo>
                    <a:pt x="174" y="72"/>
                  </a:lnTo>
                  <a:lnTo>
                    <a:pt x="215" y="47"/>
                  </a:lnTo>
                  <a:lnTo>
                    <a:pt x="258" y="28"/>
                  </a:lnTo>
                  <a:lnTo>
                    <a:pt x="305" y="12"/>
                  </a:lnTo>
                  <a:lnTo>
                    <a:pt x="354" y="4"/>
                  </a:lnTo>
                  <a:lnTo>
                    <a:pt x="4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xmlns="" id="{970D767B-C89C-45B8-88CE-D487AECEFC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6" y="1368"/>
              <a:ext cx="215" cy="216"/>
            </a:xfrm>
            <a:custGeom>
              <a:avLst/>
              <a:gdLst>
                <a:gd name="T0" fmla="*/ 909 w 2152"/>
                <a:gd name="T1" fmla="*/ 102 h 2159"/>
                <a:gd name="T2" fmla="*/ 762 w 2152"/>
                <a:gd name="T3" fmla="*/ 314 h 2159"/>
                <a:gd name="T4" fmla="*/ 509 w 2152"/>
                <a:gd name="T5" fmla="*/ 271 h 2159"/>
                <a:gd name="T6" fmla="*/ 437 w 2152"/>
                <a:gd name="T7" fmla="*/ 284 h 2159"/>
                <a:gd name="T8" fmla="*/ 263 w 2152"/>
                <a:gd name="T9" fmla="*/ 513 h 2159"/>
                <a:gd name="T10" fmla="*/ 307 w 2152"/>
                <a:gd name="T11" fmla="*/ 801 h 2159"/>
                <a:gd name="T12" fmla="*/ 87 w 2152"/>
                <a:gd name="T13" fmla="*/ 922 h 2159"/>
                <a:gd name="T14" fmla="*/ 67 w 2152"/>
                <a:gd name="T15" fmla="*/ 1215 h 2159"/>
                <a:gd name="T16" fmla="*/ 288 w 2152"/>
                <a:gd name="T17" fmla="*/ 1279 h 2159"/>
                <a:gd name="T18" fmla="*/ 379 w 2152"/>
                <a:gd name="T19" fmla="*/ 1494 h 2159"/>
                <a:gd name="T20" fmla="*/ 267 w 2152"/>
                <a:gd name="T21" fmla="*/ 1698 h 2159"/>
                <a:gd name="T22" fmla="*/ 482 w 2152"/>
                <a:gd name="T23" fmla="*/ 1893 h 2159"/>
                <a:gd name="T24" fmla="*/ 673 w 2152"/>
                <a:gd name="T25" fmla="*/ 1783 h 2159"/>
                <a:gd name="T26" fmla="*/ 896 w 2152"/>
                <a:gd name="T27" fmla="*/ 2038 h 2159"/>
                <a:gd name="T28" fmla="*/ 958 w 2152"/>
                <a:gd name="T29" fmla="*/ 2095 h 2159"/>
                <a:gd name="T30" fmla="*/ 1242 w 2152"/>
                <a:gd name="T31" fmla="*/ 2056 h 2159"/>
                <a:gd name="T32" fmla="*/ 1420 w 2152"/>
                <a:gd name="T33" fmla="*/ 1818 h 2159"/>
                <a:gd name="T34" fmla="*/ 1657 w 2152"/>
                <a:gd name="T35" fmla="*/ 1890 h 2159"/>
                <a:gd name="T36" fmla="*/ 1874 w 2152"/>
                <a:gd name="T37" fmla="*/ 1714 h 2159"/>
                <a:gd name="T38" fmla="*/ 1880 w 2152"/>
                <a:gd name="T39" fmla="*/ 1630 h 2159"/>
                <a:gd name="T40" fmla="*/ 1870 w 2152"/>
                <a:gd name="T41" fmla="*/ 1289 h 2159"/>
                <a:gd name="T42" fmla="*/ 2078 w 2152"/>
                <a:gd name="T43" fmla="*/ 1222 h 2159"/>
                <a:gd name="T44" fmla="*/ 2078 w 2152"/>
                <a:gd name="T45" fmla="*/ 925 h 2159"/>
                <a:gd name="T46" fmla="*/ 1872 w 2152"/>
                <a:gd name="T47" fmla="*/ 858 h 2159"/>
                <a:gd name="T48" fmla="*/ 1879 w 2152"/>
                <a:gd name="T49" fmla="*/ 528 h 2159"/>
                <a:gd name="T50" fmla="*/ 1874 w 2152"/>
                <a:gd name="T51" fmla="*/ 444 h 2159"/>
                <a:gd name="T52" fmla="*/ 1657 w 2152"/>
                <a:gd name="T53" fmla="*/ 267 h 2159"/>
                <a:gd name="T54" fmla="*/ 1447 w 2152"/>
                <a:gd name="T55" fmla="*/ 336 h 2159"/>
                <a:gd name="T56" fmla="*/ 1257 w 2152"/>
                <a:gd name="T57" fmla="*/ 120 h 2159"/>
                <a:gd name="T58" fmla="*/ 1193 w 2152"/>
                <a:gd name="T59" fmla="*/ 64 h 2159"/>
                <a:gd name="T60" fmla="*/ 1246 w 2152"/>
                <a:gd name="T61" fmla="*/ 10 h 2159"/>
                <a:gd name="T62" fmla="*/ 1321 w 2152"/>
                <a:gd name="T63" fmla="*/ 113 h 2159"/>
                <a:gd name="T64" fmla="*/ 1592 w 2152"/>
                <a:gd name="T65" fmla="*/ 229 h 2159"/>
                <a:gd name="T66" fmla="*/ 1696 w 2152"/>
                <a:gd name="T67" fmla="*/ 204 h 2159"/>
                <a:gd name="T68" fmla="*/ 1936 w 2152"/>
                <a:gd name="T69" fmla="*/ 420 h 2159"/>
                <a:gd name="T70" fmla="*/ 1944 w 2152"/>
                <a:gd name="T71" fmla="*/ 545 h 2159"/>
                <a:gd name="T72" fmla="*/ 1928 w 2152"/>
                <a:gd name="T73" fmla="*/ 821 h 2159"/>
                <a:gd name="T74" fmla="*/ 2128 w 2152"/>
                <a:gd name="T75" fmla="*/ 886 h 2159"/>
                <a:gd name="T76" fmla="*/ 2150 w 2152"/>
                <a:gd name="T77" fmla="*/ 1215 h 2159"/>
                <a:gd name="T78" fmla="*/ 2066 w 2152"/>
                <a:gd name="T79" fmla="*/ 1309 h 2159"/>
                <a:gd name="T80" fmla="*/ 1856 w 2152"/>
                <a:gd name="T81" fmla="*/ 1495 h 2159"/>
                <a:gd name="T82" fmla="*/ 1956 w 2152"/>
                <a:gd name="T83" fmla="*/ 1690 h 2159"/>
                <a:gd name="T84" fmla="*/ 1742 w 2152"/>
                <a:gd name="T85" fmla="*/ 1935 h 2159"/>
                <a:gd name="T86" fmla="*/ 1629 w 2152"/>
                <a:gd name="T87" fmla="*/ 1949 h 2159"/>
                <a:gd name="T88" fmla="*/ 1384 w 2152"/>
                <a:gd name="T89" fmla="*/ 1904 h 2159"/>
                <a:gd name="T90" fmla="*/ 1278 w 2152"/>
                <a:gd name="T91" fmla="*/ 2118 h 2159"/>
                <a:gd name="T92" fmla="*/ 958 w 2152"/>
                <a:gd name="T93" fmla="*/ 2159 h 2159"/>
                <a:gd name="T94" fmla="*/ 850 w 2152"/>
                <a:gd name="T95" fmla="*/ 2096 h 2159"/>
                <a:gd name="T96" fmla="*/ 711 w 2152"/>
                <a:gd name="T97" fmla="*/ 1875 h 2159"/>
                <a:gd name="T98" fmla="*/ 503 w 2152"/>
                <a:gd name="T99" fmla="*/ 1955 h 2159"/>
                <a:gd name="T100" fmla="*/ 411 w 2152"/>
                <a:gd name="T101" fmla="*/ 1935 h 2159"/>
                <a:gd name="T102" fmla="*/ 197 w 2152"/>
                <a:gd name="T103" fmla="*/ 1688 h 2159"/>
                <a:gd name="T104" fmla="*/ 301 w 2152"/>
                <a:gd name="T105" fmla="*/ 1489 h 2159"/>
                <a:gd name="T106" fmla="*/ 87 w 2152"/>
                <a:gd name="T107" fmla="*/ 1317 h 2159"/>
                <a:gd name="T108" fmla="*/ 3 w 2152"/>
                <a:gd name="T109" fmla="*/ 1223 h 2159"/>
                <a:gd name="T110" fmla="*/ 24 w 2152"/>
                <a:gd name="T111" fmla="*/ 895 h 2159"/>
                <a:gd name="T112" fmla="*/ 231 w 2152"/>
                <a:gd name="T113" fmla="*/ 829 h 2159"/>
                <a:gd name="T114" fmla="*/ 208 w 2152"/>
                <a:gd name="T115" fmla="*/ 545 h 2159"/>
                <a:gd name="T116" fmla="*/ 215 w 2152"/>
                <a:gd name="T117" fmla="*/ 420 h 2159"/>
                <a:gd name="T118" fmla="*/ 457 w 2152"/>
                <a:gd name="T119" fmla="*/ 204 h 2159"/>
                <a:gd name="T120" fmla="*/ 561 w 2152"/>
                <a:gd name="T121" fmla="*/ 229 h 2159"/>
                <a:gd name="T122" fmla="*/ 841 w 2152"/>
                <a:gd name="T123" fmla="*/ 113 h 2159"/>
                <a:gd name="T124" fmla="*/ 916 w 2152"/>
                <a:gd name="T125" fmla="*/ 10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2" h="2159">
                  <a:moveTo>
                    <a:pt x="968" y="64"/>
                  </a:moveTo>
                  <a:lnTo>
                    <a:pt x="950" y="66"/>
                  </a:lnTo>
                  <a:lnTo>
                    <a:pt x="933" y="75"/>
                  </a:lnTo>
                  <a:lnTo>
                    <a:pt x="919" y="87"/>
                  </a:lnTo>
                  <a:lnTo>
                    <a:pt x="909" y="102"/>
                  </a:lnTo>
                  <a:lnTo>
                    <a:pt x="905" y="120"/>
                  </a:lnTo>
                  <a:lnTo>
                    <a:pt x="888" y="272"/>
                  </a:lnTo>
                  <a:lnTo>
                    <a:pt x="866" y="278"/>
                  </a:lnTo>
                  <a:lnTo>
                    <a:pt x="813" y="294"/>
                  </a:lnTo>
                  <a:lnTo>
                    <a:pt x="762" y="314"/>
                  </a:lnTo>
                  <a:lnTo>
                    <a:pt x="710" y="338"/>
                  </a:lnTo>
                  <a:lnTo>
                    <a:pt x="661" y="364"/>
                  </a:lnTo>
                  <a:lnTo>
                    <a:pt x="643" y="376"/>
                  </a:lnTo>
                  <a:lnTo>
                    <a:pt x="521" y="279"/>
                  </a:lnTo>
                  <a:lnTo>
                    <a:pt x="509" y="271"/>
                  </a:lnTo>
                  <a:lnTo>
                    <a:pt x="496" y="267"/>
                  </a:lnTo>
                  <a:lnTo>
                    <a:pt x="482" y="266"/>
                  </a:lnTo>
                  <a:lnTo>
                    <a:pt x="466" y="268"/>
                  </a:lnTo>
                  <a:lnTo>
                    <a:pt x="450" y="274"/>
                  </a:lnTo>
                  <a:lnTo>
                    <a:pt x="437" y="284"/>
                  </a:lnTo>
                  <a:lnTo>
                    <a:pt x="277" y="444"/>
                  </a:lnTo>
                  <a:lnTo>
                    <a:pt x="267" y="459"/>
                  </a:lnTo>
                  <a:lnTo>
                    <a:pt x="260" y="477"/>
                  </a:lnTo>
                  <a:lnTo>
                    <a:pt x="259" y="494"/>
                  </a:lnTo>
                  <a:lnTo>
                    <a:pt x="263" y="513"/>
                  </a:lnTo>
                  <a:lnTo>
                    <a:pt x="273" y="529"/>
                  </a:lnTo>
                  <a:lnTo>
                    <a:pt x="373" y="656"/>
                  </a:lnTo>
                  <a:lnTo>
                    <a:pt x="362" y="674"/>
                  </a:lnTo>
                  <a:lnTo>
                    <a:pt x="332" y="736"/>
                  </a:lnTo>
                  <a:lnTo>
                    <a:pt x="307" y="801"/>
                  </a:lnTo>
                  <a:lnTo>
                    <a:pt x="287" y="866"/>
                  </a:lnTo>
                  <a:lnTo>
                    <a:pt x="282" y="888"/>
                  </a:lnTo>
                  <a:lnTo>
                    <a:pt x="121" y="907"/>
                  </a:lnTo>
                  <a:lnTo>
                    <a:pt x="102" y="912"/>
                  </a:lnTo>
                  <a:lnTo>
                    <a:pt x="87" y="922"/>
                  </a:lnTo>
                  <a:lnTo>
                    <a:pt x="75" y="935"/>
                  </a:lnTo>
                  <a:lnTo>
                    <a:pt x="67" y="952"/>
                  </a:lnTo>
                  <a:lnTo>
                    <a:pt x="64" y="970"/>
                  </a:lnTo>
                  <a:lnTo>
                    <a:pt x="64" y="1196"/>
                  </a:lnTo>
                  <a:lnTo>
                    <a:pt x="67" y="1215"/>
                  </a:lnTo>
                  <a:lnTo>
                    <a:pt x="75" y="1232"/>
                  </a:lnTo>
                  <a:lnTo>
                    <a:pt x="87" y="1245"/>
                  </a:lnTo>
                  <a:lnTo>
                    <a:pt x="102" y="1255"/>
                  </a:lnTo>
                  <a:lnTo>
                    <a:pt x="121" y="1259"/>
                  </a:lnTo>
                  <a:lnTo>
                    <a:pt x="288" y="1279"/>
                  </a:lnTo>
                  <a:lnTo>
                    <a:pt x="295" y="1300"/>
                  </a:lnTo>
                  <a:lnTo>
                    <a:pt x="314" y="1361"/>
                  </a:lnTo>
                  <a:lnTo>
                    <a:pt x="339" y="1419"/>
                  </a:lnTo>
                  <a:lnTo>
                    <a:pt x="368" y="1476"/>
                  </a:lnTo>
                  <a:lnTo>
                    <a:pt x="379" y="1494"/>
                  </a:lnTo>
                  <a:lnTo>
                    <a:pt x="273" y="1628"/>
                  </a:lnTo>
                  <a:lnTo>
                    <a:pt x="263" y="1645"/>
                  </a:lnTo>
                  <a:lnTo>
                    <a:pt x="259" y="1663"/>
                  </a:lnTo>
                  <a:lnTo>
                    <a:pt x="260" y="1681"/>
                  </a:lnTo>
                  <a:lnTo>
                    <a:pt x="267" y="1698"/>
                  </a:lnTo>
                  <a:lnTo>
                    <a:pt x="277" y="1714"/>
                  </a:lnTo>
                  <a:lnTo>
                    <a:pt x="437" y="1873"/>
                  </a:lnTo>
                  <a:lnTo>
                    <a:pt x="450" y="1884"/>
                  </a:lnTo>
                  <a:lnTo>
                    <a:pt x="466" y="1890"/>
                  </a:lnTo>
                  <a:lnTo>
                    <a:pt x="482" y="1893"/>
                  </a:lnTo>
                  <a:lnTo>
                    <a:pt x="496" y="1890"/>
                  </a:lnTo>
                  <a:lnTo>
                    <a:pt x="509" y="1886"/>
                  </a:lnTo>
                  <a:lnTo>
                    <a:pt x="521" y="1878"/>
                  </a:lnTo>
                  <a:lnTo>
                    <a:pt x="655" y="1773"/>
                  </a:lnTo>
                  <a:lnTo>
                    <a:pt x="673" y="1783"/>
                  </a:lnTo>
                  <a:lnTo>
                    <a:pt x="732" y="1814"/>
                  </a:lnTo>
                  <a:lnTo>
                    <a:pt x="793" y="1840"/>
                  </a:lnTo>
                  <a:lnTo>
                    <a:pt x="855" y="1861"/>
                  </a:lnTo>
                  <a:lnTo>
                    <a:pt x="876" y="1866"/>
                  </a:lnTo>
                  <a:lnTo>
                    <a:pt x="896" y="2038"/>
                  </a:lnTo>
                  <a:lnTo>
                    <a:pt x="901" y="2056"/>
                  </a:lnTo>
                  <a:lnTo>
                    <a:pt x="911" y="2072"/>
                  </a:lnTo>
                  <a:lnTo>
                    <a:pt x="924" y="2084"/>
                  </a:lnTo>
                  <a:lnTo>
                    <a:pt x="940" y="2091"/>
                  </a:lnTo>
                  <a:lnTo>
                    <a:pt x="958" y="2095"/>
                  </a:lnTo>
                  <a:lnTo>
                    <a:pt x="1185" y="2095"/>
                  </a:lnTo>
                  <a:lnTo>
                    <a:pt x="1203" y="2091"/>
                  </a:lnTo>
                  <a:lnTo>
                    <a:pt x="1220" y="2084"/>
                  </a:lnTo>
                  <a:lnTo>
                    <a:pt x="1233" y="2072"/>
                  </a:lnTo>
                  <a:lnTo>
                    <a:pt x="1242" y="2056"/>
                  </a:lnTo>
                  <a:lnTo>
                    <a:pt x="1248" y="2038"/>
                  </a:lnTo>
                  <a:lnTo>
                    <a:pt x="1266" y="1872"/>
                  </a:lnTo>
                  <a:lnTo>
                    <a:pt x="1288" y="1865"/>
                  </a:lnTo>
                  <a:lnTo>
                    <a:pt x="1354" y="1846"/>
                  </a:lnTo>
                  <a:lnTo>
                    <a:pt x="1420" y="1818"/>
                  </a:lnTo>
                  <a:lnTo>
                    <a:pt x="1483" y="1787"/>
                  </a:lnTo>
                  <a:lnTo>
                    <a:pt x="1502" y="1776"/>
                  </a:lnTo>
                  <a:lnTo>
                    <a:pt x="1631" y="1878"/>
                  </a:lnTo>
                  <a:lnTo>
                    <a:pt x="1643" y="1886"/>
                  </a:lnTo>
                  <a:lnTo>
                    <a:pt x="1657" y="1890"/>
                  </a:lnTo>
                  <a:lnTo>
                    <a:pt x="1670" y="1893"/>
                  </a:lnTo>
                  <a:lnTo>
                    <a:pt x="1687" y="1890"/>
                  </a:lnTo>
                  <a:lnTo>
                    <a:pt x="1703" y="1884"/>
                  </a:lnTo>
                  <a:lnTo>
                    <a:pt x="1716" y="1874"/>
                  </a:lnTo>
                  <a:lnTo>
                    <a:pt x="1874" y="1714"/>
                  </a:lnTo>
                  <a:lnTo>
                    <a:pt x="1886" y="1698"/>
                  </a:lnTo>
                  <a:lnTo>
                    <a:pt x="1892" y="1682"/>
                  </a:lnTo>
                  <a:lnTo>
                    <a:pt x="1893" y="1663"/>
                  </a:lnTo>
                  <a:lnTo>
                    <a:pt x="1889" y="1646"/>
                  </a:lnTo>
                  <a:lnTo>
                    <a:pt x="1880" y="1630"/>
                  </a:lnTo>
                  <a:lnTo>
                    <a:pt x="1779" y="1501"/>
                  </a:lnTo>
                  <a:lnTo>
                    <a:pt x="1790" y="1482"/>
                  </a:lnTo>
                  <a:lnTo>
                    <a:pt x="1822" y="1420"/>
                  </a:lnTo>
                  <a:lnTo>
                    <a:pt x="1849" y="1355"/>
                  </a:lnTo>
                  <a:lnTo>
                    <a:pt x="1870" y="1289"/>
                  </a:lnTo>
                  <a:lnTo>
                    <a:pt x="1876" y="1268"/>
                  </a:lnTo>
                  <a:lnTo>
                    <a:pt x="2032" y="1251"/>
                  </a:lnTo>
                  <a:lnTo>
                    <a:pt x="2050" y="1245"/>
                  </a:lnTo>
                  <a:lnTo>
                    <a:pt x="2066" y="1235"/>
                  </a:lnTo>
                  <a:lnTo>
                    <a:pt x="2078" y="1222"/>
                  </a:lnTo>
                  <a:lnTo>
                    <a:pt x="2085" y="1206"/>
                  </a:lnTo>
                  <a:lnTo>
                    <a:pt x="2088" y="1187"/>
                  </a:lnTo>
                  <a:lnTo>
                    <a:pt x="2088" y="960"/>
                  </a:lnTo>
                  <a:lnTo>
                    <a:pt x="2085" y="942"/>
                  </a:lnTo>
                  <a:lnTo>
                    <a:pt x="2078" y="925"/>
                  </a:lnTo>
                  <a:lnTo>
                    <a:pt x="2066" y="912"/>
                  </a:lnTo>
                  <a:lnTo>
                    <a:pt x="2050" y="902"/>
                  </a:lnTo>
                  <a:lnTo>
                    <a:pt x="2032" y="898"/>
                  </a:lnTo>
                  <a:lnTo>
                    <a:pt x="1878" y="879"/>
                  </a:lnTo>
                  <a:lnTo>
                    <a:pt x="1872" y="858"/>
                  </a:lnTo>
                  <a:lnTo>
                    <a:pt x="1852" y="793"/>
                  </a:lnTo>
                  <a:lnTo>
                    <a:pt x="1827" y="730"/>
                  </a:lnTo>
                  <a:lnTo>
                    <a:pt x="1794" y="668"/>
                  </a:lnTo>
                  <a:lnTo>
                    <a:pt x="1784" y="649"/>
                  </a:lnTo>
                  <a:lnTo>
                    <a:pt x="1879" y="528"/>
                  </a:lnTo>
                  <a:lnTo>
                    <a:pt x="1889" y="512"/>
                  </a:lnTo>
                  <a:lnTo>
                    <a:pt x="1893" y="494"/>
                  </a:lnTo>
                  <a:lnTo>
                    <a:pt x="1892" y="477"/>
                  </a:lnTo>
                  <a:lnTo>
                    <a:pt x="1885" y="459"/>
                  </a:lnTo>
                  <a:lnTo>
                    <a:pt x="1874" y="444"/>
                  </a:lnTo>
                  <a:lnTo>
                    <a:pt x="1716" y="284"/>
                  </a:lnTo>
                  <a:lnTo>
                    <a:pt x="1703" y="274"/>
                  </a:lnTo>
                  <a:lnTo>
                    <a:pt x="1687" y="268"/>
                  </a:lnTo>
                  <a:lnTo>
                    <a:pt x="1671" y="266"/>
                  </a:lnTo>
                  <a:lnTo>
                    <a:pt x="1657" y="267"/>
                  </a:lnTo>
                  <a:lnTo>
                    <a:pt x="1643" y="271"/>
                  </a:lnTo>
                  <a:lnTo>
                    <a:pt x="1631" y="279"/>
                  </a:lnTo>
                  <a:lnTo>
                    <a:pt x="1513" y="373"/>
                  </a:lnTo>
                  <a:lnTo>
                    <a:pt x="1495" y="362"/>
                  </a:lnTo>
                  <a:lnTo>
                    <a:pt x="1447" y="336"/>
                  </a:lnTo>
                  <a:lnTo>
                    <a:pt x="1398" y="313"/>
                  </a:lnTo>
                  <a:lnTo>
                    <a:pt x="1347" y="293"/>
                  </a:lnTo>
                  <a:lnTo>
                    <a:pt x="1296" y="278"/>
                  </a:lnTo>
                  <a:lnTo>
                    <a:pt x="1274" y="272"/>
                  </a:lnTo>
                  <a:lnTo>
                    <a:pt x="1257" y="120"/>
                  </a:lnTo>
                  <a:lnTo>
                    <a:pt x="1251" y="102"/>
                  </a:lnTo>
                  <a:lnTo>
                    <a:pt x="1242" y="87"/>
                  </a:lnTo>
                  <a:lnTo>
                    <a:pt x="1228" y="75"/>
                  </a:lnTo>
                  <a:lnTo>
                    <a:pt x="1212" y="66"/>
                  </a:lnTo>
                  <a:lnTo>
                    <a:pt x="1193" y="64"/>
                  </a:lnTo>
                  <a:lnTo>
                    <a:pt x="968" y="64"/>
                  </a:lnTo>
                  <a:close/>
                  <a:moveTo>
                    <a:pt x="968" y="0"/>
                  </a:moveTo>
                  <a:lnTo>
                    <a:pt x="1193" y="0"/>
                  </a:lnTo>
                  <a:lnTo>
                    <a:pt x="1221" y="2"/>
                  </a:lnTo>
                  <a:lnTo>
                    <a:pt x="1246" y="10"/>
                  </a:lnTo>
                  <a:lnTo>
                    <a:pt x="1268" y="24"/>
                  </a:lnTo>
                  <a:lnTo>
                    <a:pt x="1288" y="41"/>
                  </a:lnTo>
                  <a:lnTo>
                    <a:pt x="1303" y="62"/>
                  </a:lnTo>
                  <a:lnTo>
                    <a:pt x="1314" y="86"/>
                  </a:lnTo>
                  <a:lnTo>
                    <a:pt x="1321" y="113"/>
                  </a:lnTo>
                  <a:lnTo>
                    <a:pt x="1333" y="221"/>
                  </a:lnTo>
                  <a:lnTo>
                    <a:pt x="1394" y="242"/>
                  </a:lnTo>
                  <a:lnTo>
                    <a:pt x="1451" y="266"/>
                  </a:lnTo>
                  <a:lnTo>
                    <a:pt x="1508" y="295"/>
                  </a:lnTo>
                  <a:lnTo>
                    <a:pt x="1592" y="229"/>
                  </a:lnTo>
                  <a:lnTo>
                    <a:pt x="1609" y="217"/>
                  </a:lnTo>
                  <a:lnTo>
                    <a:pt x="1629" y="208"/>
                  </a:lnTo>
                  <a:lnTo>
                    <a:pt x="1649" y="203"/>
                  </a:lnTo>
                  <a:lnTo>
                    <a:pt x="1671" y="200"/>
                  </a:lnTo>
                  <a:lnTo>
                    <a:pt x="1696" y="204"/>
                  </a:lnTo>
                  <a:lnTo>
                    <a:pt x="1720" y="210"/>
                  </a:lnTo>
                  <a:lnTo>
                    <a:pt x="1742" y="222"/>
                  </a:lnTo>
                  <a:lnTo>
                    <a:pt x="1761" y="239"/>
                  </a:lnTo>
                  <a:lnTo>
                    <a:pt x="1920" y="398"/>
                  </a:lnTo>
                  <a:lnTo>
                    <a:pt x="1936" y="420"/>
                  </a:lnTo>
                  <a:lnTo>
                    <a:pt x="1948" y="443"/>
                  </a:lnTo>
                  <a:lnTo>
                    <a:pt x="1956" y="469"/>
                  </a:lnTo>
                  <a:lnTo>
                    <a:pt x="1957" y="495"/>
                  </a:lnTo>
                  <a:lnTo>
                    <a:pt x="1953" y="520"/>
                  </a:lnTo>
                  <a:lnTo>
                    <a:pt x="1944" y="545"/>
                  </a:lnTo>
                  <a:lnTo>
                    <a:pt x="1930" y="568"/>
                  </a:lnTo>
                  <a:lnTo>
                    <a:pt x="1861" y="656"/>
                  </a:lnTo>
                  <a:lnTo>
                    <a:pt x="1887" y="709"/>
                  </a:lnTo>
                  <a:lnTo>
                    <a:pt x="1909" y="764"/>
                  </a:lnTo>
                  <a:lnTo>
                    <a:pt x="1928" y="821"/>
                  </a:lnTo>
                  <a:lnTo>
                    <a:pt x="2040" y="834"/>
                  </a:lnTo>
                  <a:lnTo>
                    <a:pt x="2066" y="839"/>
                  </a:lnTo>
                  <a:lnTo>
                    <a:pt x="2090" y="851"/>
                  </a:lnTo>
                  <a:lnTo>
                    <a:pt x="2110" y="866"/>
                  </a:lnTo>
                  <a:lnTo>
                    <a:pt x="2128" y="886"/>
                  </a:lnTo>
                  <a:lnTo>
                    <a:pt x="2141" y="908"/>
                  </a:lnTo>
                  <a:lnTo>
                    <a:pt x="2150" y="934"/>
                  </a:lnTo>
                  <a:lnTo>
                    <a:pt x="2152" y="960"/>
                  </a:lnTo>
                  <a:lnTo>
                    <a:pt x="2152" y="1187"/>
                  </a:lnTo>
                  <a:lnTo>
                    <a:pt x="2150" y="1215"/>
                  </a:lnTo>
                  <a:lnTo>
                    <a:pt x="2141" y="1240"/>
                  </a:lnTo>
                  <a:lnTo>
                    <a:pt x="2128" y="1262"/>
                  </a:lnTo>
                  <a:lnTo>
                    <a:pt x="2110" y="1281"/>
                  </a:lnTo>
                  <a:lnTo>
                    <a:pt x="2090" y="1298"/>
                  </a:lnTo>
                  <a:lnTo>
                    <a:pt x="2066" y="1309"/>
                  </a:lnTo>
                  <a:lnTo>
                    <a:pt x="2040" y="1314"/>
                  </a:lnTo>
                  <a:lnTo>
                    <a:pt x="1926" y="1327"/>
                  </a:lnTo>
                  <a:lnTo>
                    <a:pt x="1907" y="1385"/>
                  </a:lnTo>
                  <a:lnTo>
                    <a:pt x="1883" y="1441"/>
                  </a:lnTo>
                  <a:lnTo>
                    <a:pt x="1856" y="1495"/>
                  </a:lnTo>
                  <a:lnTo>
                    <a:pt x="1930" y="1589"/>
                  </a:lnTo>
                  <a:lnTo>
                    <a:pt x="1944" y="1612"/>
                  </a:lnTo>
                  <a:lnTo>
                    <a:pt x="1954" y="1637"/>
                  </a:lnTo>
                  <a:lnTo>
                    <a:pt x="1957" y="1663"/>
                  </a:lnTo>
                  <a:lnTo>
                    <a:pt x="1956" y="1690"/>
                  </a:lnTo>
                  <a:lnTo>
                    <a:pt x="1949" y="1715"/>
                  </a:lnTo>
                  <a:lnTo>
                    <a:pt x="1938" y="1739"/>
                  </a:lnTo>
                  <a:lnTo>
                    <a:pt x="1920" y="1759"/>
                  </a:lnTo>
                  <a:lnTo>
                    <a:pt x="1761" y="1920"/>
                  </a:lnTo>
                  <a:lnTo>
                    <a:pt x="1742" y="1935"/>
                  </a:lnTo>
                  <a:lnTo>
                    <a:pt x="1719" y="1947"/>
                  </a:lnTo>
                  <a:lnTo>
                    <a:pt x="1696" y="1955"/>
                  </a:lnTo>
                  <a:lnTo>
                    <a:pt x="1670" y="1957"/>
                  </a:lnTo>
                  <a:lnTo>
                    <a:pt x="1649" y="1955"/>
                  </a:lnTo>
                  <a:lnTo>
                    <a:pt x="1629" y="1949"/>
                  </a:lnTo>
                  <a:lnTo>
                    <a:pt x="1609" y="1941"/>
                  </a:lnTo>
                  <a:lnTo>
                    <a:pt x="1592" y="1929"/>
                  </a:lnTo>
                  <a:lnTo>
                    <a:pt x="1496" y="1853"/>
                  </a:lnTo>
                  <a:lnTo>
                    <a:pt x="1440" y="1881"/>
                  </a:lnTo>
                  <a:lnTo>
                    <a:pt x="1384" y="1904"/>
                  </a:lnTo>
                  <a:lnTo>
                    <a:pt x="1325" y="1922"/>
                  </a:lnTo>
                  <a:lnTo>
                    <a:pt x="1311" y="2045"/>
                  </a:lnTo>
                  <a:lnTo>
                    <a:pt x="1305" y="2072"/>
                  </a:lnTo>
                  <a:lnTo>
                    <a:pt x="1295" y="2096"/>
                  </a:lnTo>
                  <a:lnTo>
                    <a:pt x="1278" y="2118"/>
                  </a:lnTo>
                  <a:lnTo>
                    <a:pt x="1259" y="2135"/>
                  </a:lnTo>
                  <a:lnTo>
                    <a:pt x="1237" y="2148"/>
                  </a:lnTo>
                  <a:lnTo>
                    <a:pt x="1212" y="2156"/>
                  </a:lnTo>
                  <a:lnTo>
                    <a:pt x="1185" y="2159"/>
                  </a:lnTo>
                  <a:lnTo>
                    <a:pt x="958" y="2159"/>
                  </a:lnTo>
                  <a:lnTo>
                    <a:pt x="932" y="2156"/>
                  </a:lnTo>
                  <a:lnTo>
                    <a:pt x="906" y="2148"/>
                  </a:lnTo>
                  <a:lnTo>
                    <a:pt x="884" y="2135"/>
                  </a:lnTo>
                  <a:lnTo>
                    <a:pt x="865" y="2118"/>
                  </a:lnTo>
                  <a:lnTo>
                    <a:pt x="850" y="2096"/>
                  </a:lnTo>
                  <a:lnTo>
                    <a:pt x="838" y="2072"/>
                  </a:lnTo>
                  <a:lnTo>
                    <a:pt x="832" y="2045"/>
                  </a:lnTo>
                  <a:lnTo>
                    <a:pt x="817" y="1917"/>
                  </a:lnTo>
                  <a:lnTo>
                    <a:pt x="764" y="1898"/>
                  </a:lnTo>
                  <a:lnTo>
                    <a:pt x="711" y="1875"/>
                  </a:lnTo>
                  <a:lnTo>
                    <a:pt x="660" y="1850"/>
                  </a:lnTo>
                  <a:lnTo>
                    <a:pt x="561" y="1929"/>
                  </a:lnTo>
                  <a:lnTo>
                    <a:pt x="543" y="1941"/>
                  </a:lnTo>
                  <a:lnTo>
                    <a:pt x="523" y="1949"/>
                  </a:lnTo>
                  <a:lnTo>
                    <a:pt x="503" y="1955"/>
                  </a:lnTo>
                  <a:lnTo>
                    <a:pt x="482" y="1957"/>
                  </a:lnTo>
                  <a:lnTo>
                    <a:pt x="482" y="1957"/>
                  </a:lnTo>
                  <a:lnTo>
                    <a:pt x="457" y="1954"/>
                  </a:lnTo>
                  <a:lnTo>
                    <a:pt x="433" y="1947"/>
                  </a:lnTo>
                  <a:lnTo>
                    <a:pt x="411" y="1935"/>
                  </a:lnTo>
                  <a:lnTo>
                    <a:pt x="392" y="1919"/>
                  </a:lnTo>
                  <a:lnTo>
                    <a:pt x="232" y="1759"/>
                  </a:lnTo>
                  <a:lnTo>
                    <a:pt x="215" y="1738"/>
                  </a:lnTo>
                  <a:lnTo>
                    <a:pt x="203" y="1714"/>
                  </a:lnTo>
                  <a:lnTo>
                    <a:pt x="197" y="1688"/>
                  </a:lnTo>
                  <a:lnTo>
                    <a:pt x="195" y="1662"/>
                  </a:lnTo>
                  <a:lnTo>
                    <a:pt x="199" y="1637"/>
                  </a:lnTo>
                  <a:lnTo>
                    <a:pt x="208" y="1612"/>
                  </a:lnTo>
                  <a:lnTo>
                    <a:pt x="222" y="1589"/>
                  </a:lnTo>
                  <a:lnTo>
                    <a:pt x="301" y="1489"/>
                  </a:lnTo>
                  <a:lnTo>
                    <a:pt x="277" y="1440"/>
                  </a:lnTo>
                  <a:lnTo>
                    <a:pt x="257" y="1389"/>
                  </a:lnTo>
                  <a:lnTo>
                    <a:pt x="239" y="1338"/>
                  </a:lnTo>
                  <a:lnTo>
                    <a:pt x="113" y="1324"/>
                  </a:lnTo>
                  <a:lnTo>
                    <a:pt x="87" y="1317"/>
                  </a:lnTo>
                  <a:lnTo>
                    <a:pt x="62" y="1306"/>
                  </a:lnTo>
                  <a:lnTo>
                    <a:pt x="41" y="1291"/>
                  </a:lnTo>
                  <a:lnTo>
                    <a:pt x="24" y="1271"/>
                  </a:lnTo>
                  <a:lnTo>
                    <a:pt x="11" y="1249"/>
                  </a:lnTo>
                  <a:lnTo>
                    <a:pt x="3" y="1223"/>
                  </a:lnTo>
                  <a:lnTo>
                    <a:pt x="0" y="1196"/>
                  </a:lnTo>
                  <a:lnTo>
                    <a:pt x="0" y="970"/>
                  </a:lnTo>
                  <a:lnTo>
                    <a:pt x="3" y="943"/>
                  </a:lnTo>
                  <a:lnTo>
                    <a:pt x="11" y="918"/>
                  </a:lnTo>
                  <a:lnTo>
                    <a:pt x="24" y="895"/>
                  </a:lnTo>
                  <a:lnTo>
                    <a:pt x="41" y="876"/>
                  </a:lnTo>
                  <a:lnTo>
                    <a:pt x="62" y="860"/>
                  </a:lnTo>
                  <a:lnTo>
                    <a:pt x="87" y="849"/>
                  </a:lnTo>
                  <a:lnTo>
                    <a:pt x="113" y="842"/>
                  </a:lnTo>
                  <a:lnTo>
                    <a:pt x="231" y="829"/>
                  </a:lnTo>
                  <a:lnTo>
                    <a:pt x="248" y="773"/>
                  </a:lnTo>
                  <a:lnTo>
                    <a:pt x="271" y="717"/>
                  </a:lnTo>
                  <a:lnTo>
                    <a:pt x="296" y="662"/>
                  </a:lnTo>
                  <a:lnTo>
                    <a:pt x="222" y="568"/>
                  </a:lnTo>
                  <a:lnTo>
                    <a:pt x="208" y="545"/>
                  </a:lnTo>
                  <a:lnTo>
                    <a:pt x="199" y="520"/>
                  </a:lnTo>
                  <a:lnTo>
                    <a:pt x="195" y="495"/>
                  </a:lnTo>
                  <a:lnTo>
                    <a:pt x="196" y="469"/>
                  </a:lnTo>
                  <a:lnTo>
                    <a:pt x="203" y="444"/>
                  </a:lnTo>
                  <a:lnTo>
                    <a:pt x="215" y="420"/>
                  </a:lnTo>
                  <a:lnTo>
                    <a:pt x="232" y="398"/>
                  </a:lnTo>
                  <a:lnTo>
                    <a:pt x="392" y="239"/>
                  </a:lnTo>
                  <a:lnTo>
                    <a:pt x="411" y="222"/>
                  </a:lnTo>
                  <a:lnTo>
                    <a:pt x="433" y="210"/>
                  </a:lnTo>
                  <a:lnTo>
                    <a:pt x="457" y="204"/>
                  </a:lnTo>
                  <a:lnTo>
                    <a:pt x="482" y="202"/>
                  </a:lnTo>
                  <a:lnTo>
                    <a:pt x="504" y="203"/>
                  </a:lnTo>
                  <a:lnTo>
                    <a:pt x="524" y="208"/>
                  </a:lnTo>
                  <a:lnTo>
                    <a:pt x="543" y="217"/>
                  </a:lnTo>
                  <a:lnTo>
                    <a:pt x="561" y="229"/>
                  </a:lnTo>
                  <a:lnTo>
                    <a:pt x="648" y="298"/>
                  </a:lnTo>
                  <a:lnTo>
                    <a:pt x="706" y="268"/>
                  </a:lnTo>
                  <a:lnTo>
                    <a:pt x="767" y="242"/>
                  </a:lnTo>
                  <a:lnTo>
                    <a:pt x="829" y="221"/>
                  </a:lnTo>
                  <a:lnTo>
                    <a:pt x="841" y="113"/>
                  </a:lnTo>
                  <a:lnTo>
                    <a:pt x="847" y="86"/>
                  </a:lnTo>
                  <a:lnTo>
                    <a:pt x="858" y="62"/>
                  </a:lnTo>
                  <a:lnTo>
                    <a:pt x="874" y="41"/>
                  </a:lnTo>
                  <a:lnTo>
                    <a:pt x="893" y="24"/>
                  </a:lnTo>
                  <a:lnTo>
                    <a:pt x="916" y="10"/>
                  </a:lnTo>
                  <a:lnTo>
                    <a:pt x="941" y="2"/>
                  </a:lnTo>
                  <a:lnTo>
                    <a:pt x="96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xmlns="" id="{8C8FCDC0-9AB3-4C59-820D-68A03C0B06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1" y="1475"/>
              <a:ext cx="178" cy="179"/>
            </a:xfrm>
            <a:custGeom>
              <a:avLst/>
              <a:gdLst>
                <a:gd name="T0" fmla="*/ 702 w 1780"/>
                <a:gd name="T1" fmla="*/ 103 h 1789"/>
                <a:gd name="T2" fmla="*/ 609 w 1780"/>
                <a:gd name="T3" fmla="*/ 282 h 1789"/>
                <a:gd name="T4" fmla="*/ 374 w 1780"/>
                <a:gd name="T5" fmla="*/ 285 h 1789"/>
                <a:gd name="T6" fmla="*/ 209 w 1780"/>
                <a:gd name="T7" fmla="*/ 424 h 1789"/>
                <a:gd name="T8" fmla="*/ 211 w 1780"/>
                <a:gd name="T9" fmla="*/ 507 h 1789"/>
                <a:gd name="T10" fmla="*/ 237 w 1780"/>
                <a:gd name="T11" fmla="*/ 777 h 1789"/>
                <a:gd name="T12" fmla="*/ 72 w 1780"/>
                <a:gd name="T13" fmla="*/ 855 h 1789"/>
                <a:gd name="T14" fmla="*/ 90 w 1780"/>
                <a:gd name="T15" fmla="*/ 1079 h 1789"/>
                <a:gd name="T16" fmla="*/ 272 w 1780"/>
                <a:gd name="T17" fmla="*/ 1128 h 1789"/>
                <a:gd name="T18" fmla="*/ 285 w 1780"/>
                <a:gd name="T19" fmla="*/ 1391 h 1789"/>
                <a:gd name="T20" fmla="*/ 297 w 1780"/>
                <a:gd name="T21" fmla="*/ 1472 h 1789"/>
                <a:gd name="T22" fmla="*/ 471 w 1780"/>
                <a:gd name="T23" fmla="*/ 1586 h 1789"/>
                <a:gd name="T24" fmla="*/ 661 w 1780"/>
                <a:gd name="T25" fmla="*/ 1513 h 1789"/>
                <a:gd name="T26" fmla="*/ 817 w 1780"/>
                <a:gd name="T27" fmla="*/ 1692 h 1789"/>
                <a:gd name="T28" fmla="*/ 1032 w 1780"/>
                <a:gd name="T29" fmla="*/ 1712 h 1789"/>
                <a:gd name="T30" fmla="*/ 1090 w 1780"/>
                <a:gd name="T31" fmla="*/ 1652 h 1789"/>
                <a:gd name="T32" fmla="*/ 1267 w 1780"/>
                <a:gd name="T33" fmla="*/ 1440 h 1789"/>
                <a:gd name="T34" fmla="*/ 1423 w 1780"/>
                <a:gd name="T35" fmla="*/ 1506 h 1789"/>
                <a:gd name="T36" fmla="*/ 1581 w 1780"/>
                <a:gd name="T37" fmla="*/ 1349 h 1789"/>
                <a:gd name="T38" fmla="*/ 1485 w 1780"/>
                <a:gd name="T39" fmla="*/ 1192 h 1789"/>
                <a:gd name="T40" fmla="*/ 1550 w 1780"/>
                <a:gd name="T41" fmla="*/ 990 h 1789"/>
                <a:gd name="T42" fmla="*/ 1714 w 1780"/>
                <a:gd name="T43" fmla="*/ 918 h 1789"/>
                <a:gd name="T44" fmla="*/ 1676 w 1780"/>
                <a:gd name="T45" fmla="*/ 698 h 1789"/>
                <a:gd name="T46" fmla="*/ 1498 w 1780"/>
                <a:gd name="T47" fmla="*/ 610 h 1789"/>
                <a:gd name="T48" fmla="*/ 1502 w 1780"/>
                <a:gd name="T49" fmla="*/ 382 h 1789"/>
                <a:gd name="T50" fmla="*/ 1364 w 1780"/>
                <a:gd name="T51" fmla="*/ 216 h 1789"/>
                <a:gd name="T52" fmla="*/ 1295 w 1780"/>
                <a:gd name="T53" fmla="*/ 208 h 1789"/>
                <a:gd name="T54" fmla="*/ 1070 w 1780"/>
                <a:gd name="T55" fmla="*/ 244 h 1789"/>
                <a:gd name="T56" fmla="*/ 952 w 1780"/>
                <a:gd name="T57" fmla="*/ 83 h 1789"/>
                <a:gd name="T58" fmla="*/ 932 w 1780"/>
                <a:gd name="T59" fmla="*/ 2 h 1789"/>
                <a:gd name="T60" fmla="*/ 1025 w 1780"/>
                <a:gd name="T61" fmla="*/ 77 h 1789"/>
                <a:gd name="T62" fmla="*/ 1188 w 1780"/>
                <a:gd name="T63" fmla="*/ 217 h 1789"/>
                <a:gd name="T64" fmla="*/ 1325 w 1780"/>
                <a:gd name="T65" fmla="*/ 136 h 1789"/>
                <a:gd name="T66" fmla="*/ 1525 w 1780"/>
                <a:gd name="T67" fmla="*/ 267 h 1789"/>
                <a:gd name="T68" fmla="*/ 1568 w 1780"/>
                <a:gd name="T69" fmla="*/ 385 h 1789"/>
                <a:gd name="T70" fmla="*/ 1552 w 1780"/>
                <a:gd name="T71" fmla="*/ 576 h 1789"/>
                <a:gd name="T72" fmla="*/ 1718 w 1780"/>
                <a:gd name="T73" fmla="*/ 648 h 1789"/>
                <a:gd name="T74" fmla="*/ 1780 w 1780"/>
                <a:gd name="T75" fmla="*/ 894 h 1789"/>
                <a:gd name="T76" fmla="*/ 1728 w 1780"/>
                <a:gd name="T77" fmla="*/ 1009 h 1789"/>
                <a:gd name="T78" fmla="*/ 1580 w 1780"/>
                <a:gd name="T79" fmla="*/ 1135 h 1789"/>
                <a:gd name="T80" fmla="*/ 1649 w 1780"/>
                <a:gd name="T81" fmla="*/ 1309 h 1789"/>
                <a:gd name="T82" fmla="*/ 1520 w 1780"/>
                <a:gd name="T83" fmla="*/ 1526 h 1789"/>
                <a:gd name="T84" fmla="*/ 1423 w 1780"/>
                <a:gd name="T85" fmla="*/ 1571 h 1789"/>
                <a:gd name="T86" fmla="*/ 1285 w 1780"/>
                <a:gd name="T87" fmla="*/ 1505 h 1789"/>
                <a:gd name="T88" fmla="*/ 1150 w 1780"/>
                <a:gd name="T89" fmla="*/ 1680 h 1789"/>
                <a:gd name="T90" fmla="*/ 1065 w 1780"/>
                <a:gd name="T91" fmla="*/ 1771 h 1789"/>
                <a:gd name="T92" fmla="*/ 823 w 1780"/>
                <a:gd name="T93" fmla="*/ 1779 h 1789"/>
                <a:gd name="T94" fmla="*/ 748 w 1780"/>
                <a:gd name="T95" fmla="*/ 1688 h 1789"/>
                <a:gd name="T96" fmla="*/ 523 w 1780"/>
                <a:gd name="T97" fmla="*/ 1633 h 1789"/>
                <a:gd name="T98" fmla="*/ 412 w 1780"/>
                <a:gd name="T99" fmla="*/ 1645 h 1789"/>
                <a:gd name="T100" fmla="*/ 223 w 1780"/>
                <a:gd name="T101" fmla="*/ 1480 h 1789"/>
                <a:gd name="T102" fmla="*/ 232 w 1780"/>
                <a:gd name="T103" fmla="*/ 1355 h 1789"/>
                <a:gd name="T104" fmla="*/ 109 w 1780"/>
                <a:gd name="T105" fmla="*/ 1164 h 1789"/>
                <a:gd name="T106" fmla="*/ 18 w 1780"/>
                <a:gd name="T107" fmla="*/ 1077 h 1789"/>
                <a:gd name="T108" fmla="*/ 17 w 1780"/>
                <a:gd name="T109" fmla="*/ 819 h 1789"/>
                <a:gd name="T110" fmla="*/ 177 w 1780"/>
                <a:gd name="T111" fmla="*/ 744 h 1789"/>
                <a:gd name="T112" fmla="*/ 136 w 1780"/>
                <a:gd name="T113" fmla="*/ 506 h 1789"/>
                <a:gd name="T114" fmla="*/ 160 w 1780"/>
                <a:gd name="T115" fmla="*/ 383 h 1789"/>
                <a:gd name="T116" fmla="*/ 335 w 1780"/>
                <a:gd name="T117" fmla="*/ 219 h 1789"/>
                <a:gd name="T118" fmla="*/ 487 w 1780"/>
                <a:gd name="T119" fmla="*/ 279 h 1789"/>
                <a:gd name="T120" fmla="*/ 630 w 1780"/>
                <a:gd name="T121" fmla="*/ 109 h 1789"/>
                <a:gd name="T122" fmla="*/ 715 w 1780"/>
                <a:gd name="T123" fmla="*/ 18 h 1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0" h="1789">
                  <a:moveTo>
                    <a:pt x="902" y="64"/>
                  </a:moveTo>
                  <a:lnTo>
                    <a:pt x="747" y="77"/>
                  </a:lnTo>
                  <a:lnTo>
                    <a:pt x="729" y="82"/>
                  </a:lnTo>
                  <a:lnTo>
                    <a:pt x="714" y="91"/>
                  </a:lnTo>
                  <a:lnTo>
                    <a:pt x="702" y="103"/>
                  </a:lnTo>
                  <a:lnTo>
                    <a:pt x="693" y="120"/>
                  </a:lnTo>
                  <a:lnTo>
                    <a:pt x="690" y="138"/>
                  </a:lnTo>
                  <a:lnTo>
                    <a:pt x="686" y="252"/>
                  </a:lnTo>
                  <a:lnTo>
                    <a:pt x="666" y="260"/>
                  </a:lnTo>
                  <a:lnTo>
                    <a:pt x="609" y="282"/>
                  </a:lnTo>
                  <a:lnTo>
                    <a:pt x="556" y="311"/>
                  </a:lnTo>
                  <a:lnTo>
                    <a:pt x="506" y="344"/>
                  </a:lnTo>
                  <a:lnTo>
                    <a:pt x="488" y="357"/>
                  </a:lnTo>
                  <a:lnTo>
                    <a:pt x="391" y="292"/>
                  </a:lnTo>
                  <a:lnTo>
                    <a:pt x="374" y="285"/>
                  </a:lnTo>
                  <a:lnTo>
                    <a:pt x="357" y="281"/>
                  </a:lnTo>
                  <a:lnTo>
                    <a:pt x="338" y="285"/>
                  </a:lnTo>
                  <a:lnTo>
                    <a:pt x="323" y="292"/>
                  </a:lnTo>
                  <a:lnTo>
                    <a:pt x="309" y="304"/>
                  </a:lnTo>
                  <a:lnTo>
                    <a:pt x="209" y="424"/>
                  </a:lnTo>
                  <a:lnTo>
                    <a:pt x="199" y="440"/>
                  </a:lnTo>
                  <a:lnTo>
                    <a:pt x="195" y="457"/>
                  </a:lnTo>
                  <a:lnTo>
                    <a:pt x="195" y="475"/>
                  </a:lnTo>
                  <a:lnTo>
                    <a:pt x="200" y="492"/>
                  </a:lnTo>
                  <a:lnTo>
                    <a:pt x="211" y="507"/>
                  </a:lnTo>
                  <a:lnTo>
                    <a:pt x="294" y="597"/>
                  </a:lnTo>
                  <a:lnTo>
                    <a:pt x="285" y="617"/>
                  </a:lnTo>
                  <a:lnTo>
                    <a:pt x="265" y="668"/>
                  </a:lnTo>
                  <a:lnTo>
                    <a:pt x="249" y="721"/>
                  </a:lnTo>
                  <a:lnTo>
                    <a:pt x="237" y="777"/>
                  </a:lnTo>
                  <a:lnTo>
                    <a:pt x="234" y="799"/>
                  </a:lnTo>
                  <a:lnTo>
                    <a:pt x="113" y="823"/>
                  </a:lnTo>
                  <a:lnTo>
                    <a:pt x="97" y="829"/>
                  </a:lnTo>
                  <a:lnTo>
                    <a:pt x="82" y="840"/>
                  </a:lnTo>
                  <a:lnTo>
                    <a:pt x="72" y="855"/>
                  </a:lnTo>
                  <a:lnTo>
                    <a:pt x="65" y="871"/>
                  </a:lnTo>
                  <a:lnTo>
                    <a:pt x="64" y="890"/>
                  </a:lnTo>
                  <a:lnTo>
                    <a:pt x="77" y="1046"/>
                  </a:lnTo>
                  <a:lnTo>
                    <a:pt x="82" y="1063"/>
                  </a:lnTo>
                  <a:lnTo>
                    <a:pt x="90" y="1079"/>
                  </a:lnTo>
                  <a:lnTo>
                    <a:pt x="103" y="1091"/>
                  </a:lnTo>
                  <a:lnTo>
                    <a:pt x="119" y="1099"/>
                  </a:lnTo>
                  <a:lnTo>
                    <a:pt x="137" y="1102"/>
                  </a:lnTo>
                  <a:lnTo>
                    <a:pt x="264" y="1107"/>
                  </a:lnTo>
                  <a:lnTo>
                    <a:pt x="272" y="1128"/>
                  </a:lnTo>
                  <a:lnTo>
                    <a:pt x="293" y="1174"/>
                  </a:lnTo>
                  <a:lnTo>
                    <a:pt x="317" y="1220"/>
                  </a:lnTo>
                  <a:lnTo>
                    <a:pt x="344" y="1264"/>
                  </a:lnTo>
                  <a:lnTo>
                    <a:pt x="356" y="1283"/>
                  </a:lnTo>
                  <a:lnTo>
                    <a:pt x="285" y="1391"/>
                  </a:lnTo>
                  <a:lnTo>
                    <a:pt x="277" y="1407"/>
                  </a:lnTo>
                  <a:lnTo>
                    <a:pt x="274" y="1424"/>
                  </a:lnTo>
                  <a:lnTo>
                    <a:pt x="277" y="1442"/>
                  </a:lnTo>
                  <a:lnTo>
                    <a:pt x="284" y="1458"/>
                  </a:lnTo>
                  <a:lnTo>
                    <a:pt x="297" y="1472"/>
                  </a:lnTo>
                  <a:lnTo>
                    <a:pt x="416" y="1574"/>
                  </a:lnTo>
                  <a:lnTo>
                    <a:pt x="428" y="1582"/>
                  </a:lnTo>
                  <a:lnTo>
                    <a:pt x="442" y="1586"/>
                  </a:lnTo>
                  <a:lnTo>
                    <a:pt x="456" y="1588"/>
                  </a:lnTo>
                  <a:lnTo>
                    <a:pt x="471" y="1586"/>
                  </a:lnTo>
                  <a:lnTo>
                    <a:pt x="485" y="1581"/>
                  </a:lnTo>
                  <a:lnTo>
                    <a:pt x="498" y="1572"/>
                  </a:lnTo>
                  <a:lnTo>
                    <a:pt x="592" y="1483"/>
                  </a:lnTo>
                  <a:lnTo>
                    <a:pt x="611" y="1492"/>
                  </a:lnTo>
                  <a:lnTo>
                    <a:pt x="661" y="1513"/>
                  </a:lnTo>
                  <a:lnTo>
                    <a:pt x="713" y="1530"/>
                  </a:lnTo>
                  <a:lnTo>
                    <a:pt x="764" y="1542"/>
                  </a:lnTo>
                  <a:lnTo>
                    <a:pt x="785" y="1547"/>
                  </a:lnTo>
                  <a:lnTo>
                    <a:pt x="812" y="1674"/>
                  </a:lnTo>
                  <a:lnTo>
                    <a:pt x="817" y="1692"/>
                  </a:lnTo>
                  <a:lnTo>
                    <a:pt x="828" y="1706"/>
                  </a:lnTo>
                  <a:lnTo>
                    <a:pt x="842" y="1717"/>
                  </a:lnTo>
                  <a:lnTo>
                    <a:pt x="859" y="1724"/>
                  </a:lnTo>
                  <a:lnTo>
                    <a:pt x="878" y="1725"/>
                  </a:lnTo>
                  <a:lnTo>
                    <a:pt x="1032" y="1712"/>
                  </a:lnTo>
                  <a:lnTo>
                    <a:pt x="1051" y="1707"/>
                  </a:lnTo>
                  <a:lnTo>
                    <a:pt x="1066" y="1698"/>
                  </a:lnTo>
                  <a:lnTo>
                    <a:pt x="1078" y="1685"/>
                  </a:lnTo>
                  <a:lnTo>
                    <a:pt x="1087" y="1669"/>
                  </a:lnTo>
                  <a:lnTo>
                    <a:pt x="1090" y="1652"/>
                  </a:lnTo>
                  <a:lnTo>
                    <a:pt x="1094" y="1524"/>
                  </a:lnTo>
                  <a:lnTo>
                    <a:pt x="1115" y="1517"/>
                  </a:lnTo>
                  <a:lnTo>
                    <a:pt x="1167" y="1495"/>
                  </a:lnTo>
                  <a:lnTo>
                    <a:pt x="1218" y="1469"/>
                  </a:lnTo>
                  <a:lnTo>
                    <a:pt x="1267" y="1440"/>
                  </a:lnTo>
                  <a:lnTo>
                    <a:pt x="1285" y="1428"/>
                  </a:lnTo>
                  <a:lnTo>
                    <a:pt x="1389" y="1497"/>
                  </a:lnTo>
                  <a:lnTo>
                    <a:pt x="1406" y="1504"/>
                  </a:lnTo>
                  <a:lnTo>
                    <a:pt x="1423" y="1506"/>
                  </a:lnTo>
                  <a:lnTo>
                    <a:pt x="1423" y="1506"/>
                  </a:lnTo>
                  <a:lnTo>
                    <a:pt x="1441" y="1504"/>
                  </a:lnTo>
                  <a:lnTo>
                    <a:pt x="1458" y="1497"/>
                  </a:lnTo>
                  <a:lnTo>
                    <a:pt x="1471" y="1485"/>
                  </a:lnTo>
                  <a:lnTo>
                    <a:pt x="1571" y="1366"/>
                  </a:lnTo>
                  <a:lnTo>
                    <a:pt x="1581" y="1349"/>
                  </a:lnTo>
                  <a:lnTo>
                    <a:pt x="1586" y="1332"/>
                  </a:lnTo>
                  <a:lnTo>
                    <a:pt x="1585" y="1314"/>
                  </a:lnTo>
                  <a:lnTo>
                    <a:pt x="1580" y="1297"/>
                  </a:lnTo>
                  <a:lnTo>
                    <a:pt x="1569" y="1283"/>
                  </a:lnTo>
                  <a:lnTo>
                    <a:pt x="1485" y="1192"/>
                  </a:lnTo>
                  <a:lnTo>
                    <a:pt x="1495" y="1172"/>
                  </a:lnTo>
                  <a:lnTo>
                    <a:pt x="1516" y="1120"/>
                  </a:lnTo>
                  <a:lnTo>
                    <a:pt x="1534" y="1066"/>
                  </a:lnTo>
                  <a:lnTo>
                    <a:pt x="1546" y="1012"/>
                  </a:lnTo>
                  <a:lnTo>
                    <a:pt x="1550" y="990"/>
                  </a:lnTo>
                  <a:lnTo>
                    <a:pt x="1666" y="966"/>
                  </a:lnTo>
                  <a:lnTo>
                    <a:pt x="1683" y="959"/>
                  </a:lnTo>
                  <a:lnTo>
                    <a:pt x="1697" y="950"/>
                  </a:lnTo>
                  <a:lnTo>
                    <a:pt x="1708" y="935"/>
                  </a:lnTo>
                  <a:lnTo>
                    <a:pt x="1714" y="918"/>
                  </a:lnTo>
                  <a:lnTo>
                    <a:pt x="1716" y="899"/>
                  </a:lnTo>
                  <a:lnTo>
                    <a:pt x="1702" y="743"/>
                  </a:lnTo>
                  <a:lnTo>
                    <a:pt x="1698" y="726"/>
                  </a:lnTo>
                  <a:lnTo>
                    <a:pt x="1689" y="710"/>
                  </a:lnTo>
                  <a:lnTo>
                    <a:pt x="1676" y="698"/>
                  </a:lnTo>
                  <a:lnTo>
                    <a:pt x="1660" y="690"/>
                  </a:lnTo>
                  <a:lnTo>
                    <a:pt x="1643" y="686"/>
                  </a:lnTo>
                  <a:lnTo>
                    <a:pt x="1525" y="683"/>
                  </a:lnTo>
                  <a:lnTo>
                    <a:pt x="1519" y="662"/>
                  </a:lnTo>
                  <a:lnTo>
                    <a:pt x="1498" y="610"/>
                  </a:lnTo>
                  <a:lnTo>
                    <a:pt x="1472" y="561"/>
                  </a:lnTo>
                  <a:lnTo>
                    <a:pt x="1442" y="513"/>
                  </a:lnTo>
                  <a:lnTo>
                    <a:pt x="1431" y="495"/>
                  </a:lnTo>
                  <a:lnTo>
                    <a:pt x="1495" y="399"/>
                  </a:lnTo>
                  <a:lnTo>
                    <a:pt x="1502" y="382"/>
                  </a:lnTo>
                  <a:lnTo>
                    <a:pt x="1506" y="364"/>
                  </a:lnTo>
                  <a:lnTo>
                    <a:pt x="1503" y="347"/>
                  </a:lnTo>
                  <a:lnTo>
                    <a:pt x="1496" y="331"/>
                  </a:lnTo>
                  <a:lnTo>
                    <a:pt x="1484" y="316"/>
                  </a:lnTo>
                  <a:lnTo>
                    <a:pt x="1364" y="216"/>
                  </a:lnTo>
                  <a:lnTo>
                    <a:pt x="1352" y="207"/>
                  </a:lnTo>
                  <a:lnTo>
                    <a:pt x="1339" y="203"/>
                  </a:lnTo>
                  <a:lnTo>
                    <a:pt x="1325" y="201"/>
                  </a:lnTo>
                  <a:lnTo>
                    <a:pt x="1309" y="203"/>
                  </a:lnTo>
                  <a:lnTo>
                    <a:pt x="1295" y="208"/>
                  </a:lnTo>
                  <a:lnTo>
                    <a:pt x="1281" y="218"/>
                  </a:lnTo>
                  <a:lnTo>
                    <a:pt x="1200" y="295"/>
                  </a:lnTo>
                  <a:lnTo>
                    <a:pt x="1180" y="285"/>
                  </a:lnTo>
                  <a:lnTo>
                    <a:pt x="1127" y="262"/>
                  </a:lnTo>
                  <a:lnTo>
                    <a:pt x="1070" y="244"/>
                  </a:lnTo>
                  <a:lnTo>
                    <a:pt x="1013" y="231"/>
                  </a:lnTo>
                  <a:lnTo>
                    <a:pt x="992" y="227"/>
                  </a:lnTo>
                  <a:lnTo>
                    <a:pt x="969" y="114"/>
                  </a:lnTo>
                  <a:lnTo>
                    <a:pt x="963" y="97"/>
                  </a:lnTo>
                  <a:lnTo>
                    <a:pt x="952" y="83"/>
                  </a:lnTo>
                  <a:lnTo>
                    <a:pt x="938" y="72"/>
                  </a:lnTo>
                  <a:lnTo>
                    <a:pt x="920" y="65"/>
                  </a:lnTo>
                  <a:lnTo>
                    <a:pt x="902" y="64"/>
                  </a:lnTo>
                  <a:close/>
                  <a:moveTo>
                    <a:pt x="907" y="0"/>
                  </a:moveTo>
                  <a:lnTo>
                    <a:pt x="932" y="2"/>
                  </a:lnTo>
                  <a:lnTo>
                    <a:pt x="956" y="10"/>
                  </a:lnTo>
                  <a:lnTo>
                    <a:pt x="978" y="22"/>
                  </a:lnTo>
                  <a:lnTo>
                    <a:pt x="996" y="37"/>
                  </a:lnTo>
                  <a:lnTo>
                    <a:pt x="1013" y="55"/>
                  </a:lnTo>
                  <a:lnTo>
                    <a:pt x="1025" y="77"/>
                  </a:lnTo>
                  <a:lnTo>
                    <a:pt x="1031" y="101"/>
                  </a:lnTo>
                  <a:lnTo>
                    <a:pt x="1047" y="171"/>
                  </a:lnTo>
                  <a:lnTo>
                    <a:pt x="1094" y="183"/>
                  </a:lnTo>
                  <a:lnTo>
                    <a:pt x="1142" y="198"/>
                  </a:lnTo>
                  <a:lnTo>
                    <a:pt x="1188" y="217"/>
                  </a:lnTo>
                  <a:lnTo>
                    <a:pt x="1238" y="170"/>
                  </a:lnTo>
                  <a:lnTo>
                    <a:pt x="1256" y="156"/>
                  </a:lnTo>
                  <a:lnTo>
                    <a:pt x="1278" y="145"/>
                  </a:lnTo>
                  <a:lnTo>
                    <a:pt x="1301" y="138"/>
                  </a:lnTo>
                  <a:lnTo>
                    <a:pt x="1325" y="136"/>
                  </a:lnTo>
                  <a:lnTo>
                    <a:pt x="1347" y="138"/>
                  </a:lnTo>
                  <a:lnTo>
                    <a:pt x="1367" y="144"/>
                  </a:lnTo>
                  <a:lnTo>
                    <a:pt x="1388" y="154"/>
                  </a:lnTo>
                  <a:lnTo>
                    <a:pt x="1407" y="166"/>
                  </a:lnTo>
                  <a:lnTo>
                    <a:pt x="1525" y="267"/>
                  </a:lnTo>
                  <a:lnTo>
                    <a:pt x="1544" y="287"/>
                  </a:lnTo>
                  <a:lnTo>
                    <a:pt x="1558" y="309"/>
                  </a:lnTo>
                  <a:lnTo>
                    <a:pt x="1567" y="334"/>
                  </a:lnTo>
                  <a:lnTo>
                    <a:pt x="1570" y="359"/>
                  </a:lnTo>
                  <a:lnTo>
                    <a:pt x="1568" y="385"/>
                  </a:lnTo>
                  <a:lnTo>
                    <a:pt x="1561" y="411"/>
                  </a:lnTo>
                  <a:lnTo>
                    <a:pt x="1548" y="435"/>
                  </a:lnTo>
                  <a:lnTo>
                    <a:pt x="1508" y="495"/>
                  </a:lnTo>
                  <a:lnTo>
                    <a:pt x="1532" y="535"/>
                  </a:lnTo>
                  <a:lnTo>
                    <a:pt x="1552" y="576"/>
                  </a:lnTo>
                  <a:lnTo>
                    <a:pt x="1571" y="620"/>
                  </a:lnTo>
                  <a:lnTo>
                    <a:pt x="1645" y="622"/>
                  </a:lnTo>
                  <a:lnTo>
                    <a:pt x="1671" y="625"/>
                  </a:lnTo>
                  <a:lnTo>
                    <a:pt x="1696" y="635"/>
                  </a:lnTo>
                  <a:lnTo>
                    <a:pt x="1718" y="648"/>
                  </a:lnTo>
                  <a:lnTo>
                    <a:pt x="1736" y="666"/>
                  </a:lnTo>
                  <a:lnTo>
                    <a:pt x="1751" y="688"/>
                  </a:lnTo>
                  <a:lnTo>
                    <a:pt x="1761" y="712"/>
                  </a:lnTo>
                  <a:lnTo>
                    <a:pt x="1767" y="738"/>
                  </a:lnTo>
                  <a:lnTo>
                    <a:pt x="1780" y="894"/>
                  </a:lnTo>
                  <a:lnTo>
                    <a:pt x="1779" y="921"/>
                  </a:lnTo>
                  <a:lnTo>
                    <a:pt x="1773" y="947"/>
                  </a:lnTo>
                  <a:lnTo>
                    <a:pt x="1762" y="970"/>
                  </a:lnTo>
                  <a:lnTo>
                    <a:pt x="1746" y="991"/>
                  </a:lnTo>
                  <a:lnTo>
                    <a:pt x="1728" y="1009"/>
                  </a:lnTo>
                  <a:lnTo>
                    <a:pt x="1705" y="1022"/>
                  </a:lnTo>
                  <a:lnTo>
                    <a:pt x="1679" y="1029"/>
                  </a:lnTo>
                  <a:lnTo>
                    <a:pt x="1605" y="1045"/>
                  </a:lnTo>
                  <a:lnTo>
                    <a:pt x="1594" y="1090"/>
                  </a:lnTo>
                  <a:lnTo>
                    <a:pt x="1580" y="1135"/>
                  </a:lnTo>
                  <a:lnTo>
                    <a:pt x="1561" y="1180"/>
                  </a:lnTo>
                  <a:lnTo>
                    <a:pt x="1615" y="1238"/>
                  </a:lnTo>
                  <a:lnTo>
                    <a:pt x="1632" y="1260"/>
                  </a:lnTo>
                  <a:lnTo>
                    <a:pt x="1644" y="1283"/>
                  </a:lnTo>
                  <a:lnTo>
                    <a:pt x="1649" y="1309"/>
                  </a:lnTo>
                  <a:lnTo>
                    <a:pt x="1650" y="1334"/>
                  </a:lnTo>
                  <a:lnTo>
                    <a:pt x="1646" y="1360"/>
                  </a:lnTo>
                  <a:lnTo>
                    <a:pt x="1635" y="1384"/>
                  </a:lnTo>
                  <a:lnTo>
                    <a:pt x="1621" y="1407"/>
                  </a:lnTo>
                  <a:lnTo>
                    <a:pt x="1520" y="1526"/>
                  </a:lnTo>
                  <a:lnTo>
                    <a:pt x="1505" y="1541"/>
                  </a:lnTo>
                  <a:lnTo>
                    <a:pt x="1486" y="1554"/>
                  </a:lnTo>
                  <a:lnTo>
                    <a:pt x="1466" y="1563"/>
                  </a:lnTo>
                  <a:lnTo>
                    <a:pt x="1446" y="1570"/>
                  </a:lnTo>
                  <a:lnTo>
                    <a:pt x="1423" y="1571"/>
                  </a:lnTo>
                  <a:lnTo>
                    <a:pt x="1423" y="1571"/>
                  </a:lnTo>
                  <a:lnTo>
                    <a:pt x="1399" y="1569"/>
                  </a:lnTo>
                  <a:lnTo>
                    <a:pt x="1375" y="1562"/>
                  </a:lnTo>
                  <a:lnTo>
                    <a:pt x="1353" y="1550"/>
                  </a:lnTo>
                  <a:lnTo>
                    <a:pt x="1285" y="1505"/>
                  </a:lnTo>
                  <a:lnTo>
                    <a:pt x="1243" y="1529"/>
                  </a:lnTo>
                  <a:lnTo>
                    <a:pt x="1201" y="1551"/>
                  </a:lnTo>
                  <a:lnTo>
                    <a:pt x="1156" y="1570"/>
                  </a:lnTo>
                  <a:lnTo>
                    <a:pt x="1154" y="1653"/>
                  </a:lnTo>
                  <a:lnTo>
                    <a:pt x="1150" y="1680"/>
                  </a:lnTo>
                  <a:lnTo>
                    <a:pt x="1141" y="1704"/>
                  </a:lnTo>
                  <a:lnTo>
                    <a:pt x="1128" y="1727"/>
                  </a:lnTo>
                  <a:lnTo>
                    <a:pt x="1110" y="1745"/>
                  </a:lnTo>
                  <a:lnTo>
                    <a:pt x="1089" y="1760"/>
                  </a:lnTo>
                  <a:lnTo>
                    <a:pt x="1065" y="1771"/>
                  </a:lnTo>
                  <a:lnTo>
                    <a:pt x="1038" y="1776"/>
                  </a:lnTo>
                  <a:lnTo>
                    <a:pt x="883" y="1789"/>
                  </a:lnTo>
                  <a:lnTo>
                    <a:pt x="872" y="1789"/>
                  </a:lnTo>
                  <a:lnTo>
                    <a:pt x="847" y="1787"/>
                  </a:lnTo>
                  <a:lnTo>
                    <a:pt x="823" y="1779"/>
                  </a:lnTo>
                  <a:lnTo>
                    <a:pt x="802" y="1767"/>
                  </a:lnTo>
                  <a:lnTo>
                    <a:pt x="783" y="1752"/>
                  </a:lnTo>
                  <a:lnTo>
                    <a:pt x="767" y="1733"/>
                  </a:lnTo>
                  <a:lnTo>
                    <a:pt x="755" y="1712"/>
                  </a:lnTo>
                  <a:lnTo>
                    <a:pt x="748" y="1688"/>
                  </a:lnTo>
                  <a:lnTo>
                    <a:pt x="731" y="1601"/>
                  </a:lnTo>
                  <a:lnTo>
                    <a:pt x="667" y="1584"/>
                  </a:lnTo>
                  <a:lnTo>
                    <a:pt x="605" y="1560"/>
                  </a:lnTo>
                  <a:lnTo>
                    <a:pt x="542" y="1619"/>
                  </a:lnTo>
                  <a:lnTo>
                    <a:pt x="523" y="1633"/>
                  </a:lnTo>
                  <a:lnTo>
                    <a:pt x="503" y="1644"/>
                  </a:lnTo>
                  <a:lnTo>
                    <a:pt x="480" y="1650"/>
                  </a:lnTo>
                  <a:lnTo>
                    <a:pt x="456" y="1653"/>
                  </a:lnTo>
                  <a:lnTo>
                    <a:pt x="434" y="1650"/>
                  </a:lnTo>
                  <a:lnTo>
                    <a:pt x="412" y="1645"/>
                  </a:lnTo>
                  <a:lnTo>
                    <a:pt x="393" y="1635"/>
                  </a:lnTo>
                  <a:lnTo>
                    <a:pt x="374" y="1623"/>
                  </a:lnTo>
                  <a:lnTo>
                    <a:pt x="255" y="1522"/>
                  </a:lnTo>
                  <a:lnTo>
                    <a:pt x="236" y="1502"/>
                  </a:lnTo>
                  <a:lnTo>
                    <a:pt x="223" y="1480"/>
                  </a:lnTo>
                  <a:lnTo>
                    <a:pt x="214" y="1456"/>
                  </a:lnTo>
                  <a:lnTo>
                    <a:pt x="210" y="1430"/>
                  </a:lnTo>
                  <a:lnTo>
                    <a:pt x="212" y="1404"/>
                  </a:lnTo>
                  <a:lnTo>
                    <a:pt x="219" y="1379"/>
                  </a:lnTo>
                  <a:lnTo>
                    <a:pt x="232" y="1355"/>
                  </a:lnTo>
                  <a:lnTo>
                    <a:pt x="278" y="1283"/>
                  </a:lnTo>
                  <a:lnTo>
                    <a:pt x="247" y="1227"/>
                  </a:lnTo>
                  <a:lnTo>
                    <a:pt x="220" y="1170"/>
                  </a:lnTo>
                  <a:lnTo>
                    <a:pt x="135" y="1167"/>
                  </a:lnTo>
                  <a:lnTo>
                    <a:pt x="109" y="1164"/>
                  </a:lnTo>
                  <a:lnTo>
                    <a:pt x="84" y="1155"/>
                  </a:lnTo>
                  <a:lnTo>
                    <a:pt x="62" y="1141"/>
                  </a:lnTo>
                  <a:lnTo>
                    <a:pt x="43" y="1123"/>
                  </a:lnTo>
                  <a:lnTo>
                    <a:pt x="28" y="1102"/>
                  </a:lnTo>
                  <a:lnTo>
                    <a:pt x="18" y="1077"/>
                  </a:lnTo>
                  <a:lnTo>
                    <a:pt x="13" y="1051"/>
                  </a:lnTo>
                  <a:lnTo>
                    <a:pt x="0" y="895"/>
                  </a:lnTo>
                  <a:lnTo>
                    <a:pt x="0" y="868"/>
                  </a:lnTo>
                  <a:lnTo>
                    <a:pt x="6" y="843"/>
                  </a:lnTo>
                  <a:lnTo>
                    <a:pt x="17" y="819"/>
                  </a:lnTo>
                  <a:lnTo>
                    <a:pt x="33" y="798"/>
                  </a:lnTo>
                  <a:lnTo>
                    <a:pt x="52" y="781"/>
                  </a:lnTo>
                  <a:lnTo>
                    <a:pt x="75" y="768"/>
                  </a:lnTo>
                  <a:lnTo>
                    <a:pt x="101" y="760"/>
                  </a:lnTo>
                  <a:lnTo>
                    <a:pt x="177" y="744"/>
                  </a:lnTo>
                  <a:lnTo>
                    <a:pt x="195" y="676"/>
                  </a:lnTo>
                  <a:lnTo>
                    <a:pt x="219" y="610"/>
                  </a:lnTo>
                  <a:lnTo>
                    <a:pt x="164" y="551"/>
                  </a:lnTo>
                  <a:lnTo>
                    <a:pt x="148" y="530"/>
                  </a:lnTo>
                  <a:lnTo>
                    <a:pt x="136" y="506"/>
                  </a:lnTo>
                  <a:lnTo>
                    <a:pt x="131" y="481"/>
                  </a:lnTo>
                  <a:lnTo>
                    <a:pt x="129" y="455"/>
                  </a:lnTo>
                  <a:lnTo>
                    <a:pt x="135" y="430"/>
                  </a:lnTo>
                  <a:lnTo>
                    <a:pt x="145" y="405"/>
                  </a:lnTo>
                  <a:lnTo>
                    <a:pt x="160" y="383"/>
                  </a:lnTo>
                  <a:lnTo>
                    <a:pt x="260" y="263"/>
                  </a:lnTo>
                  <a:lnTo>
                    <a:pt x="275" y="246"/>
                  </a:lnTo>
                  <a:lnTo>
                    <a:pt x="294" y="234"/>
                  </a:lnTo>
                  <a:lnTo>
                    <a:pt x="313" y="225"/>
                  </a:lnTo>
                  <a:lnTo>
                    <a:pt x="335" y="219"/>
                  </a:lnTo>
                  <a:lnTo>
                    <a:pt x="357" y="217"/>
                  </a:lnTo>
                  <a:lnTo>
                    <a:pt x="381" y="220"/>
                  </a:lnTo>
                  <a:lnTo>
                    <a:pt x="405" y="227"/>
                  </a:lnTo>
                  <a:lnTo>
                    <a:pt x="426" y="239"/>
                  </a:lnTo>
                  <a:lnTo>
                    <a:pt x="487" y="279"/>
                  </a:lnTo>
                  <a:lnTo>
                    <a:pt x="531" y="252"/>
                  </a:lnTo>
                  <a:lnTo>
                    <a:pt x="577" y="228"/>
                  </a:lnTo>
                  <a:lnTo>
                    <a:pt x="623" y="207"/>
                  </a:lnTo>
                  <a:lnTo>
                    <a:pt x="625" y="136"/>
                  </a:lnTo>
                  <a:lnTo>
                    <a:pt x="630" y="109"/>
                  </a:lnTo>
                  <a:lnTo>
                    <a:pt x="639" y="85"/>
                  </a:lnTo>
                  <a:lnTo>
                    <a:pt x="652" y="62"/>
                  </a:lnTo>
                  <a:lnTo>
                    <a:pt x="670" y="43"/>
                  </a:lnTo>
                  <a:lnTo>
                    <a:pt x="691" y="29"/>
                  </a:lnTo>
                  <a:lnTo>
                    <a:pt x="715" y="18"/>
                  </a:lnTo>
                  <a:lnTo>
                    <a:pt x="742" y="13"/>
                  </a:lnTo>
                  <a:lnTo>
                    <a:pt x="897" y="0"/>
                  </a:lnTo>
                  <a:lnTo>
                    <a:pt x="902" y="0"/>
                  </a:lnTo>
                  <a:lnTo>
                    <a:pt x="9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xmlns="" id="{2AA29743-2073-4FCA-B4FC-E1532A8E9E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6" y="1530"/>
              <a:ext cx="68" cy="68"/>
            </a:xfrm>
            <a:custGeom>
              <a:avLst/>
              <a:gdLst>
                <a:gd name="T0" fmla="*/ 314 w 674"/>
                <a:gd name="T1" fmla="*/ 65 h 677"/>
                <a:gd name="T2" fmla="*/ 245 w 674"/>
                <a:gd name="T3" fmla="*/ 81 h 677"/>
                <a:gd name="T4" fmla="*/ 182 w 674"/>
                <a:gd name="T5" fmla="*/ 113 h 677"/>
                <a:gd name="T6" fmla="*/ 128 w 674"/>
                <a:gd name="T7" fmla="*/ 161 h 677"/>
                <a:gd name="T8" fmla="*/ 90 w 674"/>
                <a:gd name="T9" fmla="*/ 223 h 677"/>
                <a:gd name="T10" fmla="*/ 68 w 674"/>
                <a:gd name="T11" fmla="*/ 289 h 677"/>
                <a:gd name="T12" fmla="*/ 65 w 674"/>
                <a:gd name="T13" fmla="*/ 361 h 677"/>
                <a:gd name="T14" fmla="*/ 85 w 674"/>
                <a:gd name="T15" fmla="*/ 442 h 677"/>
                <a:gd name="T16" fmla="*/ 125 w 674"/>
                <a:gd name="T17" fmla="*/ 511 h 677"/>
                <a:gd name="T18" fmla="*/ 184 w 674"/>
                <a:gd name="T19" fmla="*/ 564 h 677"/>
                <a:gd name="T20" fmla="*/ 256 w 674"/>
                <a:gd name="T21" fmla="*/ 600 h 677"/>
                <a:gd name="T22" fmla="*/ 337 w 674"/>
                <a:gd name="T23" fmla="*/ 612 h 677"/>
                <a:gd name="T24" fmla="*/ 396 w 674"/>
                <a:gd name="T25" fmla="*/ 606 h 677"/>
                <a:gd name="T26" fmla="*/ 462 w 674"/>
                <a:gd name="T27" fmla="*/ 582 h 677"/>
                <a:gd name="T28" fmla="*/ 521 w 674"/>
                <a:gd name="T29" fmla="*/ 541 h 677"/>
                <a:gd name="T30" fmla="*/ 568 w 674"/>
                <a:gd name="T31" fmla="*/ 486 h 677"/>
                <a:gd name="T32" fmla="*/ 598 w 674"/>
                <a:gd name="T33" fmla="*/ 421 h 677"/>
                <a:gd name="T34" fmla="*/ 610 w 674"/>
                <a:gd name="T35" fmla="*/ 351 h 677"/>
                <a:gd name="T36" fmla="*/ 603 w 674"/>
                <a:gd name="T37" fmla="*/ 274 h 677"/>
                <a:gd name="T38" fmla="*/ 572 w 674"/>
                <a:gd name="T39" fmla="*/ 199 h 677"/>
                <a:gd name="T40" fmla="*/ 522 w 674"/>
                <a:gd name="T41" fmla="*/ 137 h 677"/>
                <a:gd name="T42" fmla="*/ 457 w 674"/>
                <a:gd name="T43" fmla="*/ 92 h 677"/>
                <a:gd name="T44" fmla="*/ 380 w 674"/>
                <a:gd name="T45" fmla="*/ 68 h 677"/>
                <a:gd name="T46" fmla="*/ 338 w 674"/>
                <a:gd name="T47" fmla="*/ 0 h 677"/>
                <a:gd name="T48" fmla="*/ 430 w 674"/>
                <a:gd name="T49" fmla="*/ 13 h 677"/>
                <a:gd name="T50" fmla="*/ 512 w 674"/>
                <a:gd name="T51" fmla="*/ 49 h 677"/>
                <a:gd name="T52" fmla="*/ 582 w 674"/>
                <a:gd name="T53" fmla="*/ 106 h 677"/>
                <a:gd name="T54" fmla="*/ 634 w 674"/>
                <a:gd name="T55" fmla="*/ 178 h 677"/>
                <a:gd name="T56" fmla="*/ 667 w 674"/>
                <a:gd name="T57" fmla="*/ 263 h 677"/>
                <a:gd name="T58" fmla="*/ 674 w 674"/>
                <a:gd name="T59" fmla="*/ 355 h 677"/>
                <a:gd name="T60" fmla="*/ 659 w 674"/>
                <a:gd name="T61" fmla="*/ 441 h 677"/>
                <a:gd name="T62" fmla="*/ 622 w 674"/>
                <a:gd name="T63" fmla="*/ 521 h 677"/>
                <a:gd name="T64" fmla="*/ 564 w 674"/>
                <a:gd name="T65" fmla="*/ 589 h 677"/>
                <a:gd name="T66" fmla="*/ 493 w 674"/>
                <a:gd name="T67" fmla="*/ 640 h 677"/>
                <a:gd name="T68" fmla="*/ 410 w 674"/>
                <a:gd name="T69" fmla="*/ 669 h 677"/>
                <a:gd name="T70" fmla="*/ 337 w 674"/>
                <a:gd name="T71" fmla="*/ 677 h 677"/>
                <a:gd name="T72" fmla="*/ 246 w 674"/>
                <a:gd name="T73" fmla="*/ 664 h 677"/>
                <a:gd name="T74" fmla="*/ 163 w 674"/>
                <a:gd name="T75" fmla="*/ 628 h 677"/>
                <a:gd name="T76" fmla="*/ 93 w 674"/>
                <a:gd name="T77" fmla="*/ 572 h 677"/>
                <a:gd name="T78" fmla="*/ 40 w 674"/>
                <a:gd name="T79" fmla="*/ 499 h 677"/>
                <a:gd name="T80" fmla="*/ 9 w 674"/>
                <a:gd name="T81" fmla="*/ 414 h 677"/>
                <a:gd name="T82" fmla="*/ 0 w 674"/>
                <a:gd name="T83" fmla="*/ 322 h 677"/>
                <a:gd name="T84" fmla="*/ 15 w 674"/>
                <a:gd name="T85" fmla="*/ 236 h 677"/>
                <a:gd name="T86" fmla="*/ 53 w 674"/>
                <a:gd name="T87" fmla="*/ 156 h 677"/>
                <a:gd name="T88" fmla="*/ 111 w 674"/>
                <a:gd name="T89" fmla="*/ 87 h 677"/>
                <a:gd name="T90" fmla="*/ 183 w 674"/>
                <a:gd name="T91" fmla="*/ 37 h 677"/>
                <a:gd name="T92" fmla="*/ 265 w 674"/>
                <a:gd name="T93" fmla="*/ 8 h 677"/>
                <a:gd name="T94" fmla="*/ 338 w 674"/>
                <a:gd name="T95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74" h="677">
                  <a:moveTo>
                    <a:pt x="338" y="64"/>
                  </a:moveTo>
                  <a:lnTo>
                    <a:pt x="314" y="65"/>
                  </a:lnTo>
                  <a:lnTo>
                    <a:pt x="278" y="71"/>
                  </a:lnTo>
                  <a:lnTo>
                    <a:pt x="245" y="81"/>
                  </a:lnTo>
                  <a:lnTo>
                    <a:pt x="212" y="95"/>
                  </a:lnTo>
                  <a:lnTo>
                    <a:pt x="182" y="113"/>
                  </a:lnTo>
                  <a:lnTo>
                    <a:pt x="153" y="135"/>
                  </a:lnTo>
                  <a:lnTo>
                    <a:pt x="128" y="161"/>
                  </a:lnTo>
                  <a:lnTo>
                    <a:pt x="108" y="191"/>
                  </a:lnTo>
                  <a:lnTo>
                    <a:pt x="90" y="223"/>
                  </a:lnTo>
                  <a:lnTo>
                    <a:pt x="77" y="255"/>
                  </a:lnTo>
                  <a:lnTo>
                    <a:pt x="68" y="289"/>
                  </a:lnTo>
                  <a:lnTo>
                    <a:pt x="64" y="325"/>
                  </a:lnTo>
                  <a:lnTo>
                    <a:pt x="65" y="361"/>
                  </a:lnTo>
                  <a:lnTo>
                    <a:pt x="72" y="403"/>
                  </a:lnTo>
                  <a:lnTo>
                    <a:pt x="85" y="442"/>
                  </a:lnTo>
                  <a:lnTo>
                    <a:pt x="102" y="478"/>
                  </a:lnTo>
                  <a:lnTo>
                    <a:pt x="125" y="511"/>
                  </a:lnTo>
                  <a:lnTo>
                    <a:pt x="152" y="540"/>
                  </a:lnTo>
                  <a:lnTo>
                    <a:pt x="184" y="564"/>
                  </a:lnTo>
                  <a:lnTo>
                    <a:pt x="219" y="585"/>
                  </a:lnTo>
                  <a:lnTo>
                    <a:pt x="256" y="600"/>
                  </a:lnTo>
                  <a:lnTo>
                    <a:pt x="296" y="609"/>
                  </a:lnTo>
                  <a:lnTo>
                    <a:pt x="337" y="612"/>
                  </a:lnTo>
                  <a:lnTo>
                    <a:pt x="360" y="611"/>
                  </a:lnTo>
                  <a:lnTo>
                    <a:pt x="396" y="606"/>
                  </a:lnTo>
                  <a:lnTo>
                    <a:pt x="431" y="596"/>
                  </a:lnTo>
                  <a:lnTo>
                    <a:pt x="462" y="582"/>
                  </a:lnTo>
                  <a:lnTo>
                    <a:pt x="493" y="564"/>
                  </a:lnTo>
                  <a:lnTo>
                    <a:pt x="521" y="541"/>
                  </a:lnTo>
                  <a:lnTo>
                    <a:pt x="546" y="515"/>
                  </a:lnTo>
                  <a:lnTo>
                    <a:pt x="568" y="486"/>
                  </a:lnTo>
                  <a:lnTo>
                    <a:pt x="585" y="455"/>
                  </a:lnTo>
                  <a:lnTo>
                    <a:pt x="598" y="421"/>
                  </a:lnTo>
                  <a:lnTo>
                    <a:pt x="606" y="387"/>
                  </a:lnTo>
                  <a:lnTo>
                    <a:pt x="610" y="351"/>
                  </a:lnTo>
                  <a:lnTo>
                    <a:pt x="609" y="315"/>
                  </a:lnTo>
                  <a:lnTo>
                    <a:pt x="603" y="274"/>
                  </a:lnTo>
                  <a:lnTo>
                    <a:pt x="591" y="236"/>
                  </a:lnTo>
                  <a:lnTo>
                    <a:pt x="572" y="199"/>
                  </a:lnTo>
                  <a:lnTo>
                    <a:pt x="549" y="166"/>
                  </a:lnTo>
                  <a:lnTo>
                    <a:pt x="522" y="137"/>
                  </a:lnTo>
                  <a:lnTo>
                    <a:pt x="491" y="112"/>
                  </a:lnTo>
                  <a:lnTo>
                    <a:pt x="457" y="92"/>
                  </a:lnTo>
                  <a:lnTo>
                    <a:pt x="419" y="77"/>
                  </a:lnTo>
                  <a:lnTo>
                    <a:pt x="380" y="68"/>
                  </a:lnTo>
                  <a:lnTo>
                    <a:pt x="338" y="64"/>
                  </a:lnTo>
                  <a:close/>
                  <a:moveTo>
                    <a:pt x="338" y="0"/>
                  </a:moveTo>
                  <a:lnTo>
                    <a:pt x="385" y="3"/>
                  </a:lnTo>
                  <a:lnTo>
                    <a:pt x="430" y="13"/>
                  </a:lnTo>
                  <a:lnTo>
                    <a:pt x="472" y="28"/>
                  </a:lnTo>
                  <a:lnTo>
                    <a:pt x="512" y="49"/>
                  </a:lnTo>
                  <a:lnTo>
                    <a:pt x="548" y="75"/>
                  </a:lnTo>
                  <a:lnTo>
                    <a:pt x="582" y="106"/>
                  </a:lnTo>
                  <a:lnTo>
                    <a:pt x="610" y="140"/>
                  </a:lnTo>
                  <a:lnTo>
                    <a:pt x="634" y="178"/>
                  </a:lnTo>
                  <a:lnTo>
                    <a:pt x="653" y="219"/>
                  </a:lnTo>
                  <a:lnTo>
                    <a:pt x="667" y="263"/>
                  </a:lnTo>
                  <a:lnTo>
                    <a:pt x="673" y="310"/>
                  </a:lnTo>
                  <a:lnTo>
                    <a:pt x="674" y="355"/>
                  </a:lnTo>
                  <a:lnTo>
                    <a:pt x="670" y="398"/>
                  </a:lnTo>
                  <a:lnTo>
                    <a:pt x="659" y="441"/>
                  </a:lnTo>
                  <a:lnTo>
                    <a:pt x="643" y="482"/>
                  </a:lnTo>
                  <a:lnTo>
                    <a:pt x="622" y="521"/>
                  </a:lnTo>
                  <a:lnTo>
                    <a:pt x="595" y="557"/>
                  </a:lnTo>
                  <a:lnTo>
                    <a:pt x="564" y="589"/>
                  </a:lnTo>
                  <a:lnTo>
                    <a:pt x="530" y="617"/>
                  </a:lnTo>
                  <a:lnTo>
                    <a:pt x="493" y="640"/>
                  </a:lnTo>
                  <a:lnTo>
                    <a:pt x="452" y="657"/>
                  </a:lnTo>
                  <a:lnTo>
                    <a:pt x="410" y="669"/>
                  </a:lnTo>
                  <a:lnTo>
                    <a:pt x="365" y="676"/>
                  </a:lnTo>
                  <a:lnTo>
                    <a:pt x="337" y="677"/>
                  </a:lnTo>
                  <a:lnTo>
                    <a:pt x="290" y="673"/>
                  </a:lnTo>
                  <a:lnTo>
                    <a:pt x="246" y="664"/>
                  </a:lnTo>
                  <a:lnTo>
                    <a:pt x="202" y="648"/>
                  </a:lnTo>
                  <a:lnTo>
                    <a:pt x="163" y="628"/>
                  </a:lnTo>
                  <a:lnTo>
                    <a:pt x="126" y="601"/>
                  </a:lnTo>
                  <a:lnTo>
                    <a:pt x="93" y="572"/>
                  </a:lnTo>
                  <a:lnTo>
                    <a:pt x="64" y="537"/>
                  </a:lnTo>
                  <a:lnTo>
                    <a:pt x="40" y="499"/>
                  </a:lnTo>
                  <a:lnTo>
                    <a:pt x="22" y="457"/>
                  </a:lnTo>
                  <a:lnTo>
                    <a:pt x="9" y="414"/>
                  </a:lnTo>
                  <a:lnTo>
                    <a:pt x="1" y="367"/>
                  </a:lnTo>
                  <a:lnTo>
                    <a:pt x="0" y="322"/>
                  </a:lnTo>
                  <a:lnTo>
                    <a:pt x="5" y="278"/>
                  </a:lnTo>
                  <a:lnTo>
                    <a:pt x="15" y="236"/>
                  </a:lnTo>
                  <a:lnTo>
                    <a:pt x="31" y="195"/>
                  </a:lnTo>
                  <a:lnTo>
                    <a:pt x="53" y="156"/>
                  </a:lnTo>
                  <a:lnTo>
                    <a:pt x="79" y="120"/>
                  </a:lnTo>
                  <a:lnTo>
                    <a:pt x="111" y="87"/>
                  </a:lnTo>
                  <a:lnTo>
                    <a:pt x="145" y="60"/>
                  </a:lnTo>
                  <a:lnTo>
                    <a:pt x="183" y="37"/>
                  </a:lnTo>
                  <a:lnTo>
                    <a:pt x="223" y="20"/>
                  </a:lnTo>
                  <a:lnTo>
                    <a:pt x="265" y="8"/>
                  </a:lnTo>
                  <a:lnTo>
                    <a:pt x="309" y="1"/>
                  </a:lnTo>
                  <a:lnTo>
                    <a:pt x="3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xmlns="" id="{DD4F9B72-A774-4A47-9015-A6F36F067F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0" y="1622"/>
              <a:ext cx="56" cy="56"/>
            </a:xfrm>
            <a:custGeom>
              <a:avLst/>
              <a:gdLst>
                <a:gd name="T0" fmla="*/ 246 w 561"/>
                <a:gd name="T1" fmla="*/ 68 h 564"/>
                <a:gd name="T2" fmla="*/ 183 w 561"/>
                <a:gd name="T3" fmla="*/ 89 h 564"/>
                <a:gd name="T4" fmla="*/ 130 w 561"/>
                <a:gd name="T5" fmla="*/ 128 h 564"/>
                <a:gd name="T6" fmla="*/ 89 w 561"/>
                <a:gd name="T7" fmla="*/ 181 h 564"/>
                <a:gd name="T8" fmla="*/ 68 w 561"/>
                <a:gd name="T9" fmla="*/ 245 h 564"/>
                <a:gd name="T10" fmla="*/ 66 w 561"/>
                <a:gd name="T11" fmla="*/ 315 h 564"/>
                <a:gd name="T12" fmla="*/ 87 w 561"/>
                <a:gd name="T13" fmla="*/ 379 h 564"/>
                <a:gd name="T14" fmla="*/ 126 w 561"/>
                <a:gd name="T15" fmla="*/ 434 h 564"/>
                <a:gd name="T16" fmla="*/ 180 w 561"/>
                <a:gd name="T17" fmla="*/ 474 h 564"/>
                <a:gd name="T18" fmla="*/ 244 w 561"/>
                <a:gd name="T19" fmla="*/ 496 h 564"/>
                <a:gd name="T20" fmla="*/ 281 w 561"/>
                <a:gd name="T21" fmla="*/ 499 h 564"/>
                <a:gd name="T22" fmla="*/ 348 w 561"/>
                <a:gd name="T23" fmla="*/ 488 h 564"/>
                <a:gd name="T24" fmla="*/ 408 w 561"/>
                <a:gd name="T25" fmla="*/ 458 h 564"/>
                <a:gd name="T26" fmla="*/ 455 w 561"/>
                <a:gd name="T27" fmla="*/ 412 h 564"/>
                <a:gd name="T28" fmla="*/ 486 w 561"/>
                <a:gd name="T29" fmla="*/ 353 h 564"/>
                <a:gd name="T30" fmla="*/ 497 w 561"/>
                <a:gd name="T31" fmla="*/ 285 h 564"/>
                <a:gd name="T32" fmla="*/ 487 w 561"/>
                <a:gd name="T33" fmla="*/ 218 h 564"/>
                <a:gd name="T34" fmla="*/ 458 w 561"/>
                <a:gd name="T35" fmla="*/ 157 h 564"/>
                <a:gd name="T36" fmla="*/ 410 w 561"/>
                <a:gd name="T37" fmla="*/ 107 h 564"/>
                <a:gd name="T38" fmla="*/ 350 w 561"/>
                <a:gd name="T39" fmla="*/ 77 h 564"/>
                <a:gd name="T40" fmla="*/ 284 w 561"/>
                <a:gd name="T41" fmla="*/ 65 h 564"/>
                <a:gd name="T42" fmla="*/ 281 w 561"/>
                <a:gd name="T43" fmla="*/ 0 h 564"/>
                <a:gd name="T44" fmla="*/ 321 w 561"/>
                <a:gd name="T45" fmla="*/ 4 h 564"/>
                <a:gd name="T46" fmla="*/ 392 w 561"/>
                <a:gd name="T47" fmla="*/ 23 h 564"/>
                <a:gd name="T48" fmla="*/ 454 w 561"/>
                <a:gd name="T49" fmla="*/ 60 h 564"/>
                <a:gd name="T50" fmla="*/ 506 w 561"/>
                <a:gd name="T51" fmla="*/ 114 h 564"/>
                <a:gd name="T52" fmla="*/ 542 w 561"/>
                <a:gd name="T53" fmla="*/ 177 h 564"/>
                <a:gd name="T54" fmla="*/ 560 w 561"/>
                <a:gd name="T55" fmla="*/ 248 h 564"/>
                <a:gd name="T56" fmla="*/ 558 w 561"/>
                <a:gd name="T57" fmla="*/ 327 h 564"/>
                <a:gd name="T58" fmla="*/ 534 w 561"/>
                <a:gd name="T59" fmla="*/ 403 h 564"/>
                <a:gd name="T60" fmla="*/ 492 w 561"/>
                <a:gd name="T61" fmla="*/ 469 h 564"/>
                <a:gd name="T62" fmla="*/ 433 w 561"/>
                <a:gd name="T63" fmla="*/ 519 h 564"/>
                <a:gd name="T64" fmla="*/ 361 w 561"/>
                <a:gd name="T65" fmla="*/ 553 h 564"/>
                <a:gd name="T66" fmla="*/ 281 w 561"/>
                <a:gd name="T67" fmla="*/ 564 h 564"/>
                <a:gd name="T68" fmla="*/ 236 w 561"/>
                <a:gd name="T69" fmla="*/ 560 h 564"/>
                <a:gd name="T70" fmla="*/ 160 w 561"/>
                <a:gd name="T71" fmla="*/ 536 h 564"/>
                <a:gd name="T72" fmla="*/ 95 w 561"/>
                <a:gd name="T73" fmla="*/ 493 h 564"/>
                <a:gd name="T74" fmla="*/ 44 w 561"/>
                <a:gd name="T75" fmla="*/ 433 h 564"/>
                <a:gd name="T76" fmla="*/ 11 w 561"/>
                <a:gd name="T77" fmla="*/ 361 h 564"/>
                <a:gd name="T78" fmla="*/ 0 w 561"/>
                <a:gd name="T79" fmla="*/ 279 h 564"/>
                <a:gd name="T80" fmla="*/ 13 w 561"/>
                <a:gd name="T81" fmla="*/ 199 h 564"/>
                <a:gd name="T82" fmla="*/ 47 w 561"/>
                <a:gd name="T83" fmla="*/ 127 h 564"/>
                <a:gd name="T84" fmla="*/ 98 w 561"/>
                <a:gd name="T85" fmla="*/ 69 h 564"/>
                <a:gd name="T86" fmla="*/ 164 w 561"/>
                <a:gd name="T87" fmla="*/ 27 h 564"/>
                <a:gd name="T88" fmla="*/ 241 w 561"/>
                <a:gd name="T89" fmla="*/ 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1" h="564">
                  <a:moveTo>
                    <a:pt x="281" y="65"/>
                  </a:moveTo>
                  <a:lnTo>
                    <a:pt x="246" y="68"/>
                  </a:lnTo>
                  <a:lnTo>
                    <a:pt x="213" y="76"/>
                  </a:lnTo>
                  <a:lnTo>
                    <a:pt x="183" y="89"/>
                  </a:lnTo>
                  <a:lnTo>
                    <a:pt x="155" y="106"/>
                  </a:lnTo>
                  <a:lnTo>
                    <a:pt x="130" y="128"/>
                  </a:lnTo>
                  <a:lnTo>
                    <a:pt x="108" y="153"/>
                  </a:lnTo>
                  <a:lnTo>
                    <a:pt x="89" y="181"/>
                  </a:lnTo>
                  <a:lnTo>
                    <a:pt x="76" y="212"/>
                  </a:lnTo>
                  <a:lnTo>
                    <a:pt x="68" y="245"/>
                  </a:lnTo>
                  <a:lnTo>
                    <a:pt x="64" y="280"/>
                  </a:lnTo>
                  <a:lnTo>
                    <a:pt x="66" y="315"/>
                  </a:lnTo>
                  <a:lnTo>
                    <a:pt x="75" y="349"/>
                  </a:lnTo>
                  <a:lnTo>
                    <a:pt x="87" y="379"/>
                  </a:lnTo>
                  <a:lnTo>
                    <a:pt x="105" y="409"/>
                  </a:lnTo>
                  <a:lnTo>
                    <a:pt x="126" y="434"/>
                  </a:lnTo>
                  <a:lnTo>
                    <a:pt x="151" y="456"/>
                  </a:lnTo>
                  <a:lnTo>
                    <a:pt x="180" y="474"/>
                  </a:lnTo>
                  <a:lnTo>
                    <a:pt x="210" y="487"/>
                  </a:lnTo>
                  <a:lnTo>
                    <a:pt x="244" y="496"/>
                  </a:lnTo>
                  <a:lnTo>
                    <a:pt x="279" y="499"/>
                  </a:lnTo>
                  <a:lnTo>
                    <a:pt x="281" y="499"/>
                  </a:lnTo>
                  <a:lnTo>
                    <a:pt x="316" y="497"/>
                  </a:lnTo>
                  <a:lnTo>
                    <a:pt x="348" y="488"/>
                  </a:lnTo>
                  <a:lnTo>
                    <a:pt x="380" y="475"/>
                  </a:lnTo>
                  <a:lnTo>
                    <a:pt x="408" y="458"/>
                  </a:lnTo>
                  <a:lnTo>
                    <a:pt x="433" y="437"/>
                  </a:lnTo>
                  <a:lnTo>
                    <a:pt x="455" y="412"/>
                  </a:lnTo>
                  <a:lnTo>
                    <a:pt x="472" y="384"/>
                  </a:lnTo>
                  <a:lnTo>
                    <a:pt x="486" y="353"/>
                  </a:lnTo>
                  <a:lnTo>
                    <a:pt x="494" y="319"/>
                  </a:lnTo>
                  <a:lnTo>
                    <a:pt x="497" y="285"/>
                  </a:lnTo>
                  <a:lnTo>
                    <a:pt x="495" y="250"/>
                  </a:lnTo>
                  <a:lnTo>
                    <a:pt x="487" y="218"/>
                  </a:lnTo>
                  <a:lnTo>
                    <a:pt x="476" y="186"/>
                  </a:lnTo>
                  <a:lnTo>
                    <a:pt x="458" y="157"/>
                  </a:lnTo>
                  <a:lnTo>
                    <a:pt x="436" y="130"/>
                  </a:lnTo>
                  <a:lnTo>
                    <a:pt x="410" y="107"/>
                  </a:lnTo>
                  <a:lnTo>
                    <a:pt x="382" y="90"/>
                  </a:lnTo>
                  <a:lnTo>
                    <a:pt x="350" y="77"/>
                  </a:lnTo>
                  <a:lnTo>
                    <a:pt x="318" y="68"/>
                  </a:lnTo>
                  <a:lnTo>
                    <a:pt x="284" y="65"/>
                  </a:lnTo>
                  <a:lnTo>
                    <a:pt x="281" y="65"/>
                  </a:lnTo>
                  <a:close/>
                  <a:moveTo>
                    <a:pt x="281" y="0"/>
                  </a:moveTo>
                  <a:lnTo>
                    <a:pt x="284" y="0"/>
                  </a:lnTo>
                  <a:lnTo>
                    <a:pt x="321" y="4"/>
                  </a:lnTo>
                  <a:lnTo>
                    <a:pt x="357" y="11"/>
                  </a:lnTo>
                  <a:lnTo>
                    <a:pt x="392" y="23"/>
                  </a:lnTo>
                  <a:lnTo>
                    <a:pt x="424" y="40"/>
                  </a:lnTo>
                  <a:lnTo>
                    <a:pt x="454" y="60"/>
                  </a:lnTo>
                  <a:lnTo>
                    <a:pt x="482" y="86"/>
                  </a:lnTo>
                  <a:lnTo>
                    <a:pt x="506" y="114"/>
                  </a:lnTo>
                  <a:lnTo>
                    <a:pt x="527" y="145"/>
                  </a:lnTo>
                  <a:lnTo>
                    <a:pt x="542" y="177"/>
                  </a:lnTo>
                  <a:lnTo>
                    <a:pt x="553" y="212"/>
                  </a:lnTo>
                  <a:lnTo>
                    <a:pt x="560" y="248"/>
                  </a:lnTo>
                  <a:lnTo>
                    <a:pt x="561" y="285"/>
                  </a:lnTo>
                  <a:lnTo>
                    <a:pt x="558" y="327"/>
                  </a:lnTo>
                  <a:lnTo>
                    <a:pt x="549" y="366"/>
                  </a:lnTo>
                  <a:lnTo>
                    <a:pt x="534" y="403"/>
                  </a:lnTo>
                  <a:lnTo>
                    <a:pt x="516" y="437"/>
                  </a:lnTo>
                  <a:lnTo>
                    <a:pt x="492" y="469"/>
                  </a:lnTo>
                  <a:lnTo>
                    <a:pt x="464" y="496"/>
                  </a:lnTo>
                  <a:lnTo>
                    <a:pt x="433" y="519"/>
                  </a:lnTo>
                  <a:lnTo>
                    <a:pt x="398" y="539"/>
                  </a:lnTo>
                  <a:lnTo>
                    <a:pt x="361" y="553"/>
                  </a:lnTo>
                  <a:lnTo>
                    <a:pt x="322" y="562"/>
                  </a:lnTo>
                  <a:lnTo>
                    <a:pt x="281" y="564"/>
                  </a:lnTo>
                  <a:lnTo>
                    <a:pt x="278" y="564"/>
                  </a:lnTo>
                  <a:lnTo>
                    <a:pt x="236" y="560"/>
                  </a:lnTo>
                  <a:lnTo>
                    <a:pt x="197" y="552"/>
                  </a:lnTo>
                  <a:lnTo>
                    <a:pt x="160" y="536"/>
                  </a:lnTo>
                  <a:lnTo>
                    <a:pt x="125" y="517"/>
                  </a:lnTo>
                  <a:lnTo>
                    <a:pt x="95" y="493"/>
                  </a:lnTo>
                  <a:lnTo>
                    <a:pt x="68" y="464"/>
                  </a:lnTo>
                  <a:lnTo>
                    <a:pt x="44" y="433"/>
                  </a:lnTo>
                  <a:lnTo>
                    <a:pt x="25" y="398"/>
                  </a:lnTo>
                  <a:lnTo>
                    <a:pt x="11" y="361"/>
                  </a:lnTo>
                  <a:lnTo>
                    <a:pt x="2" y="320"/>
                  </a:lnTo>
                  <a:lnTo>
                    <a:pt x="0" y="279"/>
                  </a:lnTo>
                  <a:lnTo>
                    <a:pt x="3" y="237"/>
                  </a:lnTo>
                  <a:lnTo>
                    <a:pt x="13" y="199"/>
                  </a:lnTo>
                  <a:lnTo>
                    <a:pt x="27" y="162"/>
                  </a:lnTo>
                  <a:lnTo>
                    <a:pt x="47" y="127"/>
                  </a:lnTo>
                  <a:lnTo>
                    <a:pt x="71" y="96"/>
                  </a:lnTo>
                  <a:lnTo>
                    <a:pt x="98" y="69"/>
                  </a:lnTo>
                  <a:lnTo>
                    <a:pt x="130" y="45"/>
                  </a:lnTo>
                  <a:lnTo>
                    <a:pt x="164" y="27"/>
                  </a:lnTo>
                  <a:lnTo>
                    <a:pt x="201" y="12"/>
                  </a:lnTo>
                  <a:lnTo>
                    <a:pt x="241" y="4"/>
                  </a:lnTo>
                  <a:lnTo>
                    <a:pt x="28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Freeform 42">
              <a:extLst>
                <a:ext uri="{FF2B5EF4-FFF2-40B4-BE49-F238E27FC236}">
                  <a16:creationId xmlns:a16="http://schemas.microsoft.com/office/drawing/2014/main" xmlns="" id="{542E15F9-C798-4C32-ADF6-2522198EE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5" y="1578"/>
              <a:ext cx="146" cy="146"/>
            </a:xfrm>
            <a:custGeom>
              <a:avLst/>
              <a:gdLst>
                <a:gd name="T0" fmla="*/ 635 w 1458"/>
                <a:gd name="T1" fmla="*/ 102 h 1463"/>
                <a:gd name="T2" fmla="*/ 507 w 1458"/>
                <a:gd name="T3" fmla="*/ 238 h 1463"/>
                <a:gd name="T4" fmla="*/ 355 w 1458"/>
                <a:gd name="T5" fmla="*/ 206 h 1463"/>
                <a:gd name="T6" fmla="*/ 229 w 1458"/>
                <a:gd name="T7" fmla="*/ 290 h 1463"/>
                <a:gd name="T8" fmla="*/ 223 w 1458"/>
                <a:gd name="T9" fmla="*/ 373 h 1463"/>
                <a:gd name="T10" fmla="*/ 215 w 1458"/>
                <a:gd name="T11" fmla="*/ 586 h 1463"/>
                <a:gd name="T12" fmla="*/ 76 w 1458"/>
                <a:gd name="T13" fmla="*/ 644 h 1463"/>
                <a:gd name="T14" fmla="*/ 74 w 1458"/>
                <a:gd name="T15" fmla="*/ 809 h 1463"/>
                <a:gd name="T16" fmla="*/ 216 w 1458"/>
                <a:gd name="T17" fmla="*/ 870 h 1463"/>
                <a:gd name="T18" fmla="*/ 214 w 1458"/>
                <a:gd name="T19" fmla="*/ 1078 h 1463"/>
                <a:gd name="T20" fmla="*/ 218 w 1458"/>
                <a:gd name="T21" fmla="*/ 1161 h 1463"/>
                <a:gd name="T22" fmla="*/ 343 w 1458"/>
                <a:gd name="T23" fmla="*/ 1247 h 1463"/>
                <a:gd name="T24" fmla="*/ 499 w 1458"/>
                <a:gd name="T25" fmla="*/ 1210 h 1463"/>
                <a:gd name="T26" fmla="*/ 613 w 1458"/>
                <a:gd name="T27" fmla="*/ 1359 h 1463"/>
                <a:gd name="T28" fmla="*/ 767 w 1458"/>
                <a:gd name="T29" fmla="*/ 1399 h 1463"/>
                <a:gd name="T30" fmla="*/ 829 w 1458"/>
                <a:gd name="T31" fmla="*/ 1344 h 1463"/>
                <a:gd name="T32" fmla="*/ 990 w 1458"/>
                <a:gd name="T33" fmla="*/ 1198 h 1463"/>
                <a:gd name="T34" fmla="*/ 1118 w 1458"/>
                <a:gd name="T35" fmla="*/ 1258 h 1463"/>
                <a:gd name="T36" fmla="*/ 1240 w 1458"/>
                <a:gd name="T37" fmla="*/ 1158 h 1463"/>
                <a:gd name="T38" fmla="*/ 1181 w 1458"/>
                <a:gd name="T39" fmla="*/ 1020 h 1463"/>
                <a:gd name="T40" fmla="*/ 1253 w 1458"/>
                <a:gd name="T41" fmla="*/ 855 h 1463"/>
                <a:gd name="T42" fmla="*/ 1390 w 1458"/>
                <a:gd name="T43" fmla="*/ 804 h 1463"/>
                <a:gd name="T44" fmla="*/ 1373 w 1458"/>
                <a:gd name="T45" fmla="*/ 641 h 1463"/>
                <a:gd name="T46" fmla="*/ 1239 w 1458"/>
                <a:gd name="T47" fmla="*/ 550 h 1463"/>
                <a:gd name="T48" fmla="*/ 1253 w 1458"/>
                <a:gd name="T49" fmla="*/ 370 h 1463"/>
                <a:gd name="T50" fmla="*/ 1173 w 1458"/>
                <a:gd name="T51" fmla="*/ 234 h 1463"/>
                <a:gd name="T52" fmla="*/ 1102 w 1458"/>
                <a:gd name="T53" fmla="*/ 222 h 1463"/>
                <a:gd name="T54" fmla="*/ 923 w 1458"/>
                <a:gd name="T55" fmla="*/ 224 h 1463"/>
                <a:gd name="T56" fmla="*/ 835 w 1458"/>
                <a:gd name="T57" fmla="*/ 88 h 1463"/>
                <a:gd name="T58" fmla="*/ 692 w 1458"/>
                <a:gd name="T59" fmla="*/ 0 h 1463"/>
                <a:gd name="T60" fmla="*/ 862 w 1458"/>
                <a:gd name="T61" fmla="*/ 26 h 1463"/>
                <a:gd name="T62" fmla="*/ 917 w 1458"/>
                <a:gd name="T63" fmla="*/ 154 h 1463"/>
                <a:gd name="T64" fmla="*/ 1101 w 1458"/>
                <a:gd name="T65" fmla="*/ 154 h 1463"/>
                <a:gd name="T66" fmla="*/ 1219 w 1458"/>
                <a:gd name="T67" fmla="*/ 189 h 1463"/>
                <a:gd name="T68" fmla="*/ 1321 w 1458"/>
                <a:gd name="T69" fmla="*/ 354 h 1463"/>
                <a:gd name="T70" fmla="*/ 1290 w 1458"/>
                <a:gd name="T71" fmla="*/ 506 h 1463"/>
                <a:gd name="T72" fmla="*/ 1418 w 1458"/>
                <a:gd name="T73" fmla="*/ 595 h 1463"/>
                <a:gd name="T74" fmla="*/ 1457 w 1458"/>
                <a:gd name="T75" fmla="*/ 785 h 1463"/>
                <a:gd name="T76" fmla="*/ 1394 w 1458"/>
                <a:gd name="T77" fmla="*/ 894 h 1463"/>
                <a:gd name="T78" fmla="*/ 1258 w 1458"/>
                <a:gd name="T79" fmla="*/ 1015 h 1463"/>
                <a:gd name="T80" fmla="*/ 1311 w 1458"/>
                <a:gd name="T81" fmla="*/ 1150 h 1463"/>
                <a:gd name="T82" fmla="*/ 1187 w 1458"/>
                <a:gd name="T83" fmla="*/ 1301 h 1463"/>
                <a:gd name="T84" fmla="*/ 1076 w 1458"/>
                <a:gd name="T85" fmla="*/ 1316 h 1463"/>
                <a:gd name="T86" fmla="*/ 898 w 1458"/>
                <a:gd name="T87" fmla="*/ 1305 h 1463"/>
                <a:gd name="T88" fmla="*/ 841 w 1458"/>
                <a:gd name="T89" fmla="*/ 1439 h 1463"/>
                <a:gd name="T90" fmla="*/ 670 w 1458"/>
                <a:gd name="T91" fmla="*/ 1462 h 1463"/>
                <a:gd name="T92" fmla="*/ 561 w 1458"/>
                <a:gd name="T93" fmla="*/ 1399 h 1463"/>
                <a:gd name="T94" fmla="*/ 447 w 1458"/>
                <a:gd name="T95" fmla="*/ 1256 h 1463"/>
                <a:gd name="T96" fmla="*/ 329 w 1458"/>
                <a:gd name="T97" fmla="*/ 1312 h 1463"/>
                <a:gd name="T98" fmla="*/ 172 w 1458"/>
                <a:gd name="T99" fmla="*/ 1205 h 1463"/>
                <a:gd name="T100" fmla="*/ 140 w 1458"/>
                <a:gd name="T101" fmla="*/ 1084 h 1463"/>
                <a:gd name="T102" fmla="*/ 160 w 1458"/>
                <a:gd name="T103" fmla="*/ 908 h 1463"/>
                <a:gd name="T104" fmla="*/ 22 w 1458"/>
                <a:gd name="T105" fmla="*/ 848 h 1463"/>
                <a:gd name="T106" fmla="*/ 4 w 1458"/>
                <a:gd name="T107" fmla="*/ 651 h 1463"/>
                <a:gd name="T108" fmla="*/ 88 w 1458"/>
                <a:gd name="T109" fmla="*/ 559 h 1463"/>
                <a:gd name="T110" fmla="*/ 173 w 1458"/>
                <a:gd name="T111" fmla="*/ 413 h 1463"/>
                <a:gd name="T112" fmla="*/ 154 w 1458"/>
                <a:gd name="T113" fmla="*/ 288 h 1463"/>
                <a:gd name="T114" fmla="*/ 293 w 1458"/>
                <a:gd name="T115" fmla="*/ 150 h 1463"/>
                <a:gd name="T116" fmla="*/ 403 w 1458"/>
                <a:gd name="T117" fmla="*/ 157 h 1463"/>
                <a:gd name="T118" fmla="*/ 566 w 1458"/>
                <a:gd name="T119" fmla="*/ 111 h 1463"/>
                <a:gd name="T120" fmla="*/ 640 w 1458"/>
                <a:gd name="T121" fmla="*/ 11 h 1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58" h="1463">
                  <a:moveTo>
                    <a:pt x="692" y="64"/>
                  </a:moveTo>
                  <a:lnTo>
                    <a:pt x="673" y="68"/>
                  </a:lnTo>
                  <a:lnTo>
                    <a:pt x="658" y="75"/>
                  </a:lnTo>
                  <a:lnTo>
                    <a:pt x="644" y="86"/>
                  </a:lnTo>
                  <a:lnTo>
                    <a:pt x="635" y="102"/>
                  </a:lnTo>
                  <a:lnTo>
                    <a:pt x="630" y="119"/>
                  </a:lnTo>
                  <a:lnTo>
                    <a:pt x="620" y="200"/>
                  </a:lnTo>
                  <a:lnTo>
                    <a:pt x="598" y="205"/>
                  </a:lnTo>
                  <a:lnTo>
                    <a:pt x="552" y="220"/>
                  </a:lnTo>
                  <a:lnTo>
                    <a:pt x="507" y="238"/>
                  </a:lnTo>
                  <a:lnTo>
                    <a:pt x="464" y="261"/>
                  </a:lnTo>
                  <a:lnTo>
                    <a:pt x="445" y="272"/>
                  </a:lnTo>
                  <a:lnTo>
                    <a:pt x="380" y="220"/>
                  </a:lnTo>
                  <a:lnTo>
                    <a:pt x="368" y="212"/>
                  </a:lnTo>
                  <a:lnTo>
                    <a:pt x="355" y="206"/>
                  </a:lnTo>
                  <a:lnTo>
                    <a:pt x="341" y="205"/>
                  </a:lnTo>
                  <a:lnTo>
                    <a:pt x="325" y="207"/>
                  </a:lnTo>
                  <a:lnTo>
                    <a:pt x="311" y="213"/>
                  </a:lnTo>
                  <a:lnTo>
                    <a:pt x="298" y="223"/>
                  </a:lnTo>
                  <a:lnTo>
                    <a:pt x="229" y="290"/>
                  </a:lnTo>
                  <a:lnTo>
                    <a:pt x="217" y="305"/>
                  </a:lnTo>
                  <a:lnTo>
                    <a:pt x="212" y="322"/>
                  </a:lnTo>
                  <a:lnTo>
                    <a:pt x="211" y="340"/>
                  </a:lnTo>
                  <a:lnTo>
                    <a:pt x="214" y="357"/>
                  </a:lnTo>
                  <a:lnTo>
                    <a:pt x="223" y="373"/>
                  </a:lnTo>
                  <a:lnTo>
                    <a:pt x="277" y="443"/>
                  </a:lnTo>
                  <a:lnTo>
                    <a:pt x="266" y="462"/>
                  </a:lnTo>
                  <a:lnTo>
                    <a:pt x="245" y="502"/>
                  </a:lnTo>
                  <a:lnTo>
                    <a:pt x="228" y="545"/>
                  </a:lnTo>
                  <a:lnTo>
                    <a:pt x="215" y="586"/>
                  </a:lnTo>
                  <a:lnTo>
                    <a:pt x="210" y="608"/>
                  </a:lnTo>
                  <a:lnTo>
                    <a:pt x="121" y="617"/>
                  </a:lnTo>
                  <a:lnTo>
                    <a:pt x="103" y="622"/>
                  </a:lnTo>
                  <a:lnTo>
                    <a:pt x="88" y="631"/>
                  </a:lnTo>
                  <a:lnTo>
                    <a:pt x="76" y="644"/>
                  </a:lnTo>
                  <a:lnTo>
                    <a:pt x="68" y="661"/>
                  </a:lnTo>
                  <a:lnTo>
                    <a:pt x="65" y="679"/>
                  </a:lnTo>
                  <a:lnTo>
                    <a:pt x="64" y="775"/>
                  </a:lnTo>
                  <a:lnTo>
                    <a:pt x="67" y="793"/>
                  </a:lnTo>
                  <a:lnTo>
                    <a:pt x="74" y="809"/>
                  </a:lnTo>
                  <a:lnTo>
                    <a:pt x="86" y="823"/>
                  </a:lnTo>
                  <a:lnTo>
                    <a:pt x="101" y="833"/>
                  </a:lnTo>
                  <a:lnTo>
                    <a:pt x="118" y="837"/>
                  </a:lnTo>
                  <a:lnTo>
                    <a:pt x="210" y="849"/>
                  </a:lnTo>
                  <a:lnTo>
                    <a:pt x="216" y="870"/>
                  </a:lnTo>
                  <a:lnTo>
                    <a:pt x="228" y="909"/>
                  </a:lnTo>
                  <a:lnTo>
                    <a:pt x="244" y="949"/>
                  </a:lnTo>
                  <a:lnTo>
                    <a:pt x="263" y="986"/>
                  </a:lnTo>
                  <a:lnTo>
                    <a:pt x="274" y="1004"/>
                  </a:lnTo>
                  <a:lnTo>
                    <a:pt x="214" y="1078"/>
                  </a:lnTo>
                  <a:lnTo>
                    <a:pt x="205" y="1094"/>
                  </a:lnTo>
                  <a:lnTo>
                    <a:pt x="201" y="1111"/>
                  </a:lnTo>
                  <a:lnTo>
                    <a:pt x="202" y="1129"/>
                  </a:lnTo>
                  <a:lnTo>
                    <a:pt x="207" y="1145"/>
                  </a:lnTo>
                  <a:lnTo>
                    <a:pt x="218" y="1161"/>
                  </a:lnTo>
                  <a:lnTo>
                    <a:pt x="285" y="1229"/>
                  </a:lnTo>
                  <a:lnTo>
                    <a:pt x="298" y="1239"/>
                  </a:lnTo>
                  <a:lnTo>
                    <a:pt x="313" y="1246"/>
                  </a:lnTo>
                  <a:lnTo>
                    <a:pt x="329" y="1248"/>
                  </a:lnTo>
                  <a:lnTo>
                    <a:pt x="343" y="1247"/>
                  </a:lnTo>
                  <a:lnTo>
                    <a:pt x="356" y="1242"/>
                  </a:lnTo>
                  <a:lnTo>
                    <a:pt x="367" y="1235"/>
                  </a:lnTo>
                  <a:lnTo>
                    <a:pt x="441" y="1178"/>
                  </a:lnTo>
                  <a:lnTo>
                    <a:pt x="460" y="1189"/>
                  </a:lnTo>
                  <a:lnTo>
                    <a:pt x="499" y="1210"/>
                  </a:lnTo>
                  <a:lnTo>
                    <a:pt x="538" y="1227"/>
                  </a:lnTo>
                  <a:lnTo>
                    <a:pt x="578" y="1241"/>
                  </a:lnTo>
                  <a:lnTo>
                    <a:pt x="599" y="1247"/>
                  </a:lnTo>
                  <a:lnTo>
                    <a:pt x="609" y="1342"/>
                  </a:lnTo>
                  <a:lnTo>
                    <a:pt x="613" y="1359"/>
                  </a:lnTo>
                  <a:lnTo>
                    <a:pt x="623" y="1375"/>
                  </a:lnTo>
                  <a:lnTo>
                    <a:pt x="636" y="1387"/>
                  </a:lnTo>
                  <a:lnTo>
                    <a:pt x="651" y="1394"/>
                  </a:lnTo>
                  <a:lnTo>
                    <a:pt x="670" y="1397"/>
                  </a:lnTo>
                  <a:lnTo>
                    <a:pt x="767" y="1399"/>
                  </a:lnTo>
                  <a:lnTo>
                    <a:pt x="785" y="1396"/>
                  </a:lnTo>
                  <a:lnTo>
                    <a:pt x="800" y="1389"/>
                  </a:lnTo>
                  <a:lnTo>
                    <a:pt x="813" y="1377"/>
                  </a:lnTo>
                  <a:lnTo>
                    <a:pt x="823" y="1361"/>
                  </a:lnTo>
                  <a:lnTo>
                    <a:pt x="829" y="1344"/>
                  </a:lnTo>
                  <a:lnTo>
                    <a:pt x="839" y="1253"/>
                  </a:lnTo>
                  <a:lnTo>
                    <a:pt x="861" y="1248"/>
                  </a:lnTo>
                  <a:lnTo>
                    <a:pt x="905" y="1235"/>
                  </a:lnTo>
                  <a:lnTo>
                    <a:pt x="948" y="1218"/>
                  </a:lnTo>
                  <a:lnTo>
                    <a:pt x="990" y="1198"/>
                  </a:lnTo>
                  <a:lnTo>
                    <a:pt x="1008" y="1188"/>
                  </a:lnTo>
                  <a:lnTo>
                    <a:pt x="1078" y="1244"/>
                  </a:lnTo>
                  <a:lnTo>
                    <a:pt x="1090" y="1251"/>
                  </a:lnTo>
                  <a:lnTo>
                    <a:pt x="1104" y="1257"/>
                  </a:lnTo>
                  <a:lnTo>
                    <a:pt x="1118" y="1258"/>
                  </a:lnTo>
                  <a:lnTo>
                    <a:pt x="1133" y="1256"/>
                  </a:lnTo>
                  <a:lnTo>
                    <a:pt x="1148" y="1250"/>
                  </a:lnTo>
                  <a:lnTo>
                    <a:pt x="1160" y="1240"/>
                  </a:lnTo>
                  <a:lnTo>
                    <a:pt x="1229" y="1173"/>
                  </a:lnTo>
                  <a:lnTo>
                    <a:pt x="1240" y="1158"/>
                  </a:lnTo>
                  <a:lnTo>
                    <a:pt x="1246" y="1142"/>
                  </a:lnTo>
                  <a:lnTo>
                    <a:pt x="1247" y="1123"/>
                  </a:lnTo>
                  <a:lnTo>
                    <a:pt x="1244" y="1106"/>
                  </a:lnTo>
                  <a:lnTo>
                    <a:pt x="1234" y="1090"/>
                  </a:lnTo>
                  <a:lnTo>
                    <a:pt x="1181" y="1020"/>
                  </a:lnTo>
                  <a:lnTo>
                    <a:pt x="1192" y="1001"/>
                  </a:lnTo>
                  <a:lnTo>
                    <a:pt x="1214" y="961"/>
                  </a:lnTo>
                  <a:lnTo>
                    <a:pt x="1232" y="919"/>
                  </a:lnTo>
                  <a:lnTo>
                    <a:pt x="1246" y="876"/>
                  </a:lnTo>
                  <a:lnTo>
                    <a:pt x="1253" y="855"/>
                  </a:lnTo>
                  <a:lnTo>
                    <a:pt x="1337" y="846"/>
                  </a:lnTo>
                  <a:lnTo>
                    <a:pt x="1355" y="842"/>
                  </a:lnTo>
                  <a:lnTo>
                    <a:pt x="1370" y="832"/>
                  </a:lnTo>
                  <a:lnTo>
                    <a:pt x="1382" y="819"/>
                  </a:lnTo>
                  <a:lnTo>
                    <a:pt x="1390" y="804"/>
                  </a:lnTo>
                  <a:lnTo>
                    <a:pt x="1392" y="785"/>
                  </a:lnTo>
                  <a:lnTo>
                    <a:pt x="1393" y="689"/>
                  </a:lnTo>
                  <a:lnTo>
                    <a:pt x="1391" y="670"/>
                  </a:lnTo>
                  <a:lnTo>
                    <a:pt x="1383" y="654"/>
                  </a:lnTo>
                  <a:lnTo>
                    <a:pt x="1373" y="641"/>
                  </a:lnTo>
                  <a:lnTo>
                    <a:pt x="1357" y="631"/>
                  </a:lnTo>
                  <a:lnTo>
                    <a:pt x="1340" y="626"/>
                  </a:lnTo>
                  <a:lnTo>
                    <a:pt x="1256" y="615"/>
                  </a:lnTo>
                  <a:lnTo>
                    <a:pt x="1251" y="594"/>
                  </a:lnTo>
                  <a:lnTo>
                    <a:pt x="1239" y="550"/>
                  </a:lnTo>
                  <a:lnTo>
                    <a:pt x="1222" y="509"/>
                  </a:lnTo>
                  <a:lnTo>
                    <a:pt x="1202" y="468"/>
                  </a:lnTo>
                  <a:lnTo>
                    <a:pt x="1192" y="450"/>
                  </a:lnTo>
                  <a:lnTo>
                    <a:pt x="1244" y="385"/>
                  </a:lnTo>
                  <a:lnTo>
                    <a:pt x="1253" y="370"/>
                  </a:lnTo>
                  <a:lnTo>
                    <a:pt x="1257" y="353"/>
                  </a:lnTo>
                  <a:lnTo>
                    <a:pt x="1256" y="335"/>
                  </a:lnTo>
                  <a:lnTo>
                    <a:pt x="1251" y="318"/>
                  </a:lnTo>
                  <a:lnTo>
                    <a:pt x="1240" y="302"/>
                  </a:lnTo>
                  <a:lnTo>
                    <a:pt x="1173" y="234"/>
                  </a:lnTo>
                  <a:lnTo>
                    <a:pt x="1160" y="224"/>
                  </a:lnTo>
                  <a:lnTo>
                    <a:pt x="1145" y="217"/>
                  </a:lnTo>
                  <a:lnTo>
                    <a:pt x="1129" y="215"/>
                  </a:lnTo>
                  <a:lnTo>
                    <a:pt x="1115" y="216"/>
                  </a:lnTo>
                  <a:lnTo>
                    <a:pt x="1102" y="222"/>
                  </a:lnTo>
                  <a:lnTo>
                    <a:pt x="1091" y="228"/>
                  </a:lnTo>
                  <a:lnTo>
                    <a:pt x="1027" y="277"/>
                  </a:lnTo>
                  <a:lnTo>
                    <a:pt x="1008" y="265"/>
                  </a:lnTo>
                  <a:lnTo>
                    <a:pt x="967" y="244"/>
                  </a:lnTo>
                  <a:lnTo>
                    <a:pt x="923" y="224"/>
                  </a:lnTo>
                  <a:lnTo>
                    <a:pt x="879" y="210"/>
                  </a:lnTo>
                  <a:lnTo>
                    <a:pt x="858" y="203"/>
                  </a:lnTo>
                  <a:lnTo>
                    <a:pt x="849" y="122"/>
                  </a:lnTo>
                  <a:lnTo>
                    <a:pt x="845" y="104"/>
                  </a:lnTo>
                  <a:lnTo>
                    <a:pt x="835" y="88"/>
                  </a:lnTo>
                  <a:lnTo>
                    <a:pt x="822" y="76"/>
                  </a:lnTo>
                  <a:lnTo>
                    <a:pt x="807" y="69"/>
                  </a:lnTo>
                  <a:lnTo>
                    <a:pt x="788" y="66"/>
                  </a:lnTo>
                  <a:lnTo>
                    <a:pt x="692" y="64"/>
                  </a:lnTo>
                  <a:close/>
                  <a:moveTo>
                    <a:pt x="692" y="0"/>
                  </a:moveTo>
                  <a:lnTo>
                    <a:pt x="694" y="0"/>
                  </a:lnTo>
                  <a:lnTo>
                    <a:pt x="788" y="1"/>
                  </a:lnTo>
                  <a:lnTo>
                    <a:pt x="816" y="4"/>
                  </a:lnTo>
                  <a:lnTo>
                    <a:pt x="841" y="13"/>
                  </a:lnTo>
                  <a:lnTo>
                    <a:pt x="862" y="26"/>
                  </a:lnTo>
                  <a:lnTo>
                    <a:pt x="882" y="44"/>
                  </a:lnTo>
                  <a:lnTo>
                    <a:pt x="897" y="64"/>
                  </a:lnTo>
                  <a:lnTo>
                    <a:pt x="908" y="88"/>
                  </a:lnTo>
                  <a:lnTo>
                    <a:pt x="913" y="116"/>
                  </a:lnTo>
                  <a:lnTo>
                    <a:pt x="917" y="154"/>
                  </a:lnTo>
                  <a:lnTo>
                    <a:pt x="971" y="174"/>
                  </a:lnTo>
                  <a:lnTo>
                    <a:pt x="1022" y="200"/>
                  </a:lnTo>
                  <a:lnTo>
                    <a:pt x="1051" y="177"/>
                  </a:lnTo>
                  <a:lnTo>
                    <a:pt x="1074" y="163"/>
                  </a:lnTo>
                  <a:lnTo>
                    <a:pt x="1101" y="154"/>
                  </a:lnTo>
                  <a:lnTo>
                    <a:pt x="1129" y="151"/>
                  </a:lnTo>
                  <a:lnTo>
                    <a:pt x="1154" y="153"/>
                  </a:lnTo>
                  <a:lnTo>
                    <a:pt x="1178" y="161"/>
                  </a:lnTo>
                  <a:lnTo>
                    <a:pt x="1200" y="173"/>
                  </a:lnTo>
                  <a:lnTo>
                    <a:pt x="1219" y="189"/>
                  </a:lnTo>
                  <a:lnTo>
                    <a:pt x="1286" y="258"/>
                  </a:lnTo>
                  <a:lnTo>
                    <a:pt x="1303" y="278"/>
                  </a:lnTo>
                  <a:lnTo>
                    <a:pt x="1314" y="302"/>
                  </a:lnTo>
                  <a:lnTo>
                    <a:pt x="1320" y="328"/>
                  </a:lnTo>
                  <a:lnTo>
                    <a:pt x="1321" y="354"/>
                  </a:lnTo>
                  <a:lnTo>
                    <a:pt x="1318" y="379"/>
                  </a:lnTo>
                  <a:lnTo>
                    <a:pt x="1308" y="404"/>
                  </a:lnTo>
                  <a:lnTo>
                    <a:pt x="1294" y="427"/>
                  </a:lnTo>
                  <a:lnTo>
                    <a:pt x="1269" y="458"/>
                  </a:lnTo>
                  <a:lnTo>
                    <a:pt x="1290" y="506"/>
                  </a:lnTo>
                  <a:lnTo>
                    <a:pt x="1307" y="557"/>
                  </a:lnTo>
                  <a:lnTo>
                    <a:pt x="1348" y="562"/>
                  </a:lnTo>
                  <a:lnTo>
                    <a:pt x="1374" y="568"/>
                  </a:lnTo>
                  <a:lnTo>
                    <a:pt x="1398" y="580"/>
                  </a:lnTo>
                  <a:lnTo>
                    <a:pt x="1418" y="595"/>
                  </a:lnTo>
                  <a:lnTo>
                    <a:pt x="1436" y="615"/>
                  </a:lnTo>
                  <a:lnTo>
                    <a:pt x="1448" y="638"/>
                  </a:lnTo>
                  <a:lnTo>
                    <a:pt x="1455" y="663"/>
                  </a:lnTo>
                  <a:lnTo>
                    <a:pt x="1458" y="690"/>
                  </a:lnTo>
                  <a:lnTo>
                    <a:pt x="1457" y="785"/>
                  </a:lnTo>
                  <a:lnTo>
                    <a:pt x="1454" y="812"/>
                  </a:lnTo>
                  <a:lnTo>
                    <a:pt x="1445" y="837"/>
                  </a:lnTo>
                  <a:lnTo>
                    <a:pt x="1432" y="859"/>
                  </a:lnTo>
                  <a:lnTo>
                    <a:pt x="1415" y="879"/>
                  </a:lnTo>
                  <a:lnTo>
                    <a:pt x="1394" y="894"/>
                  </a:lnTo>
                  <a:lnTo>
                    <a:pt x="1370" y="905"/>
                  </a:lnTo>
                  <a:lnTo>
                    <a:pt x="1343" y="911"/>
                  </a:lnTo>
                  <a:lnTo>
                    <a:pt x="1302" y="915"/>
                  </a:lnTo>
                  <a:lnTo>
                    <a:pt x="1282" y="966"/>
                  </a:lnTo>
                  <a:lnTo>
                    <a:pt x="1258" y="1015"/>
                  </a:lnTo>
                  <a:lnTo>
                    <a:pt x="1286" y="1050"/>
                  </a:lnTo>
                  <a:lnTo>
                    <a:pt x="1300" y="1073"/>
                  </a:lnTo>
                  <a:lnTo>
                    <a:pt x="1308" y="1098"/>
                  </a:lnTo>
                  <a:lnTo>
                    <a:pt x="1313" y="1125"/>
                  </a:lnTo>
                  <a:lnTo>
                    <a:pt x="1311" y="1150"/>
                  </a:lnTo>
                  <a:lnTo>
                    <a:pt x="1303" y="1175"/>
                  </a:lnTo>
                  <a:lnTo>
                    <a:pt x="1291" y="1199"/>
                  </a:lnTo>
                  <a:lnTo>
                    <a:pt x="1275" y="1220"/>
                  </a:lnTo>
                  <a:lnTo>
                    <a:pt x="1206" y="1286"/>
                  </a:lnTo>
                  <a:lnTo>
                    <a:pt x="1187" y="1301"/>
                  </a:lnTo>
                  <a:lnTo>
                    <a:pt x="1165" y="1313"/>
                  </a:lnTo>
                  <a:lnTo>
                    <a:pt x="1142" y="1320"/>
                  </a:lnTo>
                  <a:lnTo>
                    <a:pt x="1118" y="1322"/>
                  </a:lnTo>
                  <a:lnTo>
                    <a:pt x="1096" y="1321"/>
                  </a:lnTo>
                  <a:lnTo>
                    <a:pt x="1076" y="1316"/>
                  </a:lnTo>
                  <a:lnTo>
                    <a:pt x="1056" y="1306"/>
                  </a:lnTo>
                  <a:lnTo>
                    <a:pt x="1037" y="1294"/>
                  </a:lnTo>
                  <a:lnTo>
                    <a:pt x="1002" y="1264"/>
                  </a:lnTo>
                  <a:lnTo>
                    <a:pt x="950" y="1287"/>
                  </a:lnTo>
                  <a:lnTo>
                    <a:pt x="898" y="1305"/>
                  </a:lnTo>
                  <a:lnTo>
                    <a:pt x="892" y="1353"/>
                  </a:lnTo>
                  <a:lnTo>
                    <a:pt x="886" y="1378"/>
                  </a:lnTo>
                  <a:lnTo>
                    <a:pt x="874" y="1402"/>
                  </a:lnTo>
                  <a:lnTo>
                    <a:pt x="859" y="1423"/>
                  </a:lnTo>
                  <a:lnTo>
                    <a:pt x="841" y="1439"/>
                  </a:lnTo>
                  <a:lnTo>
                    <a:pt x="818" y="1452"/>
                  </a:lnTo>
                  <a:lnTo>
                    <a:pt x="794" y="1461"/>
                  </a:lnTo>
                  <a:lnTo>
                    <a:pt x="767" y="1463"/>
                  </a:lnTo>
                  <a:lnTo>
                    <a:pt x="764" y="1463"/>
                  </a:lnTo>
                  <a:lnTo>
                    <a:pt x="670" y="1462"/>
                  </a:lnTo>
                  <a:lnTo>
                    <a:pt x="643" y="1459"/>
                  </a:lnTo>
                  <a:lnTo>
                    <a:pt x="618" y="1451"/>
                  </a:lnTo>
                  <a:lnTo>
                    <a:pt x="596" y="1437"/>
                  </a:lnTo>
                  <a:lnTo>
                    <a:pt x="576" y="1420"/>
                  </a:lnTo>
                  <a:lnTo>
                    <a:pt x="561" y="1399"/>
                  </a:lnTo>
                  <a:lnTo>
                    <a:pt x="550" y="1375"/>
                  </a:lnTo>
                  <a:lnTo>
                    <a:pt x="545" y="1348"/>
                  </a:lnTo>
                  <a:lnTo>
                    <a:pt x="539" y="1296"/>
                  </a:lnTo>
                  <a:lnTo>
                    <a:pt x="492" y="1278"/>
                  </a:lnTo>
                  <a:lnTo>
                    <a:pt x="447" y="1256"/>
                  </a:lnTo>
                  <a:lnTo>
                    <a:pt x="406" y="1286"/>
                  </a:lnTo>
                  <a:lnTo>
                    <a:pt x="384" y="1300"/>
                  </a:lnTo>
                  <a:lnTo>
                    <a:pt x="358" y="1310"/>
                  </a:lnTo>
                  <a:lnTo>
                    <a:pt x="329" y="1312"/>
                  </a:lnTo>
                  <a:lnTo>
                    <a:pt x="329" y="1312"/>
                  </a:lnTo>
                  <a:lnTo>
                    <a:pt x="304" y="1310"/>
                  </a:lnTo>
                  <a:lnTo>
                    <a:pt x="280" y="1303"/>
                  </a:lnTo>
                  <a:lnTo>
                    <a:pt x="259" y="1291"/>
                  </a:lnTo>
                  <a:lnTo>
                    <a:pt x="239" y="1274"/>
                  </a:lnTo>
                  <a:lnTo>
                    <a:pt x="172" y="1205"/>
                  </a:lnTo>
                  <a:lnTo>
                    <a:pt x="155" y="1185"/>
                  </a:lnTo>
                  <a:lnTo>
                    <a:pt x="144" y="1161"/>
                  </a:lnTo>
                  <a:lnTo>
                    <a:pt x="138" y="1135"/>
                  </a:lnTo>
                  <a:lnTo>
                    <a:pt x="137" y="1110"/>
                  </a:lnTo>
                  <a:lnTo>
                    <a:pt x="140" y="1084"/>
                  </a:lnTo>
                  <a:lnTo>
                    <a:pt x="150" y="1060"/>
                  </a:lnTo>
                  <a:lnTo>
                    <a:pt x="164" y="1037"/>
                  </a:lnTo>
                  <a:lnTo>
                    <a:pt x="197" y="998"/>
                  </a:lnTo>
                  <a:lnTo>
                    <a:pt x="176" y="953"/>
                  </a:lnTo>
                  <a:lnTo>
                    <a:pt x="160" y="908"/>
                  </a:lnTo>
                  <a:lnTo>
                    <a:pt x="111" y="902"/>
                  </a:lnTo>
                  <a:lnTo>
                    <a:pt x="84" y="895"/>
                  </a:lnTo>
                  <a:lnTo>
                    <a:pt x="61" y="884"/>
                  </a:lnTo>
                  <a:lnTo>
                    <a:pt x="40" y="868"/>
                  </a:lnTo>
                  <a:lnTo>
                    <a:pt x="22" y="848"/>
                  </a:lnTo>
                  <a:lnTo>
                    <a:pt x="11" y="827"/>
                  </a:lnTo>
                  <a:lnTo>
                    <a:pt x="3" y="801"/>
                  </a:lnTo>
                  <a:lnTo>
                    <a:pt x="0" y="774"/>
                  </a:lnTo>
                  <a:lnTo>
                    <a:pt x="1" y="678"/>
                  </a:lnTo>
                  <a:lnTo>
                    <a:pt x="4" y="651"/>
                  </a:lnTo>
                  <a:lnTo>
                    <a:pt x="13" y="627"/>
                  </a:lnTo>
                  <a:lnTo>
                    <a:pt x="26" y="604"/>
                  </a:lnTo>
                  <a:lnTo>
                    <a:pt x="43" y="585"/>
                  </a:lnTo>
                  <a:lnTo>
                    <a:pt x="64" y="570"/>
                  </a:lnTo>
                  <a:lnTo>
                    <a:pt x="88" y="559"/>
                  </a:lnTo>
                  <a:lnTo>
                    <a:pt x="115" y="554"/>
                  </a:lnTo>
                  <a:lnTo>
                    <a:pt x="160" y="548"/>
                  </a:lnTo>
                  <a:lnTo>
                    <a:pt x="177" y="498"/>
                  </a:lnTo>
                  <a:lnTo>
                    <a:pt x="200" y="449"/>
                  </a:lnTo>
                  <a:lnTo>
                    <a:pt x="173" y="413"/>
                  </a:lnTo>
                  <a:lnTo>
                    <a:pt x="158" y="390"/>
                  </a:lnTo>
                  <a:lnTo>
                    <a:pt x="150" y="365"/>
                  </a:lnTo>
                  <a:lnTo>
                    <a:pt x="145" y="340"/>
                  </a:lnTo>
                  <a:lnTo>
                    <a:pt x="148" y="313"/>
                  </a:lnTo>
                  <a:lnTo>
                    <a:pt x="154" y="288"/>
                  </a:lnTo>
                  <a:lnTo>
                    <a:pt x="167" y="265"/>
                  </a:lnTo>
                  <a:lnTo>
                    <a:pt x="183" y="245"/>
                  </a:lnTo>
                  <a:lnTo>
                    <a:pt x="253" y="177"/>
                  </a:lnTo>
                  <a:lnTo>
                    <a:pt x="272" y="162"/>
                  </a:lnTo>
                  <a:lnTo>
                    <a:pt x="293" y="150"/>
                  </a:lnTo>
                  <a:lnTo>
                    <a:pt x="316" y="143"/>
                  </a:lnTo>
                  <a:lnTo>
                    <a:pt x="341" y="141"/>
                  </a:lnTo>
                  <a:lnTo>
                    <a:pt x="362" y="142"/>
                  </a:lnTo>
                  <a:lnTo>
                    <a:pt x="384" y="147"/>
                  </a:lnTo>
                  <a:lnTo>
                    <a:pt x="403" y="157"/>
                  </a:lnTo>
                  <a:lnTo>
                    <a:pt x="421" y="169"/>
                  </a:lnTo>
                  <a:lnTo>
                    <a:pt x="451" y="194"/>
                  </a:lnTo>
                  <a:lnTo>
                    <a:pt x="505" y="169"/>
                  </a:lnTo>
                  <a:lnTo>
                    <a:pt x="561" y="150"/>
                  </a:lnTo>
                  <a:lnTo>
                    <a:pt x="566" y="111"/>
                  </a:lnTo>
                  <a:lnTo>
                    <a:pt x="572" y="85"/>
                  </a:lnTo>
                  <a:lnTo>
                    <a:pt x="583" y="61"/>
                  </a:lnTo>
                  <a:lnTo>
                    <a:pt x="599" y="42"/>
                  </a:lnTo>
                  <a:lnTo>
                    <a:pt x="618" y="24"/>
                  </a:lnTo>
                  <a:lnTo>
                    <a:pt x="640" y="11"/>
                  </a:lnTo>
                  <a:lnTo>
                    <a:pt x="664" y="3"/>
                  </a:lnTo>
                  <a:lnTo>
                    <a:pt x="6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15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1B9E076C-15D1-468B-90F5-F1A0EF6EF817}"/>
              </a:ext>
            </a:extLst>
          </p:cNvPr>
          <p:cNvGrpSpPr/>
          <p:nvPr/>
        </p:nvGrpSpPr>
        <p:grpSpPr>
          <a:xfrm>
            <a:off x="6792605" y="4266928"/>
            <a:ext cx="672797" cy="820675"/>
            <a:chOff x="4709342" y="3807234"/>
            <a:chExt cx="504598" cy="615506"/>
          </a:xfrm>
        </p:grpSpPr>
        <p:sp>
          <p:nvSpPr>
            <p:cNvPr id="41" name="Text Placeholder 3">
              <a:extLst>
                <a:ext uri="{FF2B5EF4-FFF2-40B4-BE49-F238E27FC236}">
                  <a16:creationId xmlns:a16="http://schemas.microsoft.com/office/drawing/2014/main" xmlns="" id="{1E9253F5-84BD-41BB-AF5E-114F519FA0EE}"/>
                </a:ext>
              </a:extLst>
            </p:cNvPr>
            <p:cNvSpPr txBox="1">
              <a:spLocks/>
            </p:cNvSpPr>
            <p:nvPr/>
          </p:nvSpPr>
          <p:spPr>
            <a:xfrm>
              <a:off x="4758638" y="3807234"/>
              <a:ext cx="455302" cy="61550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algn="l" rtl="0" fontAlgn="base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defRPr lang="en-US" sz="200" b="0" kern="1200" smtClean="0">
                  <a:solidFill>
                    <a:schemeClr val="bg1">
                      <a:lumMod val="75000"/>
                    </a:schemeClr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389626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2pPr>
              <a:lvl3pPr marL="779252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3pPr>
              <a:lvl4pPr marL="1168878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4pPr>
              <a:lvl5pPr marL="1558503" algn="l" rtl="0" fontAlgn="base">
                <a:spcBef>
                  <a:spcPct val="0"/>
                </a:spcBef>
                <a:spcAft>
                  <a:spcPct val="0"/>
                </a:spcAft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5pPr>
              <a:lvl6pPr marL="1948129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6pPr>
              <a:lvl7pPr marL="2337755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7pPr>
              <a:lvl8pPr marL="2727381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8pPr>
              <a:lvl9pPr marL="3117007" algn="l" defTabSz="779252" rtl="0" eaLnBrk="1" latinLnBrk="0" hangingPunct="1">
                <a:defRPr sz="1100" b="1" kern="1200">
                  <a:solidFill>
                    <a:schemeClr val="tx1"/>
                  </a:solidFill>
                  <a:latin typeface="Arial Narrow" charset="0"/>
                  <a:ea typeface="+mn-ea"/>
                  <a:cs typeface="+mn-cs"/>
                </a:defRPr>
              </a:lvl9pPr>
            </a:lstStyle>
            <a:p>
              <a:r>
                <a:rPr lang="en-GB" sz="5333" dirty="0">
                  <a:solidFill>
                    <a:schemeClr val="accent5"/>
                  </a:solidFill>
                  <a:latin typeface="Arial Unicode MS"/>
                </a:rPr>
                <a:t>✓</a:t>
              </a:r>
              <a:r>
                <a:rPr lang="en-GB" sz="5333" dirty="0">
                  <a:solidFill>
                    <a:schemeClr val="accent5"/>
                  </a:solidFill>
                  <a:latin typeface="Arial Narrow" panose="020B0606020202030204" pitchFamily="34" charset="0"/>
                </a:rPr>
                <a:t> 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DB1E7956-1780-4564-B20A-482CD8861815}"/>
                </a:ext>
              </a:extLst>
            </p:cNvPr>
            <p:cNvSpPr/>
            <p:nvPr/>
          </p:nvSpPr>
          <p:spPr>
            <a:xfrm>
              <a:off x="4709342" y="4031079"/>
              <a:ext cx="360000" cy="360000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6000" tIns="96000" rIns="96000" bIns="96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</a:pPr>
              <a:endParaRPr lang="en-GB" sz="2000" b="0" dirty="0"/>
            </a:p>
          </p:txBody>
        </p:sp>
      </p:grpSp>
      <p:sp>
        <p:nvSpPr>
          <p:cNvPr id="45" name="RbNavigator">
            <a:extLst>
              <a:ext uri="{FF2B5EF4-FFF2-40B4-BE49-F238E27FC236}">
                <a16:creationId xmlns:a16="http://schemas.microsoft.com/office/drawing/2014/main" xmlns="" id="{3AD10A08-3B91-45A6-9F02-C97E66631249}"/>
              </a:ext>
            </a:extLst>
          </p:cNvPr>
          <p:cNvSpPr txBox="1"/>
          <p:nvPr/>
        </p:nvSpPr>
        <p:spPr>
          <a:xfrm>
            <a:off x="2820927" y="1"/>
            <a:ext cx="288000" cy="288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+mn-lt"/>
                <a:sym typeface="+mn-lt"/>
              </a:rPr>
              <a:t>3</a:t>
            </a:r>
          </a:p>
        </p:txBody>
      </p:sp>
      <p:sp>
        <p:nvSpPr>
          <p:cNvPr id="46" name="RbSticker">
            <a:extLst>
              <a:ext uri="{FF2B5EF4-FFF2-40B4-BE49-F238E27FC236}">
                <a16:creationId xmlns:a16="http://schemas.microsoft.com/office/drawing/2014/main" xmlns="" id="{912637B8-F480-445A-A0A0-4F986489340C}"/>
              </a:ext>
            </a:extLst>
          </p:cNvPr>
          <p:cNvSpPr txBox="1"/>
          <p:nvPr/>
        </p:nvSpPr>
        <p:spPr>
          <a:xfrm>
            <a:off x="3188804" y="50931"/>
            <a:ext cx="1332427" cy="23980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700" dirty="0" err="1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Hoja</a:t>
            </a:r>
            <a:r>
              <a:rPr lang="en-GB" sz="17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de </a:t>
            </a:r>
            <a:r>
              <a:rPr lang="en-GB" sz="1700" dirty="0" err="1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Ruta</a:t>
            </a:r>
            <a:endParaRPr lang="en-GB" sz="17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43" name="rbStamp_Illustrative">
            <a:extLst>
              <a:ext uri="{FF2B5EF4-FFF2-40B4-BE49-F238E27FC236}">
                <a16:creationId xmlns:a16="http://schemas.microsoft.com/office/drawing/2014/main" xmlns="" id="{33C2F49D-4E37-4C5A-BC47-6B49E48C9DEF}"/>
              </a:ext>
            </a:extLst>
          </p:cNvPr>
          <p:cNvSpPr txBox="1"/>
          <p:nvPr/>
        </p:nvSpPr>
        <p:spPr>
          <a:xfrm>
            <a:off x="9346437" y="1180227"/>
            <a:ext cx="2793204" cy="526274"/>
          </a:xfrm>
          <a:prstGeom prst="rect">
            <a:avLst/>
          </a:prstGeom>
          <a:noFill/>
          <a:ln w="15875" cmpd="sng">
            <a:solidFill>
              <a:schemeClr val="accent5"/>
            </a:solidFill>
          </a:ln>
        </p:spPr>
        <p:txBody>
          <a:bodyPr vert="horz" wrap="square" lIns="96000" tIns="96000" rIns="96000" bIns="96000" rtlCol="0" anchor="ctr">
            <a:sp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GB" sz="1200" dirty="0">
                <a:solidFill>
                  <a:schemeClr val="accent5"/>
                </a:solidFill>
                <a:latin typeface="+mn-lt"/>
                <a:sym typeface="+mn-lt"/>
              </a:rPr>
              <a:t>Further details to be communicated in the course of the projec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8655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0326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F645DFF8-A4C3-441F-AB6E-42D879F183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278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1"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EA24E951-CB70-48F1-BC99-9FB41423B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fr-BE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Subtitle">
            <a:extLst>
              <a:ext uri="{FF2B5EF4-FFF2-40B4-BE49-F238E27FC236}">
                <a16:creationId xmlns:a16="http://schemas.microsoft.com/office/drawing/2014/main" xmlns="" id="{E4A7E2F1-BC43-4AE5-A32B-B0BC4B852682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5262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l seminario </a:t>
            </a: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s </a:t>
            </a: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l punto de partida de todo el itinerario para compartir los resultados de la fase anterior y lanzar la siguiente</a:t>
            </a:r>
            <a:endParaRPr lang="en-US" sz="1900" b="0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6ED131D1-A02D-4461-AE61-80783C3DE2E7}"/>
              </a:ext>
            </a:extLst>
          </p:cNvPr>
          <p:cNvGrpSpPr/>
          <p:nvPr/>
        </p:nvGrpSpPr>
        <p:grpSpPr>
          <a:xfrm>
            <a:off x="3568498" y="1629040"/>
            <a:ext cx="7696350" cy="3092128"/>
            <a:chOff x="3348752" y="1629040"/>
            <a:chExt cx="7696350" cy="3092128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xmlns="" id="{296C226F-D1C4-4C6E-BAE0-B4E5719D596C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348752" y="2253458"/>
              <a:ext cx="436273" cy="128581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vert270" wrap="square" lIns="0" tIns="0" rIns="0" bIns="0" rtlCol="0" anchor="t" anchorCtr="0">
              <a:spAutoFit/>
            </a:bodyPr>
            <a:lstStyle/>
            <a:p>
              <a:pPr algn="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sz="105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Servicios</a:t>
              </a:r>
              <a:r>
                <a:rPr lang="en-GB" sz="105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sz="105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Asesoramiento</a:t>
              </a:r>
              <a:r>
                <a:rPr lang="en-GB" sz="1050" dirty="0">
                  <a:latin typeface="Helvetica" panose="020B0604020202020204" pitchFamily="34" charset="0"/>
                  <a:cs typeface="Helvetica" panose="020B0604020202020204" pitchFamily="34" charset="0"/>
                </a:rPr>
                <a:t> Técnico</a:t>
              </a:r>
              <a:endParaRPr lang="en-GB" sz="105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5E2C13DC-853B-47C1-858A-4D592CBA08A9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348752" y="3752312"/>
              <a:ext cx="180049" cy="78867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vert270" wrap="square" lIns="0" tIns="0" rIns="0" bIns="0" rtlCol="0" anchor="t" anchorCtr="0">
              <a:spAutoFit/>
            </a:bodyPr>
            <a:lstStyle/>
            <a:p>
              <a:pPr algn="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sz="1300" dirty="0">
                  <a:latin typeface="Helvetica" panose="020B0604020202020204" pitchFamily="34" charset="0"/>
                  <a:cs typeface="Helvetica" panose="020B0604020202020204" pitchFamily="34" charset="0"/>
                </a:rPr>
                <a:t>Academia </a:t>
              </a:r>
              <a:endParaRPr lang="en-GB" sz="13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xmlns="" id="{F72F45A3-8E1B-4DBE-94FC-B21E3FE5EDEF}"/>
                </a:ext>
              </a:extLst>
            </p:cNvPr>
            <p:cNvCxnSpPr/>
            <p:nvPr/>
          </p:nvCxnSpPr>
          <p:spPr>
            <a:xfrm>
              <a:off x="3362479" y="3621585"/>
              <a:ext cx="7476384" cy="0"/>
            </a:xfrm>
            <a:prstGeom prst="line">
              <a:avLst/>
            </a:prstGeom>
            <a:ln w="9525" cmpd="sng">
              <a:solidFill>
                <a:schemeClr val="accent3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xmlns="" id="{B5601BC8-85C9-49C2-8672-823D102CE82E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7216391" y="4120548"/>
              <a:ext cx="1383044" cy="56579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Seminario</a:t>
              </a: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Estrategia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5" name="Donut 164">
              <a:extLst>
                <a:ext uri="{FF2B5EF4-FFF2-40B4-BE49-F238E27FC236}">
                  <a16:creationId xmlns:a16="http://schemas.microsoft.com/office/drawing/2014/main" xmlns="" id="{8DB2F103-19BB-4A24-B067-3E3478324494}"/>
                </a:ext>
              </a:extLst>
            </p:cNvPr>
            <p:cNvSpPr>
              <a:spLocks/>
            </p:cNvSpPr>
            <p:nvPr/>
          </p:nvSpPr>
          <p:spPr>
            <a:xfrm>
              <a:off x="7844776" y="3836132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xmlns="" id="{A9159802-AC72-488D-A9D9-09DC24EF2324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8718685" y="4120548"/>
              <a:ext cx="1383044" cy="3600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Seminario</a:t>
              </a: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Hoja</a:t>
              </a: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Ruta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7" name="Donut 164">
              <a:extLst>
                <a:ext uri="{FF2B5EF4-FFF2-40B4-BE49-F238E27FC236}">
                  <a16:creationId xmlns:a16="http://schemas.microsoft.com/office/drawing/2014/main" xmlns="" id="{B6069557-2A3F-4E83-A3FE-5DCC87E955E7}"/>
                </a:ext>
              </a:extLst>
            </p:cNvPr>
            <p:cNvSpPr>
              <a:spLocks/>
            </p:cNvSpPr>
            <p:nvPr/>
          </p:nvSpPr>
          <p:spPr>
            <a:xfrm>
              <a:off x="9346428" y="3836132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7D03F369-C312-4948-84F1-173513E61AD9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4563527" y="4068733"/>
              <a:ext cx="1383044" cy="3600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Seminario</a:t>
              </a: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Inicio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9" name="Donut 164">
              <a:extLst>
                <a:ext uri="{FF2B5EF4-FFF2-40B4-BE49-F238E27FC236}">
                  <a16:creationId xmlns:a16="http://schemas.microsoft.com/office/drawing/2014/main" xmlns="" id="{1C73C49E-CC75-4D74-B93C-02433F38B9D9}"/>
                </a:ext>
              </a:extLst>
            </p:cNvPr>
            <p:cNvSpPr>
              <a:spLocks/>
            </p:cNvSpPr>
            <p:nvPr/>
          </p:nvSpPr>
          <p:spPr>
            <a:xfrm>
              <a:off x="5161997" y="3836132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3212AA94-CCCD-4BFE-A0CF-3D2BEBDE1331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172888" y="2978353"/>
              <a:ext cx="761299" cy="3600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Taller de 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Ambición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1" name="Donut 164">
              <a:extLst>
                <a:ext uri="{FF2B5EF4-FFF2-40B4-BE49-F238E27FC236}">
                  <a16:creationId xmlns:a16="http://schemas.microsoft.com/office/drawing/2014/main" xmlns="" id="{C9273497-9CD7-46C1-9AE4-3188D0F3F491}"/>
                </a:ext>
              </a:extLst>
            </p:cNvPr>
            <p:cNvSpPr>
              <a:spLocks/>
            </p:cNvSpPr>
            <p:nvPr/>
          </p:nvSpPr>
          <p:spPr>
            <a:xfrm>
              <a:off x="6490401" y="2713004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xmlns="" id="{CB5C3329-6BE2-48A0-ABFE-0E8934D64DF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7192901" y="2992943"/>
              <a:ext cx="1165801" cy="3600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Talleres</a:t>
              </a: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Estrategia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3" name="Donut 164">
              <a:extLst>
                <a:ext uri="{FF2B5EF4-FFF2-40B4-BE49-F238E27FC236}">
                  <a16:creationId xmlns:a16="http://schemas.microsoft.com/office/drawing/2014/main" xmlns="" id="{7A4D03FC-19E4-45BC-838D-7F86FDDBA2B0}"/>
                </a:ext>
              </a:extLst>
            </p:cNvPr>
            <p:cNvSpPr>
              <a:spLocks/>
            </p:cNvSpPr>
            <p:nvPr/>
          </p:nvSpPr>
          <p:spPr>
            <a:xfrm>
              <a:off x="7112207" y="2713004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653853D7-2D15-4356-BAE0-590C74D475DB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8315456" y="2992943"/>
              <a:ext cx="1165801" cy="3600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Taller de 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planificación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5" name="Donut 164">
              <a:extLst>
                <a:ext uri="{FF2B5EF4-FFF2-40B4-BE49-F238E27FC236}">
                  <a16:creationId xmlns:a16="http://schemas.microsoft.com/office/drawing/2014/main" xmlns="" id="{A0D533D1-0264-49A0-8AD6-3217341F1341}"/>
                </a:ext>
              </a:extLst>
            </p:cNvPr>
            <p:cNvSpPr>
              <a:spLocks/>
            </p:cNvSpPr>
            <p:nvPr/>
          </p:nvSpPr>
          <p:spPr>
            <a:xfrm>
              <a:off x="8824457" y="2713004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xmlns="" id="{3306C58D-944E-4FA5-B75E-B82AC9CEA8F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5524575" y="2988207"/>
              <a:ext cx="592428" cy="49859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sz="12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Visita</a:t>
              </a:r>
              <a:r>
                <a:rPr lang="en-GB" sz="12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sz="12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evalua</a:t>
              </a:r>
              <a:r>
                <a:rPr lang="en-GB" sz="12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-</a:t>
              </a:r>
              <a:r>
                <a:rPr lang="en-GB" sz="12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ción</a:t>
              </a:r>
              <a:endParaRPr lang="en-GB" sz="12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7" name="Donut 164">
              <a:extLst>
                <a:ext uri="{FF2B5EF4-FFF2-40B4-BE49-F238E27FC236}">
                  <a16:creationId xmlns:a16="http://schemas.microsoft.com/office/drawing/2014/main" xmlns="" id="{32457D09-25CF-40DD-AFB4-4DC3BF4B5EF5}"/>
                </a:ext>
              </a:extLst>
            </p:cNvPr>
            <p:cNvSpPr>
              <a:spLocks/>
            </p:cNvSpPr>
            <p:nvPr/>
          </p:nvSpPr>
          <p:spPr>
            <a:xfrm>
              <a:off x="5797842" y="2713004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FD2F40B3-6750-45B7-BBE0-97004C06A29E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5093098" y="2985575"/>
              <a:ext cx="390345" cy="54014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SAT &amp; KPIs</a:t>
              </a:r>
            </a:p>
          </p:txBody>
        </p:sp>
        <p:sp>
          <p:nvSpPr>
            <p:cNvPr id="59" name="Donut 164">
              <a:extLst>
                <a:ext uri="{FF2B5EF4-FFF2-40B4-BE49-F238E27FC236}">
                  <a16:creationId xmlns:a16="http://schemas.microsoft.com/office/drawing/2014/main" xmlns="" id="{76D7C29D-45B6-42D6-833A-F36460842A65}"/>
                </a:ext>
              </a:extLst>
            </p:cNvPr>
            <p:cNvSpPr>
              <a:spLocks/>
            </p:cNvSpPr>
            <p:nvPr/>
          </p:nvSpPr>
          <p:spPr>
            <a:xfrm>
              <a:off x="5255049" y="2713004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0" name="Donut 164">
              <a:extLst>
                <a:ext uri="{FF2B5EF4-FFF2-40B4-BE49-F238E27FC236}">
                  <a16:creationId xmlns:a16="http://schemas.microsoft.com/office/drawing/2014/main" xmlns="" id="{A01FC154-0A1F-4EC2-9AC6-B4BFC69846A9}"/>
                </a:ext>
              </a:extLst>
            </p:cNvPr>
            <p:cNvSpPr>
              <a:spLocks/>
            </p:cNvSpPr>
            <p:nvPr/>
          </p:nvSpPr>
          <p:spPr>
            <a:xfrm>
              <a:off x="7416674" y="2713004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41E38E17-8937-4A43-BA8E-5AD9FA1C4697}"/>
                </a:ext>
              </a:extLst>
            </p:cNvPr>
            <p:cNvCxnSpPr>
              <a:stCxn id="53" idx="3"/>
              <a:endCxn id="60" idx="1"/>
            </p:cNvCxnSpPr>
            <p:nvPr/>
          </p:nvCxnSpPr>
          <p:spPr>
            <a:xfrm>
              <a:off x="7238481" y="2827495"/>
              <a:ext cx="178193" cy="0"/>
            </a:xfrm>
            <a:prstGeom prst="line">
              <a:avLst/>
            </a:prstGeom>
            <a:ln w="15875" cmpd="sng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bLeanShape Arrow Chevron Option 1 016">
              <a:extLst>
                <a:ext uri="{FF2B5EF4-FFF2-40B4-BE49-F238E27FC236}">
                  <a16:creationId xmlns:a16="http://schemas.microsoft.com/office/drawing/2014/main" xmlns="" id="{3E4DA610-3945-43A7-9050-8E346150AE50}"/>
                </a:ext>
              </a:extLst>
            </p:cNvPr>
            <p:cNvSpPr>
              <a:spLocks/>
            </p:cNvSpPr>
            <p:nvPr/>
          </p:nvSpPr>
          <p:spPr>
            <a:xfrm>
              <a:off x="5156683" y="1629040"/>
              <a:ext cx="1548000" cy="576000"/>
            </a:xfrm>
            <a:prstGeom prst="chevron">
              <a:avLst/>
            </a:prstGeom>
            <a:solidFill>
              <a:schemeClr val="bg1"/>
            </a:solidFill>
            <a:ln w="22225" cap="flat" cmpd="sng" algn="ctr">
              <a:solidFill>
                <a:schemeClr val="accent6"/>
              </a:solidFill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179705" tIns="0" rIns="0" bIns="0" rtlCol="0" anchor="ctr"/>
            <a:lstStyle/>
            <a:p>
              <a:pPr>
                <a:lnSpc>
                  <a:spcPct val="90000"/>
                </a:lnSpc>
                <a:spcBef>
                  <a:spcPts val="0"/>
                </a:spcBef>
              </a:pP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Visión</a:t>
              </a: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igital </a:t>
              </a:r>
              <a:r>
                <a:rPr lang="en-GB" sz="13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/>
              </a:r>
              <a:br>
                <a:rPr lang="en-GB" sz="1300" b="0" dirty="0">
                  <a:latin typeface="Helvetica" panose="020B0604020202020204" pitchFamily="34" charset="0"/>
                  <a:cs typeface="Helvetica" panose="020B0604020202020204" pitchFamily="34" charset="0"/>
                </a:rPr>
              </a:br>
              <a:r>
                <a:rPr lang="en-GB" sz="13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&amp; meta</a:t>
              </a:r>
            </a:p>
          </p:txBody>
        </p:sp>
        <p:sp>
          <p:nvSpPr>
            <p:cNvPr id="63" name="RbLeanShape Arrow Chevron Option 1 118">
              <a:extLst>
                <a:ext uri="{FF2B5EF4-FFF2-40B4-BE49-F238E27FC236}">
                  <a16:creationId xmlns:a16="http://schemas.microsoft.com/office/drawing/2014/main" xmlns="" id="{DB79AB23-1F7F-47A8-A522-A4606D466ABF}"/>
                </a:ext>
              </a:extLst>
            </p:cNvPr>
            <p:cNvSpPr>
              <a:spLocks/>
            </p:cNvSpPr>
            <p:nvPr/>
          </p:nvSpPr>
          <p:spPr>
            <a:xfrm>
              <a:off x="6603488" y="1629040"/>
              <a:ext cx="1548000" cy="576000"/>
            </a:xfrm>
            <a:prstGeom prst="chevron">
              <a:avLst/>
            </a:prstGeom>
            <a:solidFill>
              <a:schemeClr val="bg1"/>
            </a:solidFill>
            <a:ln w="22225" cap="flat" cmpd="sng" algn="ctr">
              <a:solidFill>
                <a:schemeClr val="accent6"/>
              </a:solidFill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79705" tIns="0" rIns="0" bIns="0" rtlCol="0" anchor="ctr"/>
            <a:lstStyle/>
            <a:p>
              <a:pPr>
                <a:lnSpc>
                  <a:spcPct val="90000"/>
                </a:lnSpc>
                <a:spcBef>
                  <a:spcPts val="0"/>
                </a:spcBef>
              </a:pP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Estrategia</a:t>
              </a: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 </a:t>
              </a:r>
              <a:endParaRPr lang="en-GB" sz="13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4" name="RbLeanShape Arrow Chevron Option 1 220">
              <a:extLst>
                <a:ext uri="{FF2B5EF4-FFF2-40B4-BE49-F238E27FC236}">
                  <a16:creationId xmlns:a16="http://schemas.microsoft.com/office/drawing/2014/main" xmlns="" id="{075DBB7A-AE2A-44C1-AADC-E9D07AC316AF}"/>
                </a:ext>
              </a:extLst>
            </p:cNvPr>
            <p:cNvSpPr>
              <a:spLocks/>
            </p:cNvSpPr>
            <p:nvPr/>
          </p:nvSpPr>
          <p:spPr>
            <a:xfrm>
              <a:off x="8050295" y="1629040"/>
              <a:ext cx="1548000" cy="576000"/>
            </a:xfrm>
            <a:prstGeom prst="chevron">
              <a:avLst/>
            </a:prstGeom>
            <a:solidFill>
              <a:schemeClr val="bg1"/>
            </a:solidFill>
            <a:ln w="22225" cap="flat" cmpd="sng" algn="ctr">
              <a:solidFill>
                <a:schemeClr val="accent6"/>
              </a:solidFill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79705" tIns="0" rIns="0" bIns="0" rtlCol="0" anchor="ctr"/>
            <a:lstStyle/>
            <a:p>
              <a:pPr>
                <a:lnSpc>
                  <a:spcPct val="90000"/>
                </a:lnSpc>
                <a:spcBef>
                  <a:spcPts val="0"/>
                </a:spcBef>
              </a:pPr>
              <a:r>
                <a:rPr lang="en-GB" sz="13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Hoja</a:t>
              </a:r>
              <a:r>
                <a:rPr lang="en-GB" sz="13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sz="13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Ruta</a:t>
              </a:r>
              <a:r>
                <a:rPr lang="en-GB" sz="13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</a:t>
              </a:r>
            </a:p>
          </p:txBody>
        </p:sp>
        <p:sp>
          <p:nvSpPr>
            <p:cNvPr id="65" name="RbLeanShape Arrow Chevron Option 1 322">
              <a:extLst>
                <a:ext uri="{FF2B5EF4-FFF2-40B4-BE49-F238E27FC236}">
                  <a16:creationId xmlns:a16="http://schemas.microsoft.com/office/drawing/2014/main" xmlns="" id="{13942B62-E726-4290-83A7-EAE59811D507}"/>
                </a:ext>
              </a:extLst>
            </p:cNvPr>
            <p:cNvSpPr>
              <a:spLocks/>
            </p:cNvSpPr>
            <p:nvPr/>
          </p:nvSpPr>
          <p:spPr>
            <a:xfrm>
              <a:off x="9497102" y="1629040"/>
              <a:ext cx="1548000" cy="576000"/>
            </a:xfrm>
            <a:prstGeom prst="chevron">
              <a:avLst/>
            </a:prstGeom>
            <a:solidFill>
              <a:schemeClr val="bg1"/>
            </a:solidFill>
            <a:ln w="22225" cap="flat" cmpd="sng" algn="ctr">
              <a:solidFill>
                <a:schemeClr val="accent6"/>
              </a:solidFill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179705" tIns="0" rIns="0" bIns="0" rtlCol="0" anchor="ctr"/>
            <a:lstStyle/>
            <a:p>
              <a:pPr>
                <a:lnSpc>
                  <a:spcPct val="90000"/>
                </a:lnSpc>
                <a:spcBef>
                  <a:spcPts val="0"/>
                </a:spcBef>
              </a:pP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Seguimiento</a:t>
              </a:r>
              <a:r>
                <a:rPr lang="en-GB" sz="13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/>
              </a:r>
              <a:br>
                <a:rPr lang="en-GB" sz="1300" b="0" dirty="0">
                  <a:latin typeface="Helvetica" panose="020B0604020202020204" pitchFamily="34" charset="0"/>
                  <a:cs typeface="Helvetica" panose="020B0604020202020204" pitchFamily="34" charset="0"/>
                </a:rPr>
              </a:br>
              <a:r>
                <a:rPr lang="en-GB" sz="13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&amp; </a:t>
              </a:r>
              <a:r>
                <a:rPr lang="en-GB" sz="13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E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jecución</a:t>
              </a:r>
              <a:endParaRPr lang="en-GB" sz="13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6" name="RbNavigator">
              <a:extLst>
                <a:ext uri="{FF2B5EF4-FFF2-40B4-BE49-F238E27FC236}">
                  <a16:creationId xmlns:a16="http://schemas.microsoft.com/office/drawing/2014/main" xmlns="" id="{645004BB-53E2-4DD6-94D3-60091CA51543}"/>
                </a:ext>
              </a:extLst>
            </p:cNvPr>
            <p:cNvSpPr txBox="1">
              <a:spLocks/>
            </p:cNvSpPr>
            <p:nvPr/>
          </p:nvSpPr>
          <p:spPr>
            <a:xfrm>
              <a:off x="5372684" y="1629040"/>
              <a:ext cx="216000" cy="21600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tx1"/>
                </a:buClr>
                <a:buSzPct val="100000"/>
              </a:pPr>
              <a:r>
                <a:rPr kumimoji="1" lang="en-GB" dirty="0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1</a:t>
              </a:r>
            </a:p>
          </p:txBody>
        </p:sp>
        <p:sp>
          <p:nvSpPr>
            <p:cNvPr id="67" name="RbNavigator">
              <a:extLst>
                <a:ext uri="{FF2B5EF4-FFF2-40B4-BE49-F238E27FC236}">
                  <a16:creationId xmlns:a16="http://schemas.microsoft.com/office/drawing/2014/main" xmlns="" id="{1E676E5C-D426-4FB9-B8F8-2F5AC4289784}"/>
                </a:ext>
              </a:extLst>
            </p:cNvPr>
            <p:cNvSpPr txBox="1">
              <a:spLocks/>
            </p:cNvSpPr>
            <p:nvPr/>
          </p:nvSpPr>
          <p:spPr>
            <a:xfrm>
              <a:off x="6819490" y="1629040"/>
              <a:ext cx="216000" cy="21600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tx1"/>
                </a:buClr>
                <a:buSzPct val="100000"/>
              </a:pPr>
              <a:r>
                <a:rPr kumimoji="1" lang="en-GB" dirty="0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2</a:t>
              </a:r>
            </a:p>
          </p:txBody>
        </p:sp>
        <p:sp>
          <p:nvSpPr>
            <p:cNvPr id="68" name="RbNavigator">
              <a:extLst>
                <a:ext uri="{FF2B5EF4-FFF2-40B4-BE49-F238E27FC236}">
                  <a16:creationId xmlns:a16="http://schemas.microsoft.com/office/drawing/2014/main" xmlns="" id="{B5596FA4-91B8-417F-8AAE-834CA9A59C6A}"/>
                </a:ext>
              </a:extLst>
            </p:cNvPr>
            <p:cNvSpPr txBox="1">
              <a:spLocks/>
            </p:cNvSpPr>
            <p:nvPr/>
          </p:nvSpPr>
          <p:spPr>
            <a:xfrm>
              <a:off x="8266296" y="1629040"/>
              <a:ext cx="216000" cy="21600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tx1"/>
                </a:buClr>
                <a:buSzPct val="100000"/>
              </a:pPr>
              <a:r>
                <a:rPr kumimoji="1" lang="en-GB" dirty="0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3</a:t>
              </a:r>
            </a:p>
          </p:txBody>
        </p:sp>
        <p:sp>
          <p:nvSpPr>
            <p:cNvPr id="69" name="RbNavigator">
              <a:extLst>
                <a:ext uri="{FF2B5EF4-FFF2-40B4-BE49-F238E27FC236}">
                  <a16:creationId xmlns:a16="http://schemas.microsoft.com/office/drawing/2014/main" xmlns="" id="{8F24ED2C-9ED1-4AD5-A3AE-5A2FB8589E70}"/>
                </a:ext>
              </a:extLst>
            </p:cNvPr>
            <p:cNvSpPr txBox="1">
              <a:spLocks/>
            </p:cNvSpPr>
            <p:nvPr/>
          </p:nvSpPr>
          <p:spPr>
            <a:xfrm>
              <a:off x="9713103" y="1629040"/>
              <a:ext cx="216000" cy="21600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tx1"/>
                </a:buClr>
                <a:buSzPct val="100000"/>
              </a:pPr>
              <a:r>
                <a:rPr kumimoji="1" lang="en-GB" dirty="0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4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90E5ECA0-1CA9-4470-81B8-B7BA0A372277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9546908" y="2992943"/>
              <a:ext cx="1165801" cy="3600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Taller de 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seguimiento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1" name="Donut 164">
              <a:extLst>
                <a:ext uri="{FF2B5EF4-FFF2-40B4-BE49-F238E27FC236}">
                  <a16:creationId xmlns:a16="http://schemas.microsoft.com/office/drawing/2014/main" xmlns="" id="{719458C1-0A1D-4F4F-A2DD-0BAB22F43AE1}"/>
                </a:ext>
              </a:extLst>
            </p:cNvPr>
            <p:cNvSpPr>
              <a:spLocks/>
            </p:cNvSpPr>
            <p:nvPr/>
          </p:nvSpPr>
          <p:spPr>
            <a:xfrm>
              <a:off x="10066672" y="2713004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2" name="Donut 164">
              <a:extLst>
                <a:ext uri="{FF2B5EF4-FFF2-40B4-BE49-F238E27FC236}">
                  <a16:creationId xmlns:a16="http://schemas.microsoft.com/office/drawing/2014/main" xmlns="" id="{077E7AE3-4A16-4BA9-A8C1-97CC3F3135CC}"/>
                </a:ext>
              </a:extLst>
            </p:cNvPr>
            <p:cNvSpPr>
              <a:spLocks/>
            </p:cNvSpPr>
            <p:nvPr/>
          </p:nvSpPr>
          <p:spPr>
            <a:xfrm>
              <a:off x="7721141" y="2713004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xmlns="" id="{2B4177F0-120C-4B6A-BF6C-64611A73CC74}"/>
                </a:ext>
              </a:extLst>
            </p:cNvPr>
            <p:cNvCxnSpPr>
              <a:endCxn id="72" idx="1"/>
            </p:cNvCxnSpPr>
            <p:nvPr/>
          </p:nvCxnSpPr>
          <p:spPr>
            <a:xfrm>
              <a:off x="7542948" y="2827495"/>
              <a:ext cx="178193" cy="0"/>
            </a:xfrm>
            <a:prstGeom prst="line">
              <a:avLst/>
            </a:prstGeom>
            <a:ln w="15875" cmpd="sng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60B7E007-C310-4F4B-BEC2-9193989C5092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5869553" y="4120548"/>
              <a:ext cx="1383044" cy="56579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Seminario</a:t>
              </a:r>
              <a:r>
                <a:rPr lang="en-GB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de </a:t>
              </a:r>
              <a:r>
                <a:rPr lang="en-GB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Ambición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5" name="Flowchart: Decision 74">
              <a:extLst>
                <a:ext uri="{FF2B5EF4-FFF2-40B4-BE49-F238E27FC236}">
                  <a16:creationId xmlns:a16="http://schemas.microsoft.com/office/drawing/2014/main" xmlns="" id="{AC9ADF73-B86A-4A60-AEEB-4856BB6FDA66}"/>
                </a:ext>
              </a:extLst>
            </p:cNvPr>
            <p:cNvSpPr>
              <a:spLocks/>
            </p:cNvSpPr>
            <p:nvPr/>
          </p:nvSpPr>
          <p:spPr>
            <a:xfrm>
              <a:off x="6494716" y="3836132"/>
              <a:ext cx="126274" cy="228981"/>
            </a:xfrm>
            <a:prstGeom prst="flowChartDecision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54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en-GB" sz="1125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6" name="RbLeanShape Arrow Chevron Option 1 016">
              <a:extLst>
                <a:ext uri="{FF2B5EF4-FFF2-40B4-BE49-F238E27FC236}">
                  <a16:creationId xmlns:a16="http://schemas.microsoft.com/office/drawing/2014/main" xmlns="" id="{11DB6081-C68E-421D-ADE8-02AF33B04460}"/>
                </a:ext>
              </a:extLst>
            </p:cNvPr>
            <p:cNvSpPr>
              <a:spLocks/>
            </p:cNvSpPr>
            <p:nvPr/>
          </p:nvSpPr>
          <p:spPr>
            <a:xfrm>
              <a:off x="3709877" y="1629040"/>
              <a:ext cx="1548000" cy="576000"/>
            </a:xfrm>
            <a:prstGeom prst="homePlate">
              <a:avLst/>
            </a:prstGeom>
            <a:solidFill>
              <a:schemeClr val="bg1"/>
            </a:solidFill>
            <a:ln w="22225" cap="flat" cmpd="sng" algn="ctr">
              <a:solidFill>
                <a:schemeClr val="accent6"/>
              </a:solidFill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251587" tIns="0" rIns="0" bIns="0" rtlCol="0" anchor="ctr"/>
            <a:lstStyle/>
            <a:p>
              <a:pPr>
                <a:lnSpc>
                  <a:spcPct val="90000"/>
                </a:lnSpc>
                <a:spcBef>
                  <a:spcPts val="0"/>
                </a:spcBef>
              </a:pPr>
              <a:r>
                <a:rPr lang="en-GB" sz="1300" b="0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Preparación</a:t>
              </a:r>
              <a:r>
                <a:rPr lang="en-GB" sz="1300" b="0" dirty="0">
                  <a:latin typeface="Helvetica" panose="020B0604020202020204" pitchFamily="34" charset="0"/>
                  <a:cs typeface="Helvetica" panose="020B0604020202020204" pitchFamily="34" charset="0"/>
                </a:rPr>
                <a:t> </a:t>
              </a:r>
            </a:p>
          </p:txBody>
        </p:sp>
        <p:sp>
          <p:nvSpPr>
            <p:cNvPr id="77" name="RbNavigator">
              <a:extLst>
                <a:ext uri="{FF2B5EF4-FFF2-40B4-BE49-F238E27FC236}">
                  <a16:creationId xmlns:a16="http://schemas.microsoft.com/office/drawing/2014/main" xmlns="" id="{534635C2-3A74-4D08-97FB-5938F3CDE9FC}"/>
                </a:ext>
              </a:extLst>
            </p:cNvPr>
            <p:cNvSpPr txBox="1">
              <a:spLocks/>
            </p:cNvSpPr>
            <p:nvPr/>
          </p:nvSpPr>
          <p:spPr>
            <a:xfrm>
              <a:off x="3709878" y="1629040"/>
              <a:ext cx="216000" cy="21600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tx1"/>
                </a:buClr>
                <a:buSzPct val="100000"/>
              </a:pPr>
              <a:r>
                <a:rPr kumimoji="1" lang="en-GB" dirty="0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0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xmlns="" id="{1C0CC297-97B4-47AB-96C1-914078FA1C70}"/>
                </a:ext>
              </a:extLst>
            </p:cNvPr>
            <p:cNvSpPr/>
            <p:nvPr/>
          </p:nvSpPr>
          <p:spPr>
            <a:xfrm>
              <a:off x="4588073" y="3722563"/>
              <a:ext cx="1252940" cy="700293"/>
            </a:xfrm>
            <a:prstGeom prst="roundRect">
              <a:avLst>
                <a:gd name="adj" fmla="val 19606"/>
              </a:avLst>
            </a:prstGeom>
            <a:ln w="952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endParaRPr lang="fr-BE" sz="1500" b="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xmlns="" id="{53AFEDCA-619C-456A-8BDD-5B09C81F13CF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4908542" y="4513419"/>
              <a:ext cx="616033" cy="20774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50"/>
                </a:spcBef>
                <a:buSzPct val="100000"/>
              </a:pPr>
              <a:r>
                <a:rPr lang="en-GB" sz="1500" dirty="0">
                  <a:latin typeface="Helvetica" panose="020B0604020202020204" pitchFamily="34" charset="0"/>
                  <a:cs typeface="Helvetica" panose="020B0604020202020204" pitchFamily="34" charset="0"/>
                </a:rPr>
                <a:t>Hoy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3F59BC78-667E-4E95-847E-9B47CE551D20}"/>
              </a:ext>
            </a:extLst>
          </p:cNvPr>
          <p:cNvGrpSpPr/>
          <p:nvPr/>
        </p:nvGrpSpPr>
        <p:grpSpPr>
          <a:xfrm>
            <a:off x="3107163" y="5129587"/>
            <a:ext cx="9034252" cy="1199591"/>
            <a:chOff x="3107163" y="5132438"/>
            <a:chExt cx="9034252" cy="1199591"/>
          </a:xfrm>
        </p:grpSpPr>
        <p:sp>
          <p:nvSpPr>
            <p:cNvPr id="89" name="RBContent89">
              <a:extLst>
                <a:ext uri="{FF2B5EF4-FFF2-40B4-BE49-F238E27FC236}">
                  <a16:creationId xmlns:a16="http://schemas.microsoft.com/office/drawing/2014/main" xmlns="" id="{F0B59A5B-8307-4C31-9017-D6679B72BEDD}"/>
                </a:ext>
              </a:extLst>
            </p:cNvPr>
            <p:cNvSpPr txBox="1">
              <a:spLocks/>
            </p:cNvSpPr>
            <p:nvPr/>
          </p:nvSpPr>
          <p:spPr>
            <a:xfrm>
              <a:off x="3107163" y="5212923"/>
              <a:ext cx="2337717" cy="1800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El </a:t>
              </a:r>
              <a:r>
                <a:rPr lang="en-US" dirty="0" err="1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seminario</a:t>
              </a:r>
              <a:r>
                <a:rPr lang="en-U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</a:t>
              </a:r>
              <a:r>
                <a:rPr lang="en-US" dirty="0" err="1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cadémico</a:t>
              </a:r>
              <a:r>
                <a:rPr lang="en-U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</a:t>
              </a:r>
              <a:r>
                <a:rPr lang="en-US" b="0" dirty="0" err="1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es</a:t>
              </a:r>
              <a:r>
                <a:rPr lang="en-U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</a:t>
              </a:r>
            </a:p>
          </p:txBody>
        </p:sp>
        <p:sp>
          <p:nvSpPr>
            <p:cNvPr id="90" name="RBContent89">
              <a:extLst>
                <a:ext uri="{FF2B5EF4-FFF2-40B4-BE49-F238E27FC236}">
                  <a16:creationId xmlns:a16="http://schemas.microsoft.com/office/drawing/2014/main" xmlns="" id="{FBEDA298-5403-4A71-9A04-9089207B1BDD}"/>
                </a:ext>
              </a:extLst>
            </p:cNvPr>
            <p:cNvSpPr txBox="1">
              <a:spLocks/>
            </p:cNvSpPr>
            <p:nvPr/>
          </p:nvSpPr>
          <p:spPr>
            <a:xfrm>
              <a:off x="5364146" y="5212923"/>
              <a:ext cx="3052953" cy="1661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</a:t>
              </a:r>
              <a:r>
                <a:rPr lang="en-US" sz="1200" b="0" dirty="0" err="1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una</a:t>
              </a: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</a:t>
              </a:r>
              <a:r>
                <a:rPr lang="en-US" sz="1200" dirty="0" err="1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romoción</a:t>
              </a: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 	</a:t>
              </a:r>
            </a:p>
          </p:txBody>
        </p:sp>
        <p:sp>
          <p:nvSpPr>
            <p:cNvPr id="91" name="RBContent89">
              <a:extLst>
                <a:ext uri="{FF2B5EF4-FFF2-40B4-BE49-F238E27FC236}">
                  <a16:creationId xmlns:a16="http://schemas.microsoft.com/office/drawing/2014/main" xmlns="" id="{64B90FEE-A0B1-41D4-9DA9-48BB38CCBC13}"/>
                </a:ext>
              </a:extLst>
            </p:cNvPr>
            <p:cNvSpPr txBox="1">
              <a:spLocks/>
            </p:cNvSpPr>
            <p:nvPr/>
          </p:nvSpPr>
          <p:spPr>
            <a:xfrm>
              <a:off x="8938431" y="5302296"/>
              <a:ext cx="3202984" cy="1661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</a:t>
              </a: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no </a:t>
              </a:r>
              <a:r>
                <a:rPr lang="es-E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un </a:t>
              </a: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evento</a:t>
              </a:r>
              <a:r>
                <a:rPr lang="es-E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</a:t>
              </a: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de </a:t>
              </a:r>
              <a:r>
                <a:rPr lang="es-ES" sz="1200" dirty="0" err="1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networking</a:t>
              </a: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</a:t>
              </a:r>
              <a:r>
                <a:rPr lang="es-E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dicional</a:t>
              </a: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.</a:t>
              </a:r>
            </a:p>
          </p:txBody>
        </p:sp>
        <p:sp>
          <p:nvSpPr>
            <p:cNvPr id="92" name="RBContent89">
              <a:extLst>
                <a:ext uri="{FF2B5EF4-FFF2-40B4-BE49-F238E27FC236}">
                  <a16:creationId xmlns:a16="http://schemas.microsoft.com/office/drawing/2014/main" xmlns="" id="{D637767A-6459-4EE9-A85F-9991CBCDEE2A}"/>
                </a:ext>
              </a:extLst>
            </p:cNvPr>
            <p:cNvSpPr txBox="1">
              <a:spLocks/>
            </p:cNvSpPr>
            <p:nvPr/>
          </p:nvSpPr>
          <p:spPr>
            <a:xfrm>
              <a:off x="5364146" y="5699764"/>
              <a:ext cx="3171056" cy="1661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</a:t>
              </a:r>
              <a:r>
                <a:rPr lang="es-E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una sesión de </a:t>
              </a: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prendizaje y de trabajo</a:t>
              </a: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 </a:t>
              </a:r>
            </a:p>
          </p:txBody>
        </p:sp>
        <p:sp>
          <p:nvSpPr>
            <p:cNvPr id="93" name="RBContent89">
              <a:extLst>
                <a:ext uri="{FF2B5EF4-FFF2-40B4-BE49-F238E27FC236}">
                  <a16:creationId xmlns:a16="http://schemas.microsoft.com/office/drawing/2014/main" xmlns="" id="{04534E9E-BBAA-46ED-BB79-A706BF93A8A6}"/>
                </a:ext>
              </a:extLst>
            </p:cNvPr>
            <p:cNvSpPr txBox="1">
              <a:spLocks/>
            </p:cNvSpPr>
            <p:nvPr/>
          </p:nvSpPr>
          <p:spPr>
            <a:xfrm>
              <a:off x="8938431" y="5767820"/>
              <a:ext cx="3202984" cy="1661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</a:t>
              </a: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no </a:t>
              </a:r>
              <a:r>
                <a:rPr lang="es-E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un curso de </a:t>
              </a: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formación</a:t>
              </a: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.</a:t>
              </a:r>
            </a:p>
          </p:txBody>
        </p:sp>
        <p:sp>
          <p:nvSpPr>
            <p:cNvPr id="95" name="RBContent89">
              <a:extLst>
                <a:ext uri="{FF2B5EF4-FFF2-40B4-BE49-F238E27FC236}">
                  <a16:creationId xmlns:a16="http://schemas.microsoft.com/office/drawing/2014/main" xmlns="" id="{3E82A32B-0AF1-462D-8990-39B6E7A642A9}"/>
                </a:ext>
              </a:extLst>
            </p:cNvPr>
            <p:cNvSpPr txBox="1">
              <a:spLocks/>
            </p:cNvSpPr>
            <p:nvPr/>
          </p:nvSpPr>
          <p:spPr>
            <a:xfrm>
              <a:off x="5364146" y="6186605"/>
              <a:ext cx="3337896" cy="14542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105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</a:t>
              </a:r>
              <a:r>
                <a:rPr lang="es-ES" sz="105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un </a:t>
              </a:r>
              <a:r>
                <a:rPr lang="es-ES" sz="105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reconocimiento</a:t>
              </a:r>
              <a:r>
                <a:rPr lang="es-ES" sz="105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por parte de los </a:t>
              </a:r>
              <a:r>
                <a:rPr lang="es-ES" sz="105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ompañeros</a:t>
              </a:r>
              <a:r>
                <a:rPr lang="es-ES" sz="105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</a:t>
              </a:r>
              <a:r>
                <a:rPr lang="en-US" sz="105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 </a:t>
              </a:r>
            </a:p>
          </p:txBody>
        </p:sp>
        <p:sp>
          <p:nvSpPr>
            <p:cNvPr id="96" name="RBContent89">
              <a:extLst>
                <a:ext uri="{FF2B5EF4-FFF2-40B4-BE49-F238E27FC236}">
                  <a16:creationId xmlns:a16="http://schemas.microsoft.com/office/drawing/2014/main" xmlns="" id="{5C5F1543-54DC-4EF6-B010-574FD8308723}"/>
                </a:ext>
              </a:extLst>
            </p:cNvPr>
            <p:cNvSpPr txBox="1">
              <a:spLocks/>
            </p:cNvSpPr>
            <p:nvPr/>
          </p:nvSpPr>
          <p:spPr>
            <a:xfrm>
              <a:off x="8938431" y="6120767"/>
              <a:ext cx="3202984" cy="1661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SzPct val="100000"/>
              </a:pP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… </a:t>
              </a:r>
              <a:r>
                <a:rPr lang="en-U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no </a:t>
              </a:r>
              <a:r>
                <a:rPr lang="en-US" sz="1200" b="0" dirty="0" err="1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una</a:t>
              </a: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</a:t>
              </a:r>
              <a:r>
                <a:rPr lang="en-US" sz="1200" dirty="0" err="1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onferencia</a:t>
              </a:r>
              <a:r>
                <a:rPr lang="en-U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.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1688B495-0AC7-435F-95F7-4FDEC8B251F9}"/>
                </a:ext>
              </a:extLst>
            </p:cNvPr>
            <p:cNvCxnSpPr>
              <a:cxnSpLocks/>
            </p:cNvCxnSpPr>
            <p:nvPr/>
          </p:nvCxnSpPr>
          <p:spPr>
            <a:xfrm>
              <a:off x="5287959" y="5617496"/>
              <a:ext cx="6408310" cy="0"/>
            </a:xfrm>
            <a:prstGeom prst="line">
              <a:avLst/>
            </a:prstGeom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3505C284-4C7F-497E-AE3C-6CDF7055E1F5}"/>
                </a:ext>
              </a:extLst>
            </p:cNvPr>
            <p:cNvCxnSpPr>
              <a:cxnSpLocks/>
            </p:cNvCxnSpPr>
            <p:nvPr/>
          </p:nvCxnSpPr>
          <p:spPr>
            <a:xfrm>
              <a:off x="5287959" y="6102554"/>
              <a:ext cx="6408310" cy="0"/>
            </a:xfrm>
            <a:prstGeom prst="line">
              <a:avLst/>
            </a:prstGeom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2DD34867-0791-44BE-AF6E-53A6C7A5FC73}"/>
                </a:ext>
              </a:extLst>
            </p:cNvPr>
            <p:cNvCxnSpPr>
              <a:cxnSpLocks/>
            </p:cNvCxnSpPr>
            <p:nvPr/>
          </p:nvCxnSpPr>
          <p:spPr>
            <a:xfrm>
              <a:off x="3137079" y="5132438"/>
              <a:ext cx="8559190" cy="0"/>
            </a:xfrm>
            <a:prstGeom prst="line">
              <a:avLst/>
            </a:prstGeom>
            <a:ln w="15875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5921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DBD7D155-D378-418A-BF40-E2DA4667B688}"/>
              </a:ext>
            </a:extLst>
          </p:cNvPr>
          <p:cNvGrpSpPr/>
          <p:nvPr/>
        </p:nvGrpSpPr>
        <p:grpSpPr>
          <a:xfrm>
            <a:off x="2812633" y="2048164"/>
            <a:ext cx="4480030" cy="4593771"/>
            <a:chOff x="2874979" y="2141683"/>
            <a:chExt cx="4480030" cy="459377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242CAB28-2AB4-4D17-8E30-65A207021A3E}"/>
                </a:ext>
              </a:extLst>
            </p:cNvPr>
            <p:cNvSpPr/>
            <p:nvPr/>
          </p:nvSpPr>
          <p:spPr>
            <a:xfrm>
              <a:off x="2874979" y="2141683"/>
              <a:ext cx="4480030" cy="4593771"/>
            </a:xfrm>
            <a:prstGeom prst="rect">
              <a:avLst/>
            </a:prstGeom>
            <a:solidFill>
              <a:srgbClr val="FFFFFF"/>
            </a:solidFill>
            <a:ln w="9525" cap="flat" cmpd="sng">
              <a:solidFill>
                <a:schemeClr val="accent6"/>
              </a:solidFill>
              <a:prstDash val="solid"/>
              <a:round/>
            </a:ln>
            <a:effectLst/>
            <a:sp3d/>
            <a:extLst>
              <a:ext uri="{AF507438-7753-43e0-B8FC-AC1667EBCBE1}">
                <a14:hiddenEffects xmlns:a14="http://schemas.microsoft.com/office/drawing/2010/main">
                  <a:effectLst>
                    <a:outerShdw blurRad="38100" dist="23000" dir="5400000" rotWithShape="0">
                      <a:srgbClr val="000000">
                        <a:alpha val="35000"/>
                      </a:srgbClr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fr-BE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xmlns="" id="{76D89FAE-F34A-451E-AFDA-9E6322BDC0C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66007" y="4860822"/>
              <a:ext cx="3379266" cy="0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</a:ln>
            <a:effectLst>
              <a:outerShdw blurRad="38100" dist="20000" dir="5400000" rotWithShape="0">
                <a:srgbClr val="000000">
                  <a:alpha val="38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xmlns="" id="{D5458DD3-3CB9-4718-9A61-3512315493A4}"/>
                </a:ext>
              </a:extLst>
            </p:cNvPr>
            <p:cNvSpPr>
              <a:spLocks/>
            </p:cNvSpPr>
            <p:nvPr/>
          </p:nvSpPr>
          <p:spPr>
            <a:xfrm>
              <a:off x="4020755" y="4871657"/>
              <a:ext cx="3224520" cy="72162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lvl="1">
                <a:lnSpc>
                  <a:spcPct val="90000"/>
                </a:lnSpc>
                <a:spcBef>
                  <a:spcPts val="600"/>
                </a:spcBef>
                <a:buSzPct val="100000"/>
              </a:pPr>
              <a:r>
                <a:rPr lang="es-ES" b="0" kern="0" dirty="0">
                  <a:solidFill>
                    <a:srgbClr val="00000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Preparar a las ciudades para saltar en la trayectoria de la transformación digital (Sesiones 5, 6, 8 y 9)</a:t>
              </a:r>
              <a:endParaRPr lang="en-US" sz="1300" b="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xmlns="" id="{A0C09BF7-9021-4FE8-85EA-43F1737A3B8B}"/>
                </a:ext>
              </a:extLst>
            </p:cNvPr>
            <p:cNvSpPr>
              <a:spLocks/>
            </p:cNvSpPr>
            <p:nvPr/>
          </p:nvSpPr>
          <p:spPr>
            <a:xfrm>
              <a:off x="4020755" y="4537161"/>
              <a:ext cx="2626414" cy="35371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1" defTabSz="91440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Pct val="100000"/>
                <a:tabLst/>
                <a:defRPr/>
              </a:pPr>
              <a:r>
                <a:rPr lang="en-GB" sz="1700" b="1" dirty="0" err="1">
                  <a:solidFill>
                    <a:schemeClr val="accent6"/>
                  </a:solidFill>
                  <a:latin typeface="Helvetica" charset="0"/>
                  <a:cs typeface="Helvetica" charset="0"/>
                  <a:sym typeface="Helvetica"/>
                </a:rPr>
                <a:t>Preparar</a:t>
              </a:r>
              <a:r>
                <a:rPr lang="en-GB" sz="1700" b="1" dirty="0">
                  <a:solidFill>
                    <a:schemeClr val="accent6"/>
                  </a:solidFill>
                  <a:latin typeface="Helvetica" charset="0"/>
                  <a:cs typeface="Helvetica" charset="0"/>
                  <a:sym typeface="Helvetica"/>
                </a:rPr>
                <a:t> </a:t>
              </a: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xmlns="" id="{E9321D18-1AC1-4502-A0E6-41D6FE565848}"/>
                </a:ext>
              </a:extLst>
            </p:cNvPr>
            <p:cNvGrpSpPr/>
            <p:nvPr/>
          </p:nvGrpSpPr>
          <p:grpSpPr>
            <a:xfrm>
              <a:off x="3150676" y="4677382"/>
              <a:ext cx="798387" cy="781631"/>
              <a:chOff x="6862158" y="3998152"/>
              <a:chExt cx="798387" cy="781631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xmlns="" id="{13458254-35FC-4928-9835-26C31DB21888}"/>
                  </a:ext>
                </a:extLst>
              </p:cNvPr>
              <p:cNvSpPr/>
              <p:nvPr/>
            </p:nvSpPr>
            <p:spPr>
              <a:xfrm>
                <a:off x="6862158" y="3998152"/>
                <a:ext cx="798387" cy="781631"/>
              </a:xfrm>
              <a:prstGeom prst="ellipse">
                <a:avLst/>
              </a:prstGeom>
              <a:solidFill>
                <a:schemeClr val="accent6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en-GB" sz="1500" b="0" dirty="0"/>
              </a:p>
            </p:txBody>
          </p:sp>
          <p:grpSp>
            <p:nvGrpSpPr>
              <p:cNvPr id="50" name="Group 333">
                <a:extLst>
                  <a:ext uri="{FF2B5EF4-FFF2-40B4-BE49-F238E27FC236}">
                    <a16:creationId xmlns:a16="http://schemas.microsoft.com/office/drawing/2014/main" xmlns="" id="{394A3075-089A-415E-874D-AB8D6C9D5C2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992361" y="4176227"/>
                <a:ext cx="537981" cy="425480"/>
                <a:chOff x="2373" y="2217"/>
                <a:chExt cx="373" cy="295"/>
              </a:xfrm>
              <a:solidFill>
                <a:schemeClr val="bg1"/>
              </a:solidFill>
            </p:grpSpPr>
            <p:sp>
              <p:nvSpPr>
                <p:cNvPr id="51" name="Freeform 335">
                  <a:extLst>
                    <a:ext uri="{FF2B5EF4-FFF2-40B4-BE49-F238E27FC236}">
                      <a16:creationId xmlns:a16="http://schemas.microsoft.com/office/drawing/2014/main" xmlns="" id="{4E158ACE-BAE2-4725-9CE2-0EF068594D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5" y="2355"/>
                  <a:ext cx="29" cy="32"/>
                </a:xfrm>
                <a:custGeom>
                  <a:avLst/>
                  <a:gdLst>
                    <a:gd name="T0" fmla="*/ 126 w 254"/>
                    <a:gd name="T1" fmla="*/ 0 h 287"/>
                    <a:gd name="T2" fmla="*/ 254 w 254"/>
                    <a:gd name="T3" fmla="*/ 126 h 287"/>
                    <a:gd name="T4" fmla="*/ 213 w 254"/>
                    <a:gd name="T5" fmla="*/ 166 h 287"/>
                    <a:gd name="T6" fmla="*/ 213 w 254"/>
                    <a:gd name="T7" fmla="*/ 287 h 287"/>
                    <a:gd name="T8" fmla="*/ 41 w 254"/>
                    <a:gd name="T9" fmla="*/ 287 h 287"/>
                    <a:gd name="T10" fmla="*/ 41 w 254"/>
                    <a:gd name="T11" fmla="*/ 166 h 287"/>
                    <a:gd name="T12" fmla="*/ 0 w 254"/>
                    <a:gd name="T13" fmla="*/ 126 h 287"/>
                    <a:gd name="T14" fmla="*/ 126 w 254"/>
                    <a:gd name="T15" fmla="*/ 0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54" h="287">
                      <a:moveTo>
                        <a:pt x="126" y="0"/>
                      </a:moveTo>
                      <a:lnTo>
                        <a:pt x="254" y="126"/>
                      </a:lnTo>
                      <a:lnTo>
                        <a:pt x="213" y="166"/>
                      </a:lnTo>
                      <a:lnTo>
                        <a:pt x="213" y="287"/>
                      </a:lnTo>
                      <a:lnTo>
                        <a:pt x="41" y="287"/>
                      </a:lnTo>
                      <a:lnTo>
                        <a:pt x="41" y="166"/>
                      </a:lnTo>
                      <a:lnTo>
                        <a:pt x="0" y="126"/>
                      </a:lnTo>
                      <a:lnTo>
                        <a:pt x="12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2" name="Freeform 336">
                  <a:extLst>
                    <a:ext uri="{FF2B5EF4-FFF2-40B4-BE49-F238E27FC236}">
                      <a16:creationId xmlns:a16="http://schemas.microsoft.com/office/drawing/2014/main" xmlns="" id="{FD044C61-11D1-4B23-B662-9EA26720E5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5" y="2217"/>
                  <a:ext cx="127" cy="127"/>
                </a:xfrm>
                <a:custGeom>
                  <a:avLst/>
                  <a:gdLst>
                    <a:gd name="T0" fmla="*/ 628 w 1140"/>
                    <a:gd name="T1" fmla="*/ 3 h 1139"/>
                    <a:gd name="T2" fmla="*/ 739 w 1140"/>
                    <a:gd name="T3" fmla="*/ 25 h 1139"/>
                    <a:gd name="T4" fmla="*/ 842 w 1140"/>
                    <a:gd name="T5" fmla="*/ 68 h 1139"/>
                    <a:gd name="T6" fmla="*/ 932 w 1140"/>
                    <a:gd name="T7" fmla="*/ 130 h 1139"/>
                    <a:gd name="T8" fmla="*/ 1010 w 1140"/>
                    <a:gd name="T9" fmla="*/ 207 h 1139"/>
                    <a:gd name="T10" fmla="*/ 1072 w 1140"/>
                    <a:gd name="T11" fmla="*/ 298 h 1139"/>
                    <a:gd name="T12" fmla="*/ 1115 w 1140"/>
                    <a:gd name="T13" fmla="*/ 400 h 1139"/>
                    <a:gd name="T14" fmla="*/ 1137 w 1140"/>
                    <a:gd name="T15" fmla="*/ 511 h 1139"/>
                    <a:gd name="T16" fmla="*/ 1137 w 1140"/>
                    <a:gd name="T17" fmla="*/ 628 h 1139"/>
                    <a:gd name="T18" fmla="*/ 1115 w 1140"/>
                    <a:gd name="T19" fmla="*/ 739 h 1139"/>
                    <a:gd name="T20" fmla="*/ 1072 w 1140"/>
                    <a:gd name="T21" fmla="*/ 841 h 1139"/>
                    <a:gd name="T22" fmla="*/ 1010 w 1140"/>
                    <a:gd name="T23" fmla="*/ 932 h 1139"/>
                    <a:gd name="T24" fmla="*/ 932 w 1140"/>
                    <a:gd name="T25" fmla="*/ 1009 h 1139"/>
                    <a:gd name="T26" fmla="*/ 842 w 1140"/>
                    <a:gd name="T27" fmla="*/ 1070 h 1139"/>
                    <a:gd name="T28" fmla="*/ 739 w 1140"/>
                    <a:gd name="T29" fmla="*/ 1114 h 1139"/>
                    <a:gd name="T30" fmla="*/ 628 w 1140"/>
                    <a:gd name="T31" fmla="*/ 1136 h 1139"/>
                    <a:gd name="T32" fmla="*/ 511 w 1140"/>
                    <a:gd name="T33" fmla="*/ 1136 h 1139"/>
                    <a:gd name="T34" fmla="*/ 400 w 1140"/>
                    <a:gd name="T35" fmla="*/ 1114 h 1139"/>
                    <a:gd name="T36" fmla="*/ 298 w 1140"/>
                    <a:gd name="T37" fmla="*/ 1070 h 1139"/>
                    <a:gd name="T38" fmla="*/ 207 w 1140"/>
                    <a:gd name="T39" fmla="*/ 1009 h 1139"/>
                    <a:gd name="T40" fmla="*/ 130 w 1140"/>
                    <a:gd name="T41" fmla="*/ 932 h 1139"/>
                    <a:gd name="T42" fmla="*/ 69 w 1140"/>
                    <a:gd name="T43" fmla="*/ 841 h 1139"/>
                    <a:gd name="T44" fmla="*/ 25 w 1140"/>
                    <a:gd name="T45" fmla="*/ 739 h 1139"/>
                    <a:gd name="T46" fmla="*/ 3 w 1140"/>
                    <a:gd name="T47" fmla="*/ 628 h 1139"/>
                    <a:gd name="T48" fmla="*/ 3 w 1140"/>
                    <a:gd name="T49" fmla="*/ 511 h 1139"/>
                    <a:gd name="T50" fmla="*/ 25 w 1140"/>
                    <a:gd name="T51" fmla="*/ 400 h 1139"/>
                    <a:gd name="T52" fmla="*/ 69 w 1140"/>
                    <a:gd name="T53" fmla="*/ 298 h 1139"/>
                    <a:gd name="T54" fmla="*/ 130 w 1140"/>
                    <a:gd name="T55" fmla="*/ 207 h 1139"/>
                    <a:gd name="T56" fmla="*/ 207 w 1140"/>
                    <a:gd name="T57" fmla="*/ 130 h 1139"/>
                    <a:gd name="T58" fmla="*/ 298 w 1140"/>
                    <a:gd name="T59" fmla="*/ 68 h 1139"/>
                    <a:gd name="T60" fmla="*/ 400 w 1140"/>
                    <a:gd name="T61" fmla="*/ 25 h 1139"/>
                    <a:gd name="T62" fmla="*/ 511 w 1140"/>
                    <a:gd name="T63" fmla="*/ 3 h 1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140" h="1139">
                      <a:moveTo>
                        <a:pt x="570" y="0"/>
                      </a:moveTo>
                      <a:lnTo>
                        <a:pt x="628" y="3"/>
                      </a:lnTo>
                      <a:lnTo>
                        <a:pt x="685" y="11"/>
                      </a:lnTo>
                      <a:lnTo>
                        <a:pt x="739" y="25"/>
                      </a:lnTo>
                      <a:lnTo>
                        <a:pt x="792" y="45"/>
                      </a:lnTo>
                      <a:lnTo>
                        <a:pt x="842" y="68"/>
                      </a:lnTo>
                      <a:lnTo>
                        <a:pt x="889" y="97"/>
                      </a:lnTo>
                      <a:lnTo>
                        <a:pt x="932" y="130"/>
                      </a:lnTo>
                      <a:lnTo>
                        <a:pt x="973" y="167"/>
                      </a:lnTo>
                      <a:lnTo>
                        <a:pt x="1010" y="207"/>
                      </a:lnTo>
                      <a:lnTo>
                        <a:pt x="1043" y="251"/>
                      </a:lnTo>
                      <a:lnTo>
                        <a:pt x="1072" y="298"/>
                      </a:lnTo>
                      <a:lnTo>
                        <a:pt x="1095" y="348"/>
                      </a:lnTo>
                      <a:lnTo>
                        <a:pt x="1115" y="400"/>
                      </a:lnTo>
                      <a:lnTo>
                        <a:pt x="1129" y="454"/>
                      </a:lnTo>
                      <a:lnTo>
                        <a:pt x="1137" y="511"/>
                      </a:lnTo>
                      <a:lnTo>
                        <a:pt x="1140" y="569"/>
                      </a:lnTo>
                      <a:lnTo>
                        <a:pt x="1137" y="628"/>
                      </a:lnTo>
                      <a:lnTo>
                        <a:pt x="1129" y="684"/>
                      </a:lnTo>
                      <a:lnTo>
                        <a:pt x="1115" y="739"/>
                      </a:lnTo>
                      <a:lnTo>
                        <a:pt x="1095" y="792"/>
                      </a:lnTo>
                      <a:lnTo>
                        <a:pt x="1072" y="841"/>
                      </a:lnTo>
                      <a:lnTo>
                        <a:pt x="1043" y="888"/>
                      </a:lnTo>
                      <a:lnTo>
                        <a:pt x="1010" y="932"/>
                      </a:lnTo>
                      <a:lnTo>
                        <a:pt x="973" y="972"/>
                      </a:lnTo>
                      <a:lnTo>
                        <a:pt x="932" y="1009"/>
                      </a:lnTo>
                      <a:lnTo>
                        <a:pt x="889" y="1041"/>
                      </a:lnTo>
                      <a:lnTo>
                        <a:pt x="842" y="1070"/>
                      </a:lnTo>
                      <a:lnTo>
                        <a:pt x="792" y="1094"/>
                      </a:lnTo>
                      <a:lnTo>
                        <a:pt x="739" y="1114"/>
                      </a:lnTo>
                      <a:lnTo>
                        <a:pt x="685" y="1128"/>
                      </a:lnTo>
                      <a:lnTo>
                        <a:pt x="628" y="1136"/>
                      </a:lnTo>
                      <a:lnTo>
                        <a:pt x="570" y="1139"/>
                      </a:lnTo>
                      <a:lnTo>
                        <a:pt x="511" y="1136"/>
                      </a:lnTo>
                      <a:lnTo>
                        <a:pt x="455" y="1128"/>
                      </a:lnTo>
                      <a:lnTo>
                        <a:pt x="400" y="1114"/>
                      </a:lnTo>
                      <a:lnTo>
                        <a:pt x="348" y="1094"/>
                      </a:lnTo>
                      <a:lnTo>
                        <a:pt x="298" y="1070"/>
                      </a:lnTo>
                      <a:lnTo>
                        <a:pt x="251" y="1041"/>
                      </a:lnTo>
                      <a:lnTo>
                        <a:pt x="207" y="1009"/>
                      </a:lnTo>
                      <a:lnTo>
                        <a:pt x="166" y="972"/>
                      </a:lnTo>
                      <a:lnTo>
                        <a:pt x="130" y="932"/>
                      </a:lnTo>
                      <a:lnTo>
                        <a:pt x="97" y="888"/>
                      </a:lnTo>
                      <a:lnTo>
                        <a:pt x="69" y="841"/>
                      </a:lnTo>
                      <a:lnTo>
                        <a:pt x="44" y="792"/>
                      </a:lnTo>
                      <a:lnTo>
                        <a:pt x="25" y="739"/>
                      </a:lnTo>
                      <a:lnTo>
                        <a:pt x="11" y="684"/>
                      </a:lnTo>
                      <a:lnTo>
                        <a:pt x="3" y="628"/>
                      </a:lnTo>
                      <a:lnTo>
                        <a:pt x="0" y="569"/>
                      </a:lnTo>
                      <a:lnTo>
                        <a:pt x="3" y="511"/>
                      </a:lnTo>
                      <a:lnTo>
                        <a:pt x="11" y="454"/>
                      </a:lnTo>
                      <a:lnTo>
                        <a:pt x="25" y="400"/>
                      </a:lnTo>
                      <a:lnTo>
                        <a:pt x="44" y="348"/>
                      </a:lnTo>
                      <a:lnTo>
                        <a:pt x="69" y="298"/>
                      </a:lnTo>
                      <a:lnTo>
                        <a:pt x="97" y="251"/>
                      </a:lnTo>
                      <a:lnTo>
                        <a:pt x="130" y="207"/>
                      </a:lnTo>
                      <a:lnTo>
                        <a:pt x="166" y="167"/>
                      </a:lnTo>
                      <a:lnTo>
                        <a:pt x="207" y="130"/>
                      </a:lnTo>
                      <a:lnTo>
                        <a:pt x="251" y="97"/>
                      </a:lnTo>
                      <a:lnTo>
                        <a:pt x="298" y="68"/>
                      </a:lnTo>
                      <a:lnTo>
                        <a:pt x="348" y="45"/>
                      </a:lnTo>
                      <a:lnTo>
                        <a:pt x="400" y="25"/>
                      </a:lnTo>
                      <a:lnTo>
                        <a:pt x="455" y="11"/>
                      </a:lnTo>
                      <a:lnTo>
                        <a:pt x="511" y="3"/>
                      </a:lnTo>
                      <a:lnTo>
                        <a:pt x="57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3" name="Freeform 337">
                  <a:extLst>
                    <a:ext uri="{FF2B5EF4-FFF2-40B4-BE49-F238E27FC236}">
                      <a16:creationId xmlns:a16="http://schemas.microsoft.com/office/drawing/2014/main" xmlns="" id="{092BBA28-9383-4001-B5C1-CC67C6125E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3" y="2351"/>
                  <a:ext cx="373" cy="161"/>
                </a:xfrm>
                <a:custGeom>
                  <a:avLst/>
                  <a:gdLst>
                    <a:gd name="T0" fmla="*/ 1011 w 3356"/>
                    <a:gd name="T1" fmla="*/ 322 h 1446"/>
                    <a:gd name="T2" fmla="*/ 924 w 3356"/>
                    <a:gd name="T3" fmla="*/ 410 h 1446"/>
                    <a:gd name="T4" fmla="*/ 852 w 3356"/>
                    <a:gd name="T5" fmla="*/ 1005 h 1446"/>
                    <a:gd name="T6" fmla="*/ 818 w 3356"/>
                    <a:gd name="T7" fmla="*/ 1167 h 1446"/>
                    <a:gd name="T8" fmla="*/ 911 w 3356"/>
                    <a:gd name="T9" fmla="*/ 1313 h 1446"/>
                    <a:gd name="T10" fmla="*/ 976 w 3356"/>
                    <a:gd name="T11" fmla="*/ 1255 h 1446"/>
                    <a:gd name="T12" fmla="*/ 997 w 3356"/>
                    <a:gd name="T13" fmla="*/ 398 h 1446"/>
                    <a:gd name="T14" fmla="*/ 2322 w 3356"/>
                    <a:gd name="T15" fmla="*/ 377 h 1446"/>
                    <a:gd name="T16" fmla="*/ 2383 w 3356"/>
                    <a:gd name="T17" fmla="*/ 456 h 1446"/>
                    <a:gd name="T18" fmla="*/ 2341 w 3356"/>
                    <a:gd name="T19" fmla="*/ 1306 h 1446"/>
                    <a:gd name="T20" fmla="*/ 2515 w 3356"/>
                    <a:gd name="T21" fmla="*/ 1235 h 1446"/>
                    <a:gd name="T22" fmla="*/ 2531 w 3356"/>
                    <a:gd name="T23" fmla="*/ 1063 h 1446"/>
                    <a:gd name="T24" fmla="*/ 2435 w 3356"/>
                    <a:gd name="T25" fmla="*/ 939 h 1446"/>
                    <a:gd name="T26" fmla="*/ 2392 w 3356"/>
                    <a:gd name="T27" fmla="*/ 346 h 1446"/>
                    <a:gd name="T28" fmla="*/ 2219 w 3356"/>
                    <a:gd name="T29" fmla="*/ 0 h 1446"/>
                    <a:gd name="T30" fmla="*/ 2370 w 3356"/>
                    <a:gd name="T31" fmla="*/ 56 h 1446"/>
                    <a:gd name="T32" fmla="*/ 3138 w 3356"/>
                    <a:gd name="T33" fmla="*/ 952 h 1446"/>
                    <a:gd name="T34" fmla="*/ 3155 w 3356"/>
                    <a:gd name="T35" fmla="*/ 976 h 1446"/>
                    <a:gd name="T36" fmla="*/ 3167 w 3356"/>
                    <a:gd name="T37" fmla="*/ 1001 h 1446"/>
                    <a:gd name="T38" fmla="*/ 3176 w 3356"/>
                    <a:gd name="T39" fmla="*/ 1028 h 1446"/>
                    <a:gd name="T40" fmla="*/ 3182 w 3356"/>
                    <a:gd name="T41" fmla="*/ 1055 h 1446"/>
                    <a:gd name="T42" fmla="*/ 3185 w 3356"/>
                    <a:gd name="T43" fmla="*/ 1082 h 1446"/>
                    <a:gd name="T44" fmla="*/ 3184 w 3356"/>
                    <a:gd name="T45" fmla="*/ 1107 h 1446"/>
                    <a:gd name="T46" fmla="*/ 3181 w 3356"/>
                    <a:gd name="T47" fmla="*/ 1132 h 1446"/>
                    <a:gd name="T48" fmla="*/ 3174 w 3356"/>
                    <a:gd name="T49" fmla="*/ 1163 h 1446"/>
                    <a:gd name="T50" fmla="*/ 3164 w 3356"/>
                    <a:gd name="T51" fmla="*/ 1187 h 1446"/>
                    <a:gd name="T52" fmla="*/ 3150 w 3356"/>
                    <a:gd name="T53" fmla="*/ 1211 h 1446"/>
                    <a:gd name="T54" fmla="*/ 3133 w 3356"/>
                    <a:gd name="T55" fmla="*/ 1236 h 1446"/>
                    <a:gd name="T56" fmla="*/ 3115 w 3356"/>
                    <a:gd name="T57" fmla="*/ 1256 h 1446"/>
                    <a:gd name="T58" fmla="*/ 3098 w 3356"/>
                    <a:gd name="T59" fmla="*/ 1271 h 1446"/>
                    <a:gd name="T60" fmla="*/ 3075 w 3356"/>
                    <a:gd name="T61" fmla="*/ 1287 h 1446"/>
                    <a:gd name="T62" fmla="*/ 3050 w 3356"/>
                    <a:gd name="T63" fmla="*/ 1301 h 1446"/>
                    <a:gd name="T64" fmla="*/ 3023 w 3356"/>
                    <a:gd name="T65" fmla="*/ 1310 h 1446"/>
                    <a:gd name="T66" fmla="*/ 3356 w 3356"/>
                    <a:gd name="T67" fmla="*/ 1446 h 1446"/>
                    <a:gd name="T68" fmla="*/ 332 w 3356"/>
                    <a:gd name="T69" fmla="*/ 1311 h 1446"/>
                    <a:gd name="T70" fmla="*/ 306 w 3356"/>
                    <a:gd name="T71" fmla="*/ 1301 h 1446"/>
                    <a:gd name="T72" fmla="*/ 281 w 3356"/>
                    <a:gd name="T73" fmla="*/ 1287 h 1446"/>
                    <a:gd name="T74" fmla="*/ 258 w 3356"/>
                    <a:gd name="T75" fmla="*/ 1271 h 1446"/>
                    <a:gd name="T76" fmla="*/ 241 w 3356"/>
                    <a:gd name="T77" fmla="*/ 1256 h 1446"/>
                    <a:gd name="T78" fmla="*/ 222 w 3356"/>
                    <a:gd name="T79" fmla="*/ 1236 h 1446"/>
                    <a:gd name="T80" fmla="*/ 204 w 3356"/>
                    <a:gd name="T81" fmla="*/ 1211 h 1446"/>
                    <a:gd name="T82" fmla="*/ 192 w 3356"/>
                    <a:gd name="T83" fmla="*/ 1187 h 1446"/>
                    <a:gd name="T84" fmla="*/ 182 w 3356"/>
                    <a:gd name="T85" fmla="*/ 1163 h 1446"/>
                    <a:gd name="T86" fmla="*/ 175 w 3356"/>
                    <a:gd name="T87" fmla="*/ 1132 h 1446"/>
                    <a:gd name="T88" fmla="*/ 171 w 3356"/>
                    <a:gd name="T89" fmla="*/ 1107 h 1446"/>
                    <a:gd name="T90" fmla="*/ 171 w 3356"/>
                    <a:gd name="T91" fmla="*/ 1082 h 1446"/>
                    <a:gd name="T92" fmla="*/ 174 w 3356"/>
                    <a:gd name="T93" fmla="*/ 1055 h 1446"/>
                    <a:gd name="T94" fmla="*/ 179 w 3356"/>
                    <a:gd name="T95" fmla="*/ 1028 h 1446"/>
                    <a:gd name="T96" fmla="*/ 189 w 3356"/>
                    <a:gd name="T97" fmla="*/ 1001 h 1446"/>
                    <a:gd name="T98" fmla="*/ 201 w 3356"/>
                    <a:gd name="T99" fmla="*/ 976 h 1446"/>
                    <a:gd name="T100" fmla="*/ 218 w 3356"/>
                    <a:gd name="T101" fmla="*/ 952 h 1446"/>
                    <a:gd name="T102" fmla="*/ 985 w 3356"/>
                    <a:gd name="T103" fmla="*/ 57 h 1446"/>
                    <a:gd name="T104" fmla="*/ 1127 w 3356"/>
                    <a:gd name="T105" fmla="*/ 0 h 1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56" h="1446">
                      <a:moveTo>
                        <a:pt x="1127" y="0"/>
                      </a:moveTo>
                      <a:lnTo>
                        <a:pt x="1137" y="0"/>
                      </a:lnTo>
                      <a:lnTo>
                        <a:pt x="1137" y="319"/>
                      </a:lnTo>
                      <a:lnTo>
                        <a:pt x="1039" y="319"/>
                      </a:lnTo>
                      <a:lnTo>
                        <a:pt x="1011" y="322"/>
                      </a:lnTo>
                      <a:lnTo>
                        <a:pt x="987" y="331"/>
                      </a:lnTo>
                      <a:lnTo>
                        <a:pt x="964" y="346"/>
                      </a:lnTo>
                      <a:lnTo>
                        <a:pt x="946" y="364"/>
                      </a:lnTo>
                      <a:lnTo>
                        <a:pt x="933" y="385"/>
                      </a:lnTo>
                      <a:lnTo>
                        <a:pt x="924" y="410"/>
                      </a:lnTo>
                      <a:lnTo>
                        <a:pt x="921" y="437"/>
                      </a:lnTo>
                      <a:lnTo>
                        <a:pt x="921" y="939"/>
                      </a:lnTo>
                      <a:lnTo>
                        <a:pt x="895" y="957"/>
                      </a:lnTo>
                      <a:lnTo>
                        <a:pt x="872" y="980"/>
                      </a:lnTo>
                      <a:lnTo>
                        <a:pt x="852" y="1005"/>
                      </a:lnTo>
                      <a:lnTo>
                        <a:pt x="836" y="1032"/>
                      </a:lnTo>
                      <a:lnTo>
                        <a:pt x="825" y="1063"/>
                      </a:lnTo>
                      <a:lnTo>
                        <a:pt x="818" y="1095"/>
                      </a:lnTo>
                      <a:lnTo>
                        <a:pt x="815" y="1129"/>
                      </a:lnTo>
                      <a:lnTo>
                        <a:pt x="818" y="1167"/>
                      </a:lnTo>
                      <a:lnTo>
                        <a:pt x="827" y="1202"/>
                      </a:lnTo>
                      <a:lnTo>
                        <a:pt x="841" y="1235"/>
                      </a:lnTo>
                      <a:lnTo>
                        <a:pt x="861" y="1264"/>
                      </a:lnTo>
                      <a:lnTo>
                        <a:pt x="884" y="1291"/>
                      </a:lnTo>
                      <a:lnTo>
                        <a:pt x="911" y="1313"/>
                      </a:lnTo>
                      <a:lnTo>
                        <a:pt x="1036" y="1313"/>
                      </a:lnTo>
                      <a:lnTo>
                        <a:pt x="1015" y="1306"/>
                      </a:lnTo>
                      <a:lnTo>
                        <a:pt x="998" y="1293"/>
                      </a:lnTo>
                      <a:lnTo>
                        <a:pt x="984" y="1275"/>
                      </a:lnTo>
                      <a:lnTo>
                        <a:pt x="976" y="1255"/>
                      </a:lnTo>
                      <a:lnTo>
                        <a:pt x="973" y="1233"/>
                      </a:lnTo>
                      <a:lnTo>
                        <a:pt x="973" y="456"/>
                      </a:lnTo>
                      <a:lnTo>
                        <a:pt x="976" y="435"/>
                      </a:lnTo>
                      <a:lnTo>
                        <a:pt x="984" y="415"/>
                      </a:lnTo>
                      <a:lnTo>
                        <a:pt x="997" y="398"/>
                      </a:lnTo>
                      <a:lnTo>
                        <a:pt x="1013" y="385"/>
                      </a:lnTo>
                      <a:lnTo>
                        <a:pt x="1034" y="377"/>
                      </a:lnTo>
                      <a:lnTo>
                        <a:pt x="1055" y="374"/>
                      </a:lnTo>
                      <a:lnTo>
                        <a:pt x="2301" y="374"/>
                      </a:lnTo>
                      <a:lnTo>
                        <a:pt x="2322" y="377"/>
                      </a:lnTo>
                      <a:lnTo>
                        <a:pt x="2343" y="385"/>
                      </a:lnTo>
                      <a:lnTo>
                        <a:pt x="2359" y="398"/>
                      </a:lnTo>
                      <a:lnTo>
                        <a:pt x="2372" y="415"/>
                      </a:lnTo>
                      <a:lnTo>
                        <a:pt x="2380" y="435"/>
                      </a:lnTo>
                      <a:lnTo>
                        <a:pt x="2383" y="456"/>
                      </a:lnTo>
                      <a:lnTo>
                        <a:pt x="2383" y="1233"/>
                      </a:lnTo>
                      <a:lnTo>
                        <a:pt x="2380" y="1255"/>
                      </a:lnTo>
                      <a:lnTo>
                        <a:pt x="2372" y="1275"/>
                      </a:lnTo>
                      <a:lnTo>
                        <a:pt x="2358" y="1293"/>
                      </a:lnTo>
                      <a:lnTo>
                        <a:pt x="2341" y="1306"/>
                      </a:lnTo>
                      <a:lnTo>
                        <a:pt x="2320" y="1313"/>
                      </a:lnTo>
                      <a:lnTo>
                        <a:pt x="2445" y="1313"/>
                      </a:lnTo>
                      <a:lnTo>
                        <a:pt x="2472" y="1291"/>
                      </a:lnTo>
                      <a:lnTo>
                        <a:pt x="2495" y="1264"/>
                      </a:lnTo>
                      <a:lnTo>
                        <a:pt x="2515" y="1235"/>
                      </a:lnTo>
                      <a:lnTo>
                        <a:pt x="2529" y="1202"/>
                      </a:lnTo>
                      <a:lnTo>
                        <a:pt x="2538" y="1167"/>
                      </a:lnTo>
                      <a:lnTo>
                        <a:pt x="2541" y="1129"/>
                      </a:lnTo>
                      <a:lnTo>
                        <a:pt x="2538" y="1095"/>
                      </a:lnTo>
                      <a:lnTo>
                        <a:pt x="2531" y="1063"/>
                      </a:lnTo>
                      <a:lnTo>
                        <a:pt x="2520" y="1032"/>
                      </a:lnTo>
                      <a:lnTo>
                        <a:pt x="2504" y="1005"/>
                      </a:lnTo>
                      <a:lnTo>
                        <a:pt x="2484" y="980"/>
                      </a:lnTo>
                      <a:lnTo>
                        <a:pt x="2461" y="957"/>
                      </a:lnTo>
                      <a:lnTo>
                        <a:pt x="2435" y="939"/>
                      </a:lnTo>
                      <a:lnTo>
                        <a:pt x="2435" y="437"/>
                      </a:lnTo>
                      <a:lnTo>
                        <a:pt x="2432" y="410"/>
                      </a:lnTo>
                      <a:lnTo>
                        <a:pt x="2423" y="385"/>
                      </a:lnTo>
                      <a:lnTo>
                        <a:pt x="2409" y="364"/>
                      </a:lnTo>
                      <a:lnTo>
                        <a:pt x="2392" y="346"/>
                      </a:lnTo>
                      <a:lnTo>
                        <a:pt x="2369" y="331"/>
                      </a:lnTo>
                      <a:lnTo>
                        <a:pt x="2345" y="322"/>
                      </a:lnTo>
                      <a:lnTo>
                        <a:pt x="2317" y="319"/>
                      </a:lnTo>
                      <a:lnTo>
                        <a:pt x="2219" y="319"/>
                      </a:lnTo>
                      <a:lnTo>
                        <a:pt x="2219" y="0"/>
                      </a:lnTo>
                      <a:lnTo>
                        <a:pt x="2251" y="2"/>
                      </a:lnTo>
                      <a:lnTo>
                        <a:pt x="2283" y="9"/>
                      </a:lnTo>
                      <a:lnTo>
                        <a:pt x="2313" y="20"/>
                      </a:lnTo>
                      <a:lnTo>
                        <a:pt x="2343" y="37"/>
                      </a:lnTo>
                      <a:lnTo>
                        <a:pt x="2370" y="56"/>
                      </a:lnTo>
                      <a:lnTo>
                        <a:pt x="2395" y="81"/>
                      </a:lnTo>
                      <a:lnTo>
                        <a:pt x="3130" y="941"/>
                      </a:lnTo>
                      <a:lnTo>
                        <a:pt x="3131" y="943"/>
                      </a:lnTo>
                      <a:lnTo>
                        <a:pt x="3135" y="948"/>
                      </a:lnTo>
                      <a:lnTo>
                        <a:pt x="3138" y="952"/>
                      </a:lnTo>
                      <a:lnTo>
                        <a:pt x="3142" y="957"/>
                      </a:lnTo>
                      <a:lnTo>
                        <a:pt x="3145" y="961"/>
                      </a:lnTo>
                      <a:lnTo>
                        <a:pt x="3148" y="966"/>
                      </a:lnTo>
                      <a:lnTo>
                        <a:pt x="3152" y="970"/>
                      </a:lnTo>
                      <a:lnTo>
                        <a:pt x="3155" y="976"/>
                      </a:lnTo>
                      <a:lnTo>
                        <a:pt x="3157" y="981"/>
                      </a:lnTo>
                      <a:lnTo>
                        <a:pt x="3160" y="986"/>
                      </a:lnTo>
                      <a:lnTo>
                        <a:pt x="3162" y="991"/>
                      </a:lnTo>
                      <a:lnTo>
                        <a:pt x="3165" y="996"/>
                      </a:lnTo>
                      <a:lnTo>
                        <a:pt x="3167" y="1001"/>
                      </a:lnTo>
                      <a:lnTo>
                        <a:pt x="3169" y="1006"/>
                      </a:lnTo>
                      <a:lnTo>
                        <a:pt x="3171" y="1011"/>
                      </a:lnTo>
                      <a:lnTo>
                        <a:pt x="3173" y="1017"/>
                      </a:lnTo>
                      <a:lnTo>
                        <a:pt x="3175" y="1021"/>
                      </a:lnTo>
                      <a:lnTo>
                        <a:pt x="3176" y="1028"/>
                      </a:lnTo>
                      <a:lnTo>
                        <a:pt x="3178" y="1032"/>
                      </a:lnTo>
                      <a:lnTo>
                        <a:pt x="3179" y="1039"/>
                      </a:lnTo>
                      <a:lnTo>
                        <a:pt x="3180" y="1044"/>
                      </a:lnTo>
                      <a:lnTo>
                        <a:pt x="3181" y="1050"/>
                      </a:lnTo>
                      <a:lnTo>
                        <a:pt x="3182" y="1055"/>
                      </a:lnTo>
                      <a:lnTo>
                        <a:pt x="3183" y="1060"/>
                      </a:lnTo>
                      <a:lnTo>
                        <a:pt x="3184" y="1066"/>
                      </a:lnTo>
                      <a:lnTo>
                        <a:pt x="3184" y="1071"/>
                      </a:lnTo>
                      <a:lnTo>
                        <a:pt x="3185" y="1077"/>
                      </a:lnTo>
                      <a:lnTo>
                        <a:pt x="3185" y="1082"/>
                      </a:lnTo>
                      <a:lnTo>
                        <a:pt x="3185" y="1089"/>
                      </a:lnTo>
                      <a:lnTo>
                        <a:pt x="3185" y="1091"/>
                      </a:lnTo>
                      <a:lnTo>
                        <a:pt x="3185" y="1094"/>
                      </a:lnTo>
                      <a:lnTo>
                        <a:pt x="3185" y="1101"/>
                      </a:lnTo>
                      <a:lnTo>
                        <a:pt x="3184" y="1107"/>
                      </a:lnTo>
                      <a:lnTo>
                        <a:pt x="3184" y="1111"/>
                      </a:lnTo>
                      <a:lnTo>
                        <a:pt x="3183" y="1118"/>
                      </a:lnTo>
                      <a:lnTo>
                        <a:pt x="3183" y="1122"/>
                      </a:lnTo>
                      <a:lnTo>
                        <a:pt x="3182" y="1130"/>
                      </a:lnTo>
                      <a:lnTo>
                        <a:pt x="3181" y="1132"/>
                      </a:lnTo>
                      <a:lnTo>
                        <a:pt x="3180" y="1141"/>
                      </a:lnTo>
                      <a:lnTo>
                        <a:pt x="3179" y="1143"/>
                      </a:lnTo>
                      <a:lnTo>
                        <a:pt x="3177" y="1151"/>
                      </a:lnTo>
                      <a:lnTo>
                        <a:pt x="3176" y="1153"/>
                      </a:lnTo>
                      <a:lnTo>
                        <a:pt x="3174" y="1163"/>
                      </a:lnTo>
                      <a:lnTo>
                        <a:pt x="3173" y="1165"/>
                      </a:lnTo>
                      <a:lnTo>
                        <a:pt x="3170" y="1173"/>
                      </a:lnTo>
                      <a:lnTo>
                        <a:pt x="3169" y="1176"/>
                      </a:lnTo>
                      <a:lnTo>
                        <a:pt x="3166" y="1183"/>
                      </a:lnTo>
                      <a:lnTo>
                        <a:pt x="3164" y="1187"/>
                      </a:lnTo>
                      <a:lnTo>
                        <a:pt x="3162" y="1192"/>
                      </a:lnTo>
                      <a:lnTo>
                        <a:pt x="3159" y="1198"/>
                      </a:lnTo>
                      <a:lnTo>
                        <a:pt x="3157" y="1202"/>
                      </a:lnTo>
                      <a:lnTo>
                        <a:pt x="3153" y="1208"/>
                      </a:lnTo>
                      <a:lnTo>
                        <a:pt x="3150" y="1211"/>
                      </a:lnTo>
                      <a:lnTo>
                        <a:pt x="3146" y="1218"/>
                      </a:lnTo>
                      <a:lnTo>
                        <a:pt x="3145" y="1220"/>
                      </a:lnTo>
                      <a:lnTo>
                        <a:pt x="3140" y="1228"/>
                      </a:lnTo>
                      <a:lnTo>
                        <a:pt x="3138" y="1230"/>
                      </a:lnTo>
                      <a:lnTo>
                        <a:pt x="3133" y="1236"/>
                      </a:lnTo>
                      <a:lnTo>
                        <a:pt x="3131" y="1239"/>
                      </a:lnTo>
                      <a:lnTo>
                        <a:pt x="3127" y="1244"/>
                      </a:lnTo>
                      <a:lnTo>
                        <a:pt x="3124" y="1247"/>
                      </a:lnTo>
                      <a:lnTo>
                        <a:pt x="3119" y="1252"/>
                      </a:lnTo>
                      <a:lnTo>
                        <a:pt x="3115" y="1256"/>
                      </a:lnTo>
                      <a:lnTo>
                        <a:pt x="3112" y="1259"/>
                      </a:lnTo>
                      <a:lnTo>
                        <a:pt x="3107" y="1264"/>
                      </a:lnTo>
                      <a:lnTo>
                        <a:pt x="3105" y="1266"/>
                      </a:lnTo>
                      <a:lnTo>
                        <a:pt x="3103" y="1267"/>
                      </a:lnTo>
                      <a:lnTo>
                        <a:pt x="3098" y="1271"/>
                      </a:lnTo>
                      <a:lnTo>
                        <a:pt x="3094" y="1274"/>
                      </a:lnTo>
                      <a:lnTo>
                        <a:pt x="3088" y="1278"/>
                      </a:lnTo>
                      <a:lnTo>
                        <a:pt x="3084" y="1280"/>
                      </a:lnTo>
                      <a:lnTo>
                        <a:pt x="3079" y="1284"/>
                      </a:lnTo>
                      <a:lnTo>
                        <a:pt x="3075" y="1287"/>
                      </a:lnTo>
                      <a:lnTo>
                        <a:pt x="3069" y="1291"/>
                      </a:lnTo>
                      <a:lnTo>
                        <a:pt x="3065" y="1293"/>
                      </a:lnTo>
                      <a:lnTo>
                        <a:pt x="3060" y="1296"/>
                      </a:lnTo>
                      <a:lnTo>
                        <a:pt x="3055" y="1298"/>
                      </a:lnTo>
                      <a:lnTo>
                        <a:pt x="3050" y="1301"/>
                      </a:lnTo>
                      <a:lnTo>
                        <a:pt x="3045" y="1303"/>
                      </a:lnTo>
                      <a:lnTo>
                        <a:pt x="3039" y="1305"/>
                      </a:lnTo>
                      <a:lnTo>
                        <a:pt x="3035" y="1307"/>
                      </a:lnTo>
                      <a:lnTo>
                        <a:pt x="3028" y="1309"/>
                      </a:lnTo>
                      <a:lnTo>
                        <a:pt x="3023" y="1310"/>
                      </a:lnTo>
                      <a:lnTo>
                        <a:pt x="3017" y="1312"/>
                      </a:lnTo>
                      <a:lnTo>
                        <a:pt x="3013" y="1313"/>
                      </a:lnTo>
                      <a:lnTo>
                        <a:pt x="3013" y="1313"/>
                      </a:lnTo>
                      <a:lnTo>
                        <a:pt x="3356" y="1313"/>
                      </a:lnTo>
                      <a:lnTo>
                        <a:pt x="3356" y="1446"/>
                      </a:lnTo>
                      <a:lnTo>
                        <a:pt x="0" y="1446"/>
                      </a:lnTo>
                      <a:lnTo>
                        <a:pt x="0" y="1313"/>
                      </a:lnTo>
                      <a:lnTo>
                        <a:pt x="343" y="1313"/>
                      </a:lnTo>
                      <a:lnTo>
                        <a:pt x="339" y="1312"/>
                      </a:lnTo>
                      <a:lnTo>
                        <a:pt x="332" y="1311"/>
                      </a:lnTo>
                      <a:lnTo>
                        <a:pt x="328" y="1309"/>
                      </a:lnTo>
                      <a:lnTo>
                        <a:pt x="321" y="1307"/>
                      </a:lnTo>
                      <a:lnTo>
                        <a:pt x="316" y="1305"/>
                      </a:lnTo>
                      <a:lnTo>
                        <a:pt x="311" y="1303"/>
                      </a:lnTo>
                      <a:lnTo>
                        <a:pt x="306" y="1301"/>
                      </a:lnTo>
                      <a:lnTo>
                        <a:pt x="301" y="1298"/>
                      </a:lnTo>
                      <a:lnTo>
                        <a:pt x="296" y="1296"/>
                      </a:lnTo>
                      <a:lnTo>
                        <a:pt x="291" y="1293"/>
                      </a:lnTo>
                      <a:lnTo>
                        <a:pt x="287" y="1291"/>
                      </a:lnTo>
                      <a:lnTo>
                        <a:pt x="281" y="1287"/>
                      </a:lnTo>
                      <a:lnTo>
                        <a:pt x="277" y="1284"/>
                      </a:lnTo>
                      <a:lnTo>
                        <a:pt x="272" y="1280"/>
                      </a:lnTo>
                      <a:lnTo>
                        <a:pt x="268" y="1278"/>
                      </a:lnTo>
                      <a:lnTo>
                        <a:pt x="261" y="1274"/>
                      </a:lnTo>
                      <a:lnTo>
                        <a:pt x="258" y="1271"/>
                      </a:lnTo>
                      <a:lnTo>
                        <a:pt x="253" y="1267"/>
                      </a:lnTo>
                      <a:lnTo>
                        <a:pt x="251" y="1266"/>
                      </a:lnTo>
                      <a:lnTo>
                        <a:pt x="249" y="1264"/>
                      </a:lnTo>
                      <a:lnTo>
                        <a:pt x="244" y="1259"/>
                      </a:lnTo>
                      <a:lnTo>
                        <a:pt x="241" y="1256"/>
                      </a:lnTo>
                      <a:lnTo>
                        <a:pt x="237" y="1252"/>
                      </a:lnTo>
                      <a:lnTo>
                        <a:pt x="232" y="1247"/>
                      </a:lnTo>
                      <a:lnTo>
                        <a:pt x="229" y="1244"/>
                      </a:lnTo>
                      <a:lnTo>
                        <a:pt x="225" y="1239"/>
                      </a:lnTo>
                      <a:lnTo>
                        <a:pt x="222" y="1236"/>
                      </a:lnTo>
                      <a:lnTo>
                        <a:pt x="218" y="1230"/>
                      </a:lnTo>
                      <a:lnTo>
                        <a:pt x="216" y="1228"/>
                      </a:lnTo>
                      <a:lnTo>
                        <a:pt x="211" y="1220"/>
                      </a:lnTo>
                      <a:lnTo>
                        <a:pt x="210" y="1218"/>
                      </a:lnTo>
                      <a:lnTo>
                        <a:pt x="204" y="1211"/>
                      </a:lnTo>
                      <a:lnTo>
                        <a:pt x="203" y="1208"/>
                      </a:lnTo>
                      <a:lnTo>
                        <a:pt x="199" y="1202"/>
                      </a:lnTo>
                      <a:lnTo>
                        <a:pt x="197" y="1198"/>
                      </a:lnTo>
                      <a:lnTo>
                        <a:pt x="194" y="1192"/>
                      </a:lnTo>
                      <a:lnTo>
                        <a:pt x="192" y="1187"/>
                      </a:lnTo>
                      <a:lnTo>
                        <a:pt x="190" y="1183"/>
                      </a:lnTo>
                      <a:lnTo>
                        <a:pt x="187" y="1176"/>
                      </a:lnTo>
                      <a:lnTo>
                        <a:pt x="186" y="1173"/>
                      </a:lnTo>
                      <a:lnTo>
                        <a:pt x="183" y="1165"/>
                      </a:lnTo>
                      <a:lnTo>
                        <a:pt x="182" y="1163"/>
                      </a:lnTo>
                      <a:lnTo>
                        <a:pt x="180" y="1153"/>
                      </a:lnTo>
                      <a:lnTo>
                        <a:pt x="179" y="1151"/>
                      </a:lnTo>
                      <a:lnTo>
                        <a:pt x="177" y="1143"/>
                      </a:lnTo>
                      <a:lnTo>
                        <a:pt x="176" y="1141"/>
                      </a:lnTo>
                      <a:lnTo>
                        <a:pt x="175" y="1132"/>
                      </a:lnTo>
                      <a:lnTo>
                        <a:pt x="174" y="1130"/>
                      </a:lnTo>
                      <a:lnTo>
                        <a:pt x="173" y="1122"/>
                      </a:lnTo>
                      <a:lnTo>
                        <a:pt x="172" y="1118"/>
                      </a:lnTo>
                      <a:lnTo>
                        <a:pt x="172" y="1111"/>
                      </a:lnTo>
                      <a:lnTo>
                        <a:pt x="171" y="1107"/>
                      </a:lnTo>
                      <a:lnTo>
                        <a:pt x="171" y="1101"/>
                      </a:lnTo>
                      <a:lnTo>
                        <a:pt x="171" y="1094"/>
                      </a:lnTo>
                      <a:lnTo>
                        <a:pt x="171" y="1091"/>
                      </a:lnTo>
                      <a:lnTo>
                        <a:pt x="171" y="1089"/>
                      </a:lnTo>
                      <a:lnTo>
                        <a:pt x="171" y="1082"/>
                      </a:lnTo>
                      <a:lnTo>
                        <a:pt x="171" y="1077"/>
                      </a:lnTo>
                      <a:lnTo>
                        <a:pt x="172" y="1071"/>
                      </a:lnTo>
                      <a:lnTo>
                        <a:pt x="172" y="1066"/>
                      </a:lnTo>
                      <a:lnTo>
                        <a:pt x="173" y="1060"/>
                      </a:lnTo>
                      <a:lnTo>
                        <a:pt x="174" y="1055"/>
                      </a:lnTo>
                      <a:lnTo>
                        <a:pt x="175" y="1050"/>
                      </a:lnTo>
                      <a:lnTo>
                        <a:pt x="176" y="1044"/>
                      </a:lnTo>
                      <a:lnTo>
                        <a:pt x="177" y="1039"/>
                      </a:lnTo>
                      <a:lnTo>
                        <a:pt x="178" y="1032"/>
                      </a:lnTo>
                      <a:lnTo>
                        <a:pt x="179" y="1028"/>
                      </a:lnTo>
                      <a:lnTo>
                        <a:pt x="181" y="1022"/>
                      </a:lnTo>
                      <a:lnTo>
                        <a:pt x="183" y="1017"/>
                      </a:lnTo>
                      <a:lnTo>
                        <a:pt x="185" y="1011"/>
                      </a:lnTo>
                      <a:lnTo>
                        <a:pt x="187" y="1006"/>
                      </a:lnTo>
                      <a:lnTo>
                        <a:pt x="189" y="1001"/>
                      </a:lnTo>
                      <a:lnTo>
                        <a:pt x="191" y="996"/>
                      </a:lnTo>
                      <a:lnTo>
                        <a:pt x="193" y="991"/>
                      </a:lnTo>
                      <a:lnTo>
                        <a:pt x="196" y="986"/>
                      </a:lnTo>
                      <a:lnTo>
                        <a:pt x="199" y="981"/>
                      </a:lnTo>
                      <a:lnTo>
                        <a:pt x="201" y="976"/>
                      </a:lnTo>
                      <a:lnTo>
                        <a:pt x="204" y="970"/>
                      </a:lnTo>
                      <a:lnTo>
                        <a:pt x="208" y="966"/>
                      </a:lnTo>
                      <a:lnTo>
                        <a:pt x="211" y="961"/>
                      </a:lnTo>
                      <a:lnTo>
                        <a:pt x="214" y="957"/>
                      </a:lnTo>
                      <a:lnTo>
                        <a:pt x="218" y="952"/>
                      </a:lnTo>
                      <a:lnTo>
                        <a:pt x="221" y="948"/>
                      </a:lnTo>
                      <a:lnTo>
                        <a:pt x="225" y="943"/>
                      </a:lnTo>
                      <a:lnTo>
                        <a:pt x="226" y="941"/>
                      </a:lnTo>
                      <a:lnTo>
                        <a:pt x="961" y="81"/>
                      </a:lnTo>
                      <a:lnTo>
                        <a:pt x="985" y="57"/>
                      </a:lnTo>
                      <a:lnTo>
                        <a:pt x="1010" y="38"/>
                      </a:lnTo>
                      <a:lnTo>
                        <a:pt x="1038" y="22"/>
                      </a:lnTo>
                      <a:lnTo>
                        <a:pt x="1066" y="11"/>
                      </a:lnTo>
                      <a:lnTo>
                        <a:pt x="1097" y="4"/>
                      </a:lnTo>
                      <a:lnTo>
                        <a:pt x="1127" y="0"/>
                      </a:lnTo>
                      <a:lnTo>
                        <a:pt x="112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xmlns="" id="{E5B5AE00-8C54-4EA0-A06F-62EAB7DD29F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51419" y="5931944"/>
              <a:ext cx="3379266" cy="0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</a:ln>
            <a:effectLst>
              <a:outerShdw blurRad="38100" dist="20000" dir="5400000" rotWithShape="0">
                <a:srgbClr val="000000">
                  <a:alpha val="38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53228632-3226-4FF4-9FB9-58F2B026E0D8}"/>
                </a:ext>
              </a:extLst>
            </p:cNvPr>
            <p:cNvSpPr>
              <a:spLocks/>
            </p:cNvSpPr>
            <p:nvPr/>
          </p:nvSpPr>
          <p:spPr>
            <a:xfrm>
              <a:off x="4006167" y="5942779"/>
              <a:ext cx="3224520" cy="72162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lvl="1">
                <a:lnSpc>
                  <a:spcPct val="90000"/>
                </a:lnSpc>
                <a:spcBef>
                  <a:spcPts val="600"/>
                </a:spcBef>
                <a:buSzPct val="100000"/>
              </a:pPr>
              <a:r>
                <a:rPr lang="es-ES" b="0" kern="0" dirty="0">
                  <a:solidFill>
                    <a:srgbClr val="00000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Iniciar la producción del punto de partida para las próximas fases (Sesión 6)</a:t>
              </a:r>
              <a:endParaRPr lang="en-US" sz="1300" b="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xmlns="" id="{327514D4-3CE8-4495-9ACC-3D9860B01C10}"/>
                </a:ext>
              </a:extLst>
            </p:cNvPr>
            <p:cNvSpPr>
              <a:spLocks/>
            </p:cNvSpPr>
            <p:nvPr/>
          </p:nvSpPr>
          <p:spPr>
            <a:xfrm>
              <a:off x="4006167" y="5608283"/>
              <a:ext cx="2626414" cy="35371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1" defTabSz="91440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Pct val="100000"/>
                <a:tabLst/>
                <a:defRPr/>
              </a:pPr>
              <a:r>
                <a:rPr lang="en-GB" sz="1700" b="1" dirty="0" err="1">
                  <a:solidFill>
                    <a:schemeClr val="accent6"/>
                  </a:solidFill>
                  <a:latin typeface="Helvetica" charset="0"/>
                  <a:cs typeface="Helvetica" charset="0"/>
                  <a:sym typeface="Helvetica"/>
                </a:rPr>
                <a:t>Iniciar</a:t>
              </a:r>
              <a:r>
                <a:rPr lang="en-GB" sz="1700" b="1" dirty="0">
                  <a:solidFill>
                    <a:schemeClr val="accent6"/>
                  </a:solidFill>
                  <a:latin typeface="Helvetica" charset="0"/>
                  <a:cs typeface="Helvetica" charset="0"/>
                  <a:sym typeface="Helvetica"/>
                </a:rPr>
                <a:t> 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xmlns="" id="{95B5BC42-04F6-4503-887B-EB13254AED9E}"/>
                </a:ext>
              </a:extLst>
            </p:cNvPr>
            <p:cNvGrpSpPr/>
            <p:nvPr/>
          </p:nvGrpSpPr>
          <p:grpSpPr>
            <a:xfrm>
              <a:off x="3136088" y="5748504"/>
              <a:ext cx="798387" cy="781631"/>
              <a:chOff x="6862158" y="5192659"/>
              <a:chExt cx="798387" cy="781631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xmlns="" id="{5E57FE02-848C-4465-AD71-8550B2B92443}"/>
                  </a:ext>
                </a:extLst>
              </p:cNvPr>
              <p:cNvSpPr/>
              <p:nvPr/>
            </p:nvSpPr>
            <p:spPr>
              <a:xfrm>
                <a:off x="6862158" y="5192659"/>
                <a:ext cx="798387" cy="781631"/>
              </a:xfrm>
              <a:prstGeom prst="ellipse">
                <a:avLst/>
              </a:prstGeom>
              <a:solidFill>
                <a:schemeClr val="accent6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en-GB" sz="1500" b="0" dirty="0"/>
              </a:p>
            </p:txBody>
          </p:sp>
          <p:grpSp>
            <p:nvGrpSpPr>
              <p:cNvPr id="40" name="Group 237">
                <a:extLst>
                  <a:ext uri="{FF2B5EF4-FFF2-40B4-BE49-F238E27FC236}">
                    <a16:creationId xmlns:a16="http://schemas.microsoft.com/office/drawing/2014/main" xmlns="" id="{86BDDCB3-A42E-4866-821E-475753A9083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970807" y="5321550"/>
                <a:ext cx="581089" cy="523848"/>
                <a:chOff x="2985" y="2922"/>
                <a:chExt cx="335" cy="302"/>
              </a:xfrm>
              <a:solidFill>
                <a:schemeClr val="bg1"/>
              </a:solidFill>
            </p:grpSpPr>
            <p:sp>
              <p:nvSpPr>
                <p:cNvPr id="41" name="Freeform 239">
                  <a:extLst>
                    <a:ext uri="{FF2B5EF4-FFF2-40B4-BE49-F238E27FC236}">
                      <a16:creationId xmlns:a16="http://schemas.microsoft.com/office/drawing/2014/main" xmlns="" id="{ADF9EC94-7B67-4BE4-A563-4B1C4D8162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2988"/>
                  <a:ext cx="305" cy="236"/>
                </a:xfrm>
                <a:custGeom>
                  <a:avLst/>
                  <a:gdLst>
                    <a:gd name="T0" fmla="*/ 2825 w 3047"/>
                    <a:gd name="T1" fmla="*/ 21 h 2364"/>
                    <a:gd name="T2" fmla="*/ 2954 w 3047"/>
                    <a:gd name="T3" fmla="*/ 113 h 2364"/>
                    <a:gd name="T4" fmla="*/ 3020 w 3047"/>
                    <a:gd name="T5" fmla="*/ 260 h 2364"/>
                    <a:gd name="T6" fmla="*/ 3047 w 3047"/>
                    <a:gd name="T7" fmla="*/ 1042 h 2364"/>
                    <a:gd name="T8" fmla="*/ 3045 w 3047"/>
                    <a:gd name="T9" fmla="*/ 1117 h 2364"/>
                    <a:gd name="T10" fmla="*/ 3024 w 3047"/>
                    <a:gd name="T11" fmla="*/ 1216 h 2364"/>
                    <a:gd name="T12" fmla="*/ 2935 w 3047"/>
                    <a:gd name="T13" fmla="*/ 1295 h 2364"/>
                    <a:gd name="T14" fmla="*/ 2299 w 3047"/>
                    <a:gd name="T15" fmla="*/ 2171 h 2364"/>
                    <a:gd name="T16" fmla="*/ 2253 w 3047"/>
                    <a:gd name="T17" fmla="*/ 2275 h 2364"/>
                    <a:gd name="T18" fmla="*/ 2154 w 3047"/>
                    <a:gd name="T19" fmla="*/ 2329 h 2364"/>
                    <a:gd name="T20" fmla="*/ 2052 w 3047"/>
                    <a:gd name="T21" fmla="*/ 2315 h 2364"/>
                    <a:gd name="T22" fmla="*/ 1968 w 3047"/>
                    <a:gd name="T23" fmla="*/ 2233 h 2364"/>
                    <a:gd name="T24" fmla="*/ 1955 w 3047"/>
                    <a:gd name="T25" fmla="*/ 2090 h 2364"/>
                    <a:gd name="T26" fmla="*/ 1984 w 3047"/>
                    <a:gd name="T27" fmla="*/ 1704 h 2364"/>
                    <a:gd name="T28" fmla="*/ 2037 w 3047"/>
                    <a:gd name="T29" fmla="*/ 1105 h 2364"/>
                    <a:gd name="T30" fmla="*/ 2111 w 3047"/>
                    <a:gd name="T31" fmla="*/ 1005 h 2364"/>
                    <a:gd name="T32" fmla="*/ 2425 w 3047"/>
                    <a:gd name="T33" fmla="*/ 969 h 2364"/>
                    <a:gd name="T34" fmla="*/ 2338 w 3047"/>
                    <a:gd name="T35" fmla="*/ 742 h 2364"/>
                    <a:gd name="T36" fmla="*/ 2269 w 3047"/>
                    <a:gd name="T37" fmla="*/ 761 h 2364"/>
                    <a:gd name="T38" fmla="*/ 2048 w 3047"/>
                    <a:gd name="T39" fmla="*/ 795 h 2364"/>
                    <a:gd name="T40" fmla="*/ 2046 w 3047"/>
                    <a:gd name="T41" fmla="*/ 872 h 2364"/>
                    <a:gd name="T42" fmla="*/ 1975 w 3047"/>
                    <a:gd name="T43" fmla="*/ 912 h 2364"/>
                    <a:gd name="T44" fmla="*/ 1721 w 3047"/>
                    <a:gd name="T45" fmla="*/ 1017 h 2364"/>
                    <a:gd name="T46" fmla="*/ 1713 w 3047"/>
                    <a:gd name="T47" fmla="*/ 2140 h 2364"/>
                    <a:gd name="T48" fmla="*/ 1633 w 3047"/>
                    <a:gd name="T49" fmla="*/ 2274 h 2364"/>
                    <a:gd name="T50" fmla="*/ 1499 w 3047"/>
                    <a:gd name="T51" fmla="*/ 2354 h 2364"/>
                    <a:gd name="T52" fmla="*/ 1377 w 3047"/>
                    <a:gd name="T53" fmla="*/ 2354 h 2364"/>
                    <a:gd name="T54" fmla="*/ 1336 w 3047"/>
                    <a:gd name="T55" fmla="*/ 2284 h 2364"/>
                    <a:gd name="T56" fmla="*/ 1377 w 3047"/>
                    <a:gd name="T57" fmla="*/ 2213 h 2364"/>
                    <a:gd name="T58" fmla="*/ 1473 w 3047"/>
                    <a:gd name="T59" fmla="*/ 2191 h 2364"/>
                    <a:gd name="T60" fmla="*/ 1550 w 3047"/>
                    <a:gd name="T61" fmla="*/ 2115 h 2364"/>
                    <a:gd name="T62" fmla="*/ 1558 w 3047"/>
                    <a:gd name="T63" fmla="*/ 1026 h 2364"/>
                    <a:gd name="T64" fmla="*/ 1498 w 3047"/>
                    <a:gd name="T65" fmla="*/ 936 h 2364"/>
                    <a:gd name="T66" fmla="*/ 431 w 3047"/>
                    <a:gd name="T67" fmla="*/ 912 h 2364"/>
                    <a:gd name="T68" fmla="*/ 329 w 3047"/>
                    <a:gd name="T69" fmla="*/ 955 h 2364"/>
                    <a:gd name="T70" fmla="*/ 287 w 3047"/>
                    <a:gd name="T71" fmla="*/ 1055 h 2364"/>
                    <a:gd name="T72" fmla="*/ 312 w 3047"/>
                    <a:gd name="T73" fmla="*/ 2139 h 2364"/>
                    <a:gd name="T74" fmla="*/ 401 w 3047"/>
                    <a:gd name="T75" fmla="*/ 2199 h 2364"/>
                    <a:gd name="T76" fmla="*/ 488 w 3047"/>
                    <a:gd name="T77" fmla="*/ 2226 h 2364"/>
                    <a:gd name="T78" fmla="*/ 509 w 3047"/>
                    <a:gd name="T79" fmla="*/ 2305 h 2364"/>
                    <a:gd name="T80" fmla="*/ 452 w 3047"/>
                    <a:gd name="T81" fmla="*/ 2362 h 2364"/>
                    <a:gd name="T82" fmla="*/ 312 w 3047"/>
                    <a:gd name="T83" fmla="*/ 2341 h 2364"/>
                    <a:gd name="T84" fmla="*/ 188 w 3047"/>
                    <a:gd name="T85" fmla="*/ 2246 h 2364"/>
                    <a:gd name="T86" fmla="*/ 127 w 3047"/>
                    <a:gd name="T87" fmla="*/ 2100 h 2364"/>
                    <a:gd name="T88" fmla="*/ 134 w 3047"/>
                    <a:gd name="T89" fmla="*/ 980 h 2364"/>
                    <a:gd name="T90" fmla="*/ 60 w 3047"/>
                    <a:gd name="T91" fmla="*/ 909 h 2364"/>
                    <a:gd name="T92" fmla="*/ 3 w 3047"/>
                    <a:gd name="T93" fmla="*/ 853 h 2364"/>
                    <a:gd name="T94" fmla="*/ 23 w 3047"/>
                    <a:gd name="T95" fmla="*/ 774 h 2364"/>
                    <a:gd name="T96" fmla="*/ 1761 w 3047"/>
                    <a:gd name="T97" fmla="*/ 750 h 2364"/>
                    <a:gd name="T98" fmla="*/ 1686 w 3047"/>
                    <a:gd name="T99" fmla="*/ 695 h 2364"/>
                    <a:gd name="T100" fmla="*/ 1670 w 3047"/>
                    <a:gd name="T101" fmla="*/ 601 h 2364"/>
                    <a:gd name="T102" fmla="*/ 1725 w 3047"/>
                    <a:gd name="T103" fmla="*/ 523 h 2364"/>
                    <a:gd name="T104" fmla="*/ 2206 w 3047"/>
                    <a:gd name="T105" fmla="*/ 509 h 2364"/>
                    <a:gd name="T106" fmla="*/ 2467 w 3047"/>
                    <a:gd name="T107" fmla="*/ 121 h 2364"/>
                    <a:gd name="T108" fmla="*/ 2587 w 3047"/>
                    <a:gd name="T109" fmla="*/ 27 h 23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047" h="2364">
                      <a:moveTo>
                        <a:pt x="2704" y="0"/>
                      </a:moveTo>
                      <a:lnTo>
                        <a:pt x="2746" y="1"/>
                      </a:lnTo>
                      <a:lnTo>
                        <a:pt x="2787" y="8"/>
                      </a:lnTo>
                      <a:lnTo>
                        <a:pt x="2825" y="21"/>
                      </a:lnTo>
                      <a:lnTo>
                        <a:pt x="2862" y="38"/>
                      </a:lnTo>
                      <a:lnTo>
                        <a:pt x="2896" y="59"/>
                      </a:lnTo>
                      <a:lnTo>
                        <a:pt x="2926" y="85"/>
                      </a:lnTo>
                      <a:lnTo>
                        <a:pt x="2954" y="113"/>
                      </a:lnTo>
                      <a:lnTo>
                        <a:pt x="2977" y="146"/>
                      </a:lnTo>
                      <a:lnTo>
                        <a:pt x="2995" y="181"/>
                      </a:lnTo>
                      <a:lnTo>
                        <a:pt x="3011" y="219"/>
                      </a:lnTo>
                      <a:lnTo>
                        <a:pt x="3020" y="260"/>
                      </a:lnTo>
                      <a:lnTo>
                        <a:pt x="3024" y="301"/>
                      </a:lnTo>
                      <a:lnTo>
                        <a:pt x="3047" y="1010"/>
                      </a:lnTo>
                      <a:lnTo>
                        <a:pt x="3047" y="1024"/>
                      </a:lnTo>
                      <a:lnTo>
                        <a:pt x="3047" y="1042"/>
                      </a:lnTo>
                      <a:lnTo>
                        <a:pt x="3046" y="1063"/>
                      </a:lnTo>
                      <a:lnTo>
                        <a:pt x="3046" y="1083"/>
                      </a:lnTo>
                      <a:lnTo>
                        <a:pt x="3045" y="1102"/>
                      </a:lnTo>
                      <a:lnTo>
                        <a:pt x="3045" y="1117"/>
                      </a:lnTo>
                      <a:lnTo>
                        <a:pt x="3045" y="1127"/>
                      </a:lnTo>
                      <a:lnTo>
                        <a:pt x="3043" y="1158"/>
                      </a:lnTo>
                      <a:lnTo>
                        <a:pt x="3036" y="1188"/>
                      </a:lnTo>
                      <a:lnTo>
                        <a:pt x="3024" y="1216"/>
                      </a:lnTo>
                      <a:lnTo>
                        <a:pt x="3008" y="1241"/>
                      </a:lnTo>
                      <a:lnTo>
                        <a:pt x="2986" y="1263"/>
                      </a:lnTo>
                      <a:lnTo>
                        <a:pt x="2963" y="1281"/>
                      </a:lnTo>
                      <a:lnTo>
                        <a:pt x="2935" y="1295"/>
                      </a:lnTo>
                      <a:lnTo>
                        <a:pt x="2906" y="1304"/>
                      </a:lnTo>
                      <a:lnTo>
                        <a:pt x="2874" y="1308"/>
                      </a:lnTo>
                      <a:lnTo>
                        <a:pt x="2370" y="1323"/>
                      </a:lnTo>
                      <a:lnTo>
                        <a:pt x="2299" y="2171"/>
                      </a:lnTo>
                      <a:lnTo>
                        <a:pt x="2294" y="2200"/>
                      </a:lnTo>
                      <a:lnTo>
                        <a:pt x="2285" y="2228"/>
                      </a:lnTo>
                      <a:lnTo>
                        <a:pt x="2271" y="2253"/>
                      </a:lnTo>
                      <a:lnTo>
                        <a:pt x="2253" y="2275"/>
                      </a:lnTo>
                      <a:lnTo>
                        <a:pt x="2233" y="2295"/>
                      </a:lnTo>
                      <a:lnTo>
                        <a:pt x="2208" y="2310"/>
                      </a:lnTo>
                      <a:lnTo>
                        <a:pt x="2183" y="2321"/>
                      </a:lnTo>
                      <a:lnTo>
                        <a:pt x="2154" y="2329"/>
                      </a:lnTo>
                      <a:lnTo>
                        <a:pt x="2125" y="2331"/>
                      </a:lnTo>
                      <a:lnTo>
                        <a:pt x="2112" y="2330"/>
                      </a:lnTo>
                      <a:lnTo>
                        <a:pt x="2080" y="2325"/>
                      </a:lnTo>
                      <a:lnTo>
                        <a:pt x="2052" y="2315"/>
                      </a:lnTo>
                      <a:lnTo>
                        <a:pt x="2025" y="2300"/>
                      </a:lnTo>
                      <a:lnTo>
                        <a:pt x="2003" y="2282"/>
                      </a:lnTo>
                      <a:lnTo>
                        <a:pt x="1983" y="2258"/>
                      </a:lnTo>
                      <a:lnTo>
                        <a:pt x="1968" y="2233"/>
                      </a:lnTo>
                      <a:lnTo>
                        <a:pt x="1957" y="2205"/>
                      </a:lnTo>
                      <a:lnTo>
                        <a:pt x="1951" y="2175"/>
                      </a:lnTo>
                      <a:lnTo>
                        <a:pt x="1951" y="2143"/>
                      </a:lnTo>
                      <a:lnTo>
                        <a:pt x="1955" y="2090"/>
                      </a:lnTo>
                      <a:lnTo>
                        <a:pt x="1954" y="2090"/>
                      </a:lnTo>
                      <a:lnTo>
                        <a:pt x="1954" y="2089"/>
                      </a:lnTo>
                      <a:lnTo>
                        <a:pt x="1973" y="1855"/>
                      </a:lnTo>
                      <a:lnTo>
                        <a:pt x="1984" y="1704"/>
                      </a:lnTo>
                      <a:lnTo>
                        <a:pt x="1985" y="1695"/>
                      </a:lnTo>
                      <a:lnTo>
                        <a:pt x="1986" y="1688"/>
                      </a:lnTo>
                      <a:lnTo>
                        <a:pt x="2032" y="1137"/>
                      </a:lnTo>
                      <a:lnTo>
                        <a:pt x="2037" y="1105"/>
                      </a:lnTo>
                      <a:lnTo>
                        <a:pt x="2050" y="1075"/>
                      </a:lnTo>
                      <a:lnTo>
                        <a:pt x="2066" y="1047"/>
                      </a:lnTo>
                      <a:lnTo>
                        <a:pt x="2086" y="1024"/>
                      </a:lnTo>
                      <a:lnTo>
                        <a:pt x="2111" y="1005"/>
                      </a:lnTo>
                      <a:lnTo>
                        <a:pt x="2139" y="989"/>
                      </a:lnTo>
                      <a:lnTo>
                        <a:pt x="2170" y="980"/>
                      </a:lnTo>
                      <a:lnTo>
                        <a:pt x="2202" y="976"/>
                      </a:lnTo>
                      <a:lnTo>
                        <a:pt x="2425" y="969"/>
                      </a:lnTo>
                      <a:lnTo>
                        <a:pt x="2414" y="652"/>
                      </a:lnTo>
                      <a:lnTo>
                        <a:pt x="2371" y="710"/>
                      </a:lnTo>
                      <a:lnTo>
                        <a:pt x="2356" y="728"/>
                      </a:lnTo>
                      <a:lnTo>
                        <a:pt x="2338" y="742"/>
                      </a:lnTo>
                      <a:lnTo>
                        <a:pt x="2316" y="752"/>
                      </a:lnTo>
                      <a:lnTo>
                        <a:pt x="2294" y="759"/>
                      </a:lnTo>
                      <a:lnTo>
                        <a:pt x="2270" y="761"/>
                      </a:lnTo>
                      <a:lnTo>
                        <a:pt x="2269" y="761"/>
                      </a:lnTo>
                      <a:lnTo>
                        <a:pt x="2009" y="757"/>
                      </a:lnTo>
                      <a:lnTo>
                        <a:pt x="2024" y="766"/>
                      </a:lnTo>
                      <a:lnTo>
                        <a:pt x="2037" y="780"/>
                      </a:lnTo>
                      <a:lnTo>
                        <a:pt x="2048" y="795"/>
                      </a:lnTo>
                      <a:lnTo>
                        <a:pt x="2054" y="812"/>
                      </a:lnTo>
                      <a:lnTo>
                        <a:pt x="2057" y="831"/>
                      </a:lnTo>
                      <a:lnTo>
                        <a:pt x="2054" y="853"/>
                      </a:lnTo>
                      <a:lnTo>
                        <a:pt x="2046" y="872"/>
                      </a:lnTo>
                      <a:lnTo>
                        <a:pt x="2032" y="889"/>
                      </a:lnTo>
                      <a:lnTo>
                        <a:pt x="2016" y="901"/>
                      </a:lnTo>
                      <a:lnTo>
                        <a:pt x="1997" y="909"/>
                      </a:lnTo>
                      <a:lnTo>
                        <a:pt x="1975" y="912"/>
                      </a:lnTo>
                      <a:lnTo>
                        <a:pt x="1687" y="912"/>
                      </a:lnTo>
                      <a:lnTo>
                        <a:pt x="1702" y="946"/>
                      </a:lnTo>
                      <a:lnTo>
                        <a:pt x="1714" y="980"/>
                      </a:lnTo>
                      <a:lnTo>
                        <a:pt x="1721" y="1017"/>
                      </a:lnTo>
                      <a:lnTo>
                        <a:pt x="1723" y="1055"/>
                      </a:lnTo>
                      <a:lnTo>
                        <a:pt x="1723" y="2059"/>
                      </a:lnTo>
                      <a:lnTo>
                        <a:pt x="1721" y="2100"/>
                      </a:lnTo>
                      <a:lnTo>
                        <a:pt x="1713" y="2140"/>
                      </a:lnTo>
                      <a:lnTo>
                        <a:pt x="1699" y="2178"/>
                      </a:lnTo>
                      <a:lnTo>
                        <a:pt x="1681" y="2213"/>
                      </a:lnTo>
                      <a:lnTo>
                        <a:pt x="1660" y="2246"/>
                      </a:lnTo>
                      <a:lnTo>
                        <a:pt x="1633" y="2274"/>
                      </a:lnTo>
                      <a:lnTo>
                        <a:pt x="1605" y="2301"/>
                      </a:lnTo>
                      <a:lnTo>
                        <a:pt x="1572" y="2322"/>
                      </a:lnTo>
                      <a:lnTo>
                        <a:pt x="1536" y="2341"/>
                      </a:lnTo>
                      <a:lnTo>
                        <a:pt x="1499" y="2354"/>
                      </a:lnTo>
                      <a:lnTo>
                        <a:pt x="1459" y="2362"/>
                      </a:lnTo>
                      <a:lnTo>
                        <a:pt x="1417" y="2364"/>
                      </a:lnTo>
                      <a:lnTo>
                        <a:pt x="1396" y="2362"/>
                      </a:lnTo>
                      <a:lnTo>
                        <a:pt x="1377" y="2354"/>
                      </a:lnTo>
                      <a:lnTo>
                        <a:pt x="1360" y="2341"/>
                      </a:lnTo>
                      <a:lnTo>
                        <a:pt x="1347" y="2324"/>
                      </a:lnTo>
                      <a:lnTo>
                        <a:pt x="1339" y="2305"/>
                      </a:lnTo>
                      <a:lnTo>
                        <a:pt x="1336" y="2284"/>
                      </a:lnTo>
                      <a:lnTo>
                        <a:pt x="1339" y="2261"/>
                      </a:lnTo>
                      <a:lnTo>
                        <a:pt x="1347" y="2242"/>
                      </a:lnTo>
                      <a:lnTo>
                        <a:pt x="1360" y="2226"/>
                      </a:lnTo>
                      <a:lnTo>
                        <a:pt x="1377" y="2213"/>
                      </a:lnTo>
                      <a:lnTo>
                        <a:pt x="1396" y="2205"/>
                      </a:lnTo>
                      <a:lnTo>
                        <a:pt x="1417" y="2202"/>
                      </a:lnTo>
                      <a:lnTo>
                        <a:pt x="1447" y="2199"/>
                      </a:lnTo>
                      <a:lnTo>
                        <a:pt x="1473" y="2191"/>
                      </a:lnTo>
                      <a:lnTo>
                        <a:pt x="1498" y="2178"/>
                      </a:lnTo>
                      <a:lnTo>
                        <a:pt x="1519" y="2160"/>
                      </a:lnTo>
                      <a:lnTo>
                        <a:pt x="1536" y="2139"/>
                      </a:lnTo>
                      <a:lnTo>
                        <a:pt x="1550" y="2115"/>
                      </a:lnTo>
                      <a:lnTo>
                        <a:pt x="1558" y="2087"/>
                      </a:lnTo>
                      <a:lnTo>
                        <a:pt x="1561" y="2059"/>
                      </a:lnTo>
                      <a:lnTo>
                        <a:pt x="1561" y="1055"/>
                      </a:lnTo>
                      <a:lnTo>
                        <a:pt x="1558" y="1026"/>
                      </a:lnTo>
                      <a:lnTo>
                        <a:pt x="1550" y="1000"/>
                      </a:lnTo>
                      <a:lnTo>
                        <a:pt x="1536" y="975"/>
                      </a:lnTo>
                      <a:lnTo>
                        <a:pt x="1519" y="955"/>
                      </a:lnTo>
                      <a:lnTo>
                        <a:pt x="1498" y="936"/>
                      </a:lnTo>
                      <a:lnTo>
                        <a:pt x="1473" y="923"/>
                      </a:lnTo>
                      <a:lnTo>
                        <a:pt x="1447" y="915"/>
                      </a:lnTo>
                      <a:lnTo>
                        <a:pt x="1417" y="912"/>
                      </a:lnTo>
                      <a:lnTo>
                        <a:pt x="431" y="912"/>
                      </a:lnTo>
                      <a:lnTo>
                        <a:pt x="401" y="915"/>
                      </a:lnTo>
                      <a:lnTo>
                        <a:pt x="375" y="923"/>
                      </a:lnTo>
                      <a:lnTo>
                        <a:pt x="350" y="936"/>
                      </a:lnTo>
                      <a:lnTo>
                        <a:pt x="329" y="955"/>
                      </a:lnTo>
                      <a:lnTo>
                        <a:pt x="312" y="975"/>
                      </a:lnTo>
                      <a:lnTo>
                        <a:pt x="298" y="1000"/>
                      </a:lnTo>
                      <a:lnTo>
                        <a:pt x="290" y="1026"/>
                      </a:lnTo>
                      <a:lnTo>
                        <a:pt x="287" y="1055"/>
                      </a:lnTo>
                      <a:lnTo>
                        <a:pt x="287" y="2059"/>
                      </a:lnTo>
                      <a:lnTo>
                        <a:pt x="290" y="2087"/>
                      </a:lnTo>
                      <a:lnTo>
                        <a:pt x="298" y="2115"/>
                      </a:lnTo>
                      <a:lnTo>
                        <a:pt x="312" y="2139"/>
                      </a:lnTo>
                      <a:lnTo>
                        <a:pt x="329" y="2160"/>
                      </a:lnTo>
                      <a:lnTo>
                        <a:pt x="350" y="2178"/>
                      </a:lnTo>
                      <a:lnTo>
                        <a:pt x="375" y="2191"/>
                      </a:lnTo>
                      <a:lnTo>
                        <a:pt x="401" y="2199"/>
                      </a:lnTo>
                      <a:lnTo>
                        <a:pt x="431" y="2202"/>
                      </a:lnTo>
                      <a:lnTo>
                        <a:pt x="452" y="2205"/>
                      </a:lnTo>
                      <a:lnTo>
                        <a:pt x="471" y="2213"/>
                      </a:lnTo>
                      <a:lnTo>
                        <a:pt x="488" y="2226"/>
                      </a:lnTo>
                      <a:lnTo>
                        <a:pt x="501" y="2242"/>
                      </a:lnTo>
                      <a:lnTo>
                        <a:pt x="509" y="2261"/>
                      </a:lnTo>
                      <a:lnTo>
                        <a:pt x="512" y="2284"/>
                      </a:lnTo>
                      <a:lnTo>
                        <a:pt x="509" y="2305"/>
                      </a:lnTo>
                      <a:lnTo>
                        <a:pt x="501" y="2324"/>
                      </a:lnTo>
                      <a:lnTo>
                        <a:pt x="488" y="2341"/>
                      </a:lnTo>
                      <a:lnTo>
                        <a:pt x="471" y="2354"/>
                      </a:lnTo>
                      <a:lnTo>
                        <a:pt x="452" y="2362"/>
                      </a:lnTo>
                      <a:lnTo>
                        <a:pt x="431" y="2364"/>
                      </a:lnTo>
                      <a:lnTo>
                        <a:pt x="389" y="2362"/>
                      </a:lnTo>
                      <a:lnTo>
                        <a:pt x="349" y="2354"/>
                      </a:lnTo>
                      <a:lnTo>
                        <a:pt x="312" y="2341"/>
                      </a:lnTo>
                      <a:lnTo>
                        <a:pt x="276" y="2322"/>
                      </a:lnTo>
                      <a:lnTo>
                        <a:pt x="243" y="2301"/>
                      </a:lnTo>
                      <a:lnTo>
                        <a:pt x="214" y="2274"/>
                      </a:lnTo>
                      <a:lnTo>
                        <a:pt x="188" y="2246"/>
                      </a:lnTo>
                      <a:lnTo>
                        <a:pt x="166" y="2213"/>
                      </a:lnTo>
                      <a:lnTo>
                        <a:pt x="149" y="2178"/>
                      </a:lnTo>
                      <a:lnTo>
                        <a:pt x="135" y="2140"/>
                      </a:lnTo>
                      <a:lnTo>
                        <a:pt x="127" y="2100"/>
                      </a:lnTo>
                      <a:lnTo>
                        <a:pt x="124" y="2059"/>
                      </a:lnTo>
                      <a:lnTo>
                        <a:pt x="124" y="1055"/>
                      </a:lnTo>
                      <a:lnTo>
                        <a:pt x="127" y="1017"/>
                      </a:lnTo>
                      <a:lnTo>
                        <a:pt x="134" y="980"/>
                      </a:lnTo>
                      <a:lnTo>
                        <a:pt x="146" y="946"/>
                      </a:lnTo>
                      <a:lnTo>
                        <a:pt x="161" y="912"/>
                      </a:lnTo>
                      <a:lnTo>
                        <a:pt x="81" y="912"/>
                      </a:lnTo>
                      <a:lnTo>
                        <a:pt x="60" y="909"/>
                      </a:lnTo>
                      <a:lnTo>
                        <a:pt x="41" y="901"/>
                      </a:lnTo>
                      <a:lnTo>
                        <a:pt x="23" y="889"/>
                      </a:lnTo>
                      <a:lnTo>
                        <a:pt x="11" y="872"/>
                      </a:lnTo>
                      <a:lnTo>
                        <a:pt x="3" y="853"/>
                      </a:lnTo>
                      <a:lnTo>
                        <a:pt x="0" y="831"/>
                      </a:lnTo>
                      <a:lnTo>
                        <a:pt x="3" y="809"/>
                      </a:lnTo>
                      <a:lnTo>
                        <a:pt x="11" y="790"/>
                      </a:lnTo>
                      <a:lnTo>
                        <a:pt x="23" y="774"/>
                      </a:lnTo>
                      <a:lnTo>
                        <a:pt x="41" y="760"/>
                      </a:lnTo>
                      <a:lnTo>
                        <a:pt x="60" y="752"/>
                      </a:lnTo>
                      <a:lnTo>
                        <a:pt x="81" y="750"/>
                      </a:lnTo>
                      <a:lnTo>
                        <a:pt x="1761" y="750"/>
                      </a:lnTo>
                      <a:lnTo>
                        <a:pt x="1739" y="742"/>
                      </a:lnTo>
                      <a:lnTo>
                        <a:pt x="1719" y="730"/>
                      </a:lnTo>
                      <a:lnTo>
                        <a:pt x="1701" y="714"/>
                      </a:lnTo>
                      <a:lnTo>
                        <a:pt x="1686" y="695"/>
                      </a:lnTo>
                      <a:lnTo>
                        <a:pt x="1676" y="674"/>
                      </a:lnTo>
                      <a:lnTo>
                        <a:pt x="1669" y="650"/>
                      </a:lnTo>
                      <a:lnTo>
                        <a:pt x="1667" y="626"/>
                      </a:lnTo>
                      <a:lnTo>
                        <a:pt x="1670" y="601"/>
                      </a:lnTo>
                      <a:lnTo>
                        <a:pt x="1678" y="577"/>
                      </a:lnTo>
                      <a:lnTo>
                        <a:pt x="1690" y="556"/>
                      </a:lnTo>
                      <a:lnTo>
                        <a:pt x="1705" y="538"/>
                      </a:lnTo>
                      <a:lnTo>
                        <a:pt x="1725" y="523"/>
                      </a:lnTo>
                      <a:lnTo>
                        <a:pt x="1746" y="511"/>
                      </a:lnTo>
                      <a:lnTo>
                        <a:pt x="1770" y="504"/>
                      </a:lnTo>
                      <a:lnTo>
                        <a:pt x="1795" y="502"/>
                      </a:lnTo>
                      <a:lnTo>
                        <a:pt x="2206" y="509"/>
                      </a:lnTo>
                      <a:lnTo>
                        <a:pt x="2415" y="224"/>
                      </a:lnTo>
                      <a:lnTo>
                        <a:pt x="2428" y="188"/>
                      </a:lnTo>
                      <a:lnTo>
                        <a:pt x="2446" y="153"/>
                      </a:lnTo>
                      <a:lnTo>
                        <a:pt x="2467" y="121"/>
                      </a:lnTo>
                      <a:lnTo>
                        <a:pt x="2493" y="92"/>
                      </a:lnTo>
                      <a:lnTo>
                        <a:pt x="2521" y="66"/>
                      </a:lnTo>
                      <a:lnTo>
                        <a:pt x="2553" y="44"/>
                      </a:lnTo>
                      <a:lnTo>
                        <a:pt x="2587" y="27"/>
                      </a:lnTo>
                      <a:lnTo>
                        <a:pt x="2625" y="13"/>
                      </a:lnTo>
                      <a:lnTo>
                        <a:pt x="2664" y="4"/>
                      </a:lnTo>
                      <a:lnTo>
                        <a:pt x="270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2" name="Freeform 240">
                  <a:extLst>
                    <a:ext uri="{FF2B5EF4-FFF2-40B4-BE49-F238E27FC236}">
                      <a16:creationId xmlns:a16="http://schemas.microsoft.com/office/drawing/2014/main" xmlns="" id="{5549E1DA-D5DC-44EA-B8BB-F4BA607019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26" y="3004"/>
                  <a:ext cx="94" cy="211"/>
                </a:xfrm>
                <a:custGeom>
                  <a:avLst/>
                  <a:gdLst>
                    <a:gd name="T0" fmla="*/ 943 w 945"/>
                    <a:gd name="T1" fmla="*/ 0 h 2112"/>
                    <a:gd name="T2" fmla="*/ 944 w 945"/>
                    <a:gd name="T3" fmla="*/ 871 h 2112"/>
                    <a:gd name="T4" fmla="*/ 945 w 945"/>
                    <a:gd name="T5" fmla="*/ 942 h 2112"/>
                    <a:gd name="T6" fmla="*/ 945 w 945"/>
                    <a:gd name="T7" fmla="*/ 982 h 2112"/>
                    <a:gd name="T8" fmla="*/ 943 w 945"/>
                    <a:gd name="T9" fmla="*/ 1063 h 2112"/>
                    <a:gd name="T10" fmla="*/ 935 w 945"/>
                    <a:gd name="T11" fmla="*/ 1145 h 2112"/>
                    <a:gd name="T12" fmla="*/ 917 w 945"/>
                    <a:gd name="T13" fmla="*/ 1221 h 2112"/>
                    <a:gd name="T14" fmla="*/ 886 w 945"/>
                    <a:gd name="T15" fmla="*/ 1289 h 2112"/>
                    <a:gd name="T16" fmla="*/ 839 w 945"/>
                    <a:gd name="T17" fmla="*/ 1346 h 2112"/>
                    <a:gd name="T18" fmla="*/ 780 w 945"/>
                    <a:gd name="T19" fmla="*/ 1388 h 2112"/>
                    <a:gd name="T20" fmla="*/ 713 w 945"/>
                    <a:gd name="T21" fmla="*/ 1416 h 2112"/>
                    <a:gd name="T22" fmla="*/ 641 w 945"/>
                    <a:gd name="T23" fmla="*/ 1435 h 2112"/>
                    <a:gd name="T24" fmla="*/ 566 w 945"/>
                    <a:gd name="T25" fmla="*/ 1444 h 2112"/>
                    <a:gd name="T26" fmla="*/ 491 w 945"/>
                    <a:gd name="T27" fmla="*/ 1447 h 2112"/>
                    <a:gd name="T28" fmla="*/ 582 w 945"/>
                    <a:gd name="T29" fmla="*/ 1918 h 2112"/>
                    <a:gd name="T30" fmla="*/ 651 w 945"/>
                    <a:gd name="T31" fmla="*/ 1930 h 2112"/>
                    <a:gd name="T32" fmla="*/ 708 w 945"/>
                    <a:gd name="T33" fmla="*/ 1964 h 2112"/>
                    <a:gd name="T34" fmla="*/ 750 w 945"/>
                    <a:gd name="T35" fmla="*/ 2015 h 2112"/>
                    <a:gd name="T36" fmla="*/ 774 w 945"/>
                    <a:gd name="T37" fmla="*/ 2078 h 2112"/>
                    <a:gd name="T38" fmla="*/ 625 w 945"/>
                    <a:gd name="T39" fmla="*/ 2112 h 2112"/>
                    <a:gd name="T40" fmla="*/ 617 w 945"/>
                    <a:gd name="T41" fmla="*/ 2087 h 2112"/>
                    <a:gd name="T42" fmla="*/ 597 w 945"/>
                    <a:gd name="T43" fmla="*/ 2072 h 2112"/>
                    <a:gd name="T44" fmla="*/ 196 w 945"/>
                    <a:gd name="T45" fmla="*/ 2070 h 2112"/>
                    <a:gd name="T46" fmla="*/ 170 w 945"/>
                    <a:gd name="T47" fmla="*/ 2078 h 2112"/>
                    <a:gd name="T48" fmla="*/ 155 w 945"/>
                    <a:gd name="T49" fmla="*/ 2099 h 2112"/>
                    <a:gd name="T50" fmla="*/ 1 w 945"/>
                    <a:gd name="T51" fmla="*/ 2112 h 2112"/>
                    <a:gd name="T52" fmla="*/ 13 w 945"/>
                    <a:gd name="T53" fmla="*/ 2044 h 2112"/>
                    <a:gd name="T54" fmla="*/ 47 w 945"/>
                    <a:gd name="T55" fmla="*/ 1987 h 2112"/>
                    <a:gd name="T56" fmla="*/ 98 w 945"/>
                    <a:gd name="T57" fmla="*/ 1945 h 2112"/>
                    <a:gd name="T58" fmla="*/ 161 w 945"/>
                    <a:gd name="T59" fmla="*/ 1922 h 2112"/>
                    <a:gd name="T60" fmla="*/ 289 w 945"/>
                    <a:gd name="T61" fmla="*/ 1918 h 2112"/>
                    <a:gd name="T62" fmla="*/ 0 w 945"/>
                    <a:gd name="T63" fmla="*/ 1446 h 2112"/>
                    <a:gd name="T64" fmla="*/ 338 w 945"/>
                    <a:gd name="T65" fmla="*/ 1244 h 2112"/>
                    <a:gd name="T66" fmla="*/ 431 w 945"/>
                    <a:gd name="T67" fmla="*/ 1245 h 2112"/>
                    <a:gd name="T68" fmla="*/ 498 w 945"/>
                    <a:gd name="T69" fmla="*/ 1245 h 2112"/>
                    <a:gd name="T70" fmla="*/ 563 w 945"/>
                    <a:gd name="T71" fmla="*/ 1241 h 2112"/>
                    <a:gd name="T72" fmla="*/ 624 w 945"/>
                    <a:gd name="T73" fmla="*/ 1232 h 2112"/>
                    <a:gd name="T74" fmla="*/ 674 w 945"/>
                    <a:gd name="T75" fmla="*/ 1216 h 2112"/>
                    <a:gd name="T76" fmla="*/ 711 w 945"/>
                    <a:gd name="T77" fmla="*/ 1188 h 2112"/>
                    <a:gd name="T78" fmla="*/ 727 w 945"/>
                    <a:gd name="T79" fmla="*/ 1155 h 2112"/>
                    <a:gd name="T80" fmla="*/ 737 w 945"/>
                    <a:gd name="T81" fmla="*/ 1107 h 2112"/>
                    <a:gd name="T82" fmla="*/ 742 w 945"/>
                    <a:gd name="T83" fmla="*/ 1050 h 2112"/>
                    <a:gd name="T84" fmla="*/ 743 w 945"/>
                    <a:gd name="T85" fmla="*/ 990 h 2112"/>
                    <a:gd name="T86" fmla="*/ 743 w 945"/>
                    <a:gd name="T87" fmla="*/ 933 h 2112"/>
                    <a:gd name="T88" fmla="*/ 742 w 945"/>
                    <a:gd name="T89" fmla="*/ 873 h 2112"/>
                    <a:gd name="T90" fmla="*/ 741 w 945"/>
                    <a:gd name="T91" fmla="*/ 0 h 2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945" h="2112">
                      <a:moveTo>
                        <a:pt x="741" y="0"/>
                      </a:moveTo>
                      <a:lnTo>
                        <a:pt x="943" y="0"/>
                      </a:lnTo>
                      <a:lnTo>
                        <a:pt x="943" y="842"/>
                      </a:lnTo>
                      <a:lnTo>
                        <a:pt x="944" y="871"/>
                      </a:lnTo>
                      <a:lnTo>
                        <a:pt x="944" y="904"/>
                      </a:lnTo>
                      <a:lnTo>
                        <a:pt x="945" y="942"/>
                      </a:lnTo>
                      <a:lnTo>
                        <a:pt x="945" y="982"/>
                      </a:lnTo>
                      <a:lnTo>
                        <a:pt x="945" y="982"/>
                      </a:lnTo>
                      <a:lnTo>
                        <a:pt x="945" y="1023"/>
                      </a:lnTo>
                      <a:lnTo>
                        <a:pt x="943" y="1063"/>
                      </a:lnTo>
                      <a:lnTo>
                        <a:pt x="940" y="1104"/>
                      </a:lnTo>
                      <a:lnTo>
                        <a:pt x="935" y="1145"/>
                      </a:lnTo>
                      <a:lnTo>
                        <a:pt x="928" y="1183"/>
                      </a:lnTo>
                      <a:lnTo>
                        <a:pt x="917" y="1221"/>
                      </a:lnTo>
                      <a:lnTo>
                        <a:pt x="903" y="1256"/>
                      </a:lnTo>
                      <a:lnTo>
                        <a:pt x="886" y="1289"/>
                      </a:lnTo>
                      <a:lnTo>
                        <a:pt x="864" y="1319"/>
                      </a:lnTo>
                      <a:lnTo>
                        <a:pt x="839" y="1346"/>
                      </a:lnTo>
                      <a:lnTo>
                        <a:pt x="811" y="1369"/>
                      </a:lnTo>
                      <a:lnTo>
                        <a:pt x="780" y="1388"/>
                      </a:lnTo>
                      <a:lnTo>
                        <a:pt x="747" y="1404"/>
                      </a:lnTo>
                      <a:lnTo>
                        <a:pt x="713" y="1416"/>
                      </a:lnTo>
                      <a:lnTo>
                        <a:pt x="677" y="1427"/>
                      </a:lnTo>
                      <a:lnTo>
                        <a:pt x="641" y="1435"/>
                      </a:lnTo>
                      <a:lnTo>
                        <a:pt x="604" y="1440"/>
                      </a:lnTo>
                      <a:lnTo>
                        <a:pt x="566" y="1444"/>
                      </a:lnTo>
                      <a:lnTo>
                        <a:pt x="528" y="1446"/>
                      </a:lnTo>
                      <a:lnTo>
                        <a:pt x="491" y="1447"/>
                      </a:lnTo>
                      <a:lnTo>
                        <a:pt x="491" y="1918"/>
                      </a:lnTo>
                      <a:lnTo>
                        <a:pt x="582" y="1918"/>
                      </a:lnTo>
                      <a:lnTo>
                        <a:pt x="618" y="1922"/>
                      </a:lnTo>
                      <a:lnTo>
                        <a:pt x="651" y="1930"/>
                      </a:lnTo>
                      <a:lnTo>
                        <a:pt x="680" y="1945"/>
                      </a:lnTo>
                      <a:lnTo>
                        <a:pt x="708" y="1964"/>
                      </a:lnTo>
                      <a:lnTo>
                        <a:pt x="731" y="1987"/>
                      </a:lnTo>
                      <a:lnTo>
                        <a:pt x="750" y="2015"/>
                      </a:lnTo>
                      <a:lnTo>
                        <a:pt x="765" y="2044"/>
                      </a:lnTo>
                      <a:lnTo>
                        <a:pt x="774" y="2078"/>
                      </a:lnTo>
                      <a:lnTo>
                        <a:pt x="777" y="2112"/>
                      </a:lnTo>
                      <a:lnTo>
                        <a:pt x="625" y="2112"/>
                      </a:lnTo>
                      <a:lnTo>
                        <a:pt x="623" y="2099"/>
                      </a:lnTo>
                      <a:lnTo>
                        <a:pt x="617" y="2087"/>
                      </a:lnTo>
                      <a:lnTo>
                        <a:pt x="608" y="2078"/>
                      </a:lnTo>
                      <a:lnTo>
                        <a:pt x="597" y="2072"/>
                      </a:lnTo>
                      <a:lnTo>
                        <a:pt x="582" y="2070"/>
                      </a:lnTo>
                      <a:lnTo>
                        <a:pt x="196" y="2070"/>
                      </a:lnTo>
                      <a:lnTo>
                        <a:pt x="181" y="2072"/>
                      </a:lnTo>
                      <a:lnTo>
                        <a:pt x="170" y="2078"/>
                      </a:lnTo>
                      <a:lnTo>
                        <a:pt x="161" y="2087"/>
                      </a:lnTo>
                      <a:lnTo>
                        <a:pt x="155" y="2099"/>
                      </a:lnTo>
                      <a:lnTo>
                        <a:pt x="153" y="2112"/>
                      </a:lnTo>
                      <a:lnTo>
                        <a:pt x="1" y="2112"/>
                      </a:lnTo>
                      <a:lnTo>
                        <a:pt x="4" y="2078"/>
                      </a:lnTo>
                      <a:lnTo>
                        <a:pt x="13" y="2044"/>
                      </a:lnTo>
                      <a:lnTo>
                        <a:pt x="28" y="2015"/>
                      </a:lnTo>
                      <a:lnTo>
                        <a:pt x="47" y="1987"/>
                      </a:lnTo>
                      <a:lnTo>
                        <a:pt x="70" y="1964"/>
                      </a:lnTo>
                      <a:lnTo>
                        <a:pt x="98" y="1945"/>
                      </a:lnTo>
                      <a:lnTo>
                        <a:pt x="127" y="1930"/>
                      </a:lnTo>
                      <a:lnTo>
                        <a:pt x="161" y="1922"/>
                      </a:lnTo>
                      <a:lnTo>
                        <a:pt x="196" y="1918"/>
                      </a:lnTo>
                      <a:lnTo>
                        <a:pt x="289" y="1918"/>
                      </a:lnTo>
                      <a:lnTo>
                        <a:pt x="289" y="1446"/>
                      </a:lnTo>
                      <a:lnTo>
                        <a:pt x="0" y="1446"/>
                      </a:lnTo>
                      <a:lnTo>
                        <a:pt x="0" y="1244"/>
                      </a:lnTo>
                      <a:lnTo>
                        <a:pt x="338" y="1244"/>
                      </a:lnTo>
                      <a:lnTo>
                        <a:pt x="398" y="1245"/>
                      </a:lnTo>
                      <a:lnTo>
                        <a:pt x="431" y="1245"/>
                      </a:lnTo>
                      <a:lnTo>
                        <a:pt x="464" y="1245"/>
                      </a:lnTo>
                      <a:lnTo>
                        <a:pt x="498" y="1245"/>
                      </a:lnTo>
                      <a:lnTo>
                        <a:pt x="532" y="1244"/>
                      </a:lnTo>
                      <a:lnTo>
                        <a:pt x="563" y="1241"/>
                      </a:lnTo>
                      <a:lnTo>
                        <a:pt x="595" y="1238"/>
                      </a:lnTo>
                      <a:lnTo>
                        <a:pt x="624" y="1232"/>
                      </a:lnTo>
                      <a:lnTo>
                        <a:pt x="651" y="1225"/>
                      </a:lnTo>
                      <a:lnTo>
                        <a:pt x="674" y="1216"/>
                      </a:lnTo>
                      <a:lnTo>
                        <a:pt x="694" y="1204"/>
                      </a:lnTo>
                      <a:lnTo>
                        <a:pt x="711" y="1188"/>
                      </a:lnTo>
                      <a:lnTo>
                        <a:pt x="720" y="1174"/>
                      </a:lnTo>
                      <a:lnTo>
                        <a:pt x="727" y="1155"/>
                      </a:lnTo>
                      <a:lnTo>
                        <a:pt x="733" y="1133"/>
                      </a:lnTo>
                      <a:lnTo>
                        <a:pt x="737" y="1107"/>
                      </a:lnTo>
                      <a:lnTo>
                        <a:pt x="740" y="1080"/>
                      </a:lnTo>
                      <a:lnTo>
                        <a:pt x="742" y="1050"/>
                      </a:lnTo>
                      <a:lnTo>
                        <a:pt x="743" y="1020"/>
                      </a:lnTo>
                      <a:lnTo>
                        <a:pt x="743" y="990"/>
                      </a:lnTo>
                      <a:lnTo>
                        <a:pt x="743" y="961"/>
                      </a:lnTo>
                      <a:lnTo>
                        <a:pt x="743" y="933"/>
                      </a:lnTo>
                      <a:lnTo>
                        <a:pt x="742" y="908"/>
                      </a:lnTo>
                      <a:lnTo>
                        <a:pt x="742" y="873"/>
                      </a:lnTo>
                      <a:lnTo>
                        <a:pt x="741" y="842"/>
                      </a:lnTo>
                      <a:lnTo>
                        <a:pt x="74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3" name="Freeform 241">
                  <a:extLst>
                    <a:ext uri="{FF2B5EF4-FFF2-40B4-BE49-F238E27FC236}">
                      <a16:creationId xmlns:a16="http://schemas.microsoft.com/office/drawing/2014/main" xmlns="" id="{63386F20-4C7F-44AB-AA21-9BA6457DEB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6" y="2982"/>
                  <a:ext cx="74" cy="75"/>
                </a:xfrm>
                <a:custGeom>
                  <a:avLst/>
                  <a:gdLst>
                    <a:gd name="T0" fmla="*/ 100 w 739"/>
                    <a:gd name="T1" fmla="*/ 0 h 755"/>
                    <a:gd name="T2" fmla="*/ 203 w 739"/>
                    <a:gd name="T3" fmla="*/ 645 h 755"/>
                    <a:gd name="T4" fmla="*/ 739 w 739"/>
                    <a:gd name="T5" fmla="*/ 655 h 755"/>
                    <a:gd name="T6" fmla="*/ 738 w 739"/>
                    <a:gd name="T7" fmla="*/ 755 h 755"/>
                    <a:gd name="T8" fmla="*/ 116 w 739"/>
                    <a:gd name="T9" fmla="*/ 744 h 755"/>
                    <a:gd name="T10" fmla="*/ 0 w 739"/>
                    <a:gd name="T11" fmla="*/ 17 h 755"/>
                    <a:gd name="T12" fmla="*/ 100 w 739"/>
                    <a:gd name="T13" fmla="*/ 0 h 7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39" h="755">
                      <a:moveTo>
                        <a:pt x="100" y="0"/>
                      </a:moveTo>
                      <a:lnTo>
                        <a:pt x="203" y="645"/>
                      </a:lnTo>
                      <a:lnTo>
                        <a:pt x="739" y="655"/>
                      </a:lnTo>
                      <a:lnTo>
                        <a:pt x="738" y="755"/>
                      </a:lnTo>
                      <a:lnTo>
                        <a:pt x="116" y="744"/>
                      </a:lnTo>
                      <a:lnTo>
                        <a:pt x="0" y="17"/>
                      </a:lnTo>
                      <a:lnTo>
                        <a:pt x="10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4" name="Freeform 242">
                  <a:extLst>
                    <a:ext uri="{FF2B5EF4-FFF2-40B4-BE49-F238E27FC236}">
                      <a16:creationId xmlns:a16="http://schemas.microsoft.com/office/drawing/2014/main" xmlns="" id="{442F5E8D-D119-40E4-8FE7-53F350126B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8" y="2922"/>
                  <a:ext cx="65" cy="65"/>
                </a:xfrm>
                <a:custGeom>
                  <a:avLst/>
                  <a:gdLst>
                    <a:gd name="T0" fmla="*/ 327 w 653"/>
                    <a:gd name="T1" fmla="*/ 0 h 653"/>
                    <a:gd name="T2" fmla="*/ 371 w 653"/>
                    <a:gd name="T3" fmla="*/ 3 h 653"/>
                    <a:gd name="T4" fmla="*/ 414 w 653"/>
                    <a:gd name="T5" fmla="*/ 11 h 653"/>
                    <a:gd name="T6" fmla="*/ 454 w 653"/>
                    <a:gd name="T7" fmla="*/ 25 h 653"/>
                    <a:gd name="T8" fmla="*/ 492 w 653"/>
                    <a:gd name="T9" fmla="*/ 45 h 653"/>
                    <a:gd name="T10" fmla="*/ 526 w 653"/>
                    <a:gd name="T11" fmla="*/ 68 h 653"/>
                    <a:gd name="T12" fmla="*/ 558 w 653"/>
                    <a:gd name="T13" fmla="*/ 96 h 653"/>
                    <a:gd name="T14" fmla="*/ 585 w 653"/>
                    <a:gd name="T15" fmla="*/ 127 h 653"/>
                    <a:gd name="T16" fmla="*/ 610 w 653"/>
                    <a:gd name="T17" fmla="*/ 162 h 653"/>
                    <a:gd name="T18" fmla="*/ 628 w 653"/>
                    <a:gd name="T19" fmla="*/ 199 h 653"/>
                    <a:gd name="T20" fmla="*/ 642 w 653"/>
                    <a:gd name="T21" fmla="*/ 240 h 653"/>
                    <a:gd name="T22" fmla="*/ 651 w 653"/>
                    <a:gd name="T23" fmla="*/ 282 h 653"/>
                    <a:gd name="T24" fmla="*/ 653 w 653"/>
                    <a:gd name="T25" fmla="*/ 327 h 653"/>
                    <a:gd name="T26" fmla="*/ 651 w 653"/>
                    <a:gd name="T27" fmla="*/ 371 h 653"/>
                    <a:gd name="T28" fmla="*/ 642 w 653"/>
                    <a:gd name="T29" fmla="*/ 413 h 653"/>
                    <a:gd name="T30" fmla="*/ 628 w 653"/>
                    <a:gd name="T31" fmla="*/ 454 h 653"/>
                    <a:gd name="T32" fmla="*/ 610 w 653"/>
                    <a:gd name="T33" fmla="*/ 491 h 653"/>
                    <a:gd name="T34" fmla="*/ 585 w 653"/>
                    <a:gd name="T35" fmla="*/ 526 h 653"/>
                    <a:gd name="T36" fmla="*/ 558 w 653"/>
                    <a:gd name="T37" fmla="*/ 558 h 653"/>
                    <a:gd name="T38" fmla="*/ 526 w 653"/>
                    <a:gd name="T39" fmla="*/ 585 h 653"/>
                    <a:gd name="T40" fmla="*/ 492 w 653"/>
                    <a:gd name="T41" fmla="*/ 608 h 653"/>
                    <a:gd name="T42" fmla="*/ 454 w 653"/>
                    <a:gd name="T43" fmla="*/ 628 h 653"/>
                    <a:gd name="T44" fmla="*/ 414 w 653"/>
                    <a:gd name="T45" fmla="*/ 642 h 653"/>
                    <a:gd name="T46" fmla="*/ 371 w 653"/>
                    <a:gd name="T47" fmla="*/ 650 h 653"/>
                    <a:gd name="T48" fmla="*/ 327 w 653"/>
                    <a:gd name="T49" fmla="*/ 653 h 653"/>
                    <a:gd name="T50" fmla="*/ 283 w 653"/>
                    <a:gd name="T51" fmla="*/ 650 h 653"/>
                    <a:gd name="T52" fmla="*/ 240 w 653"/>
                    <a:gd name="T53" fmla="*/ 642 h 653"/>
                    <a:gd name="T54" fmla="*/ 199 w 653"/>
                    <a:gd name="T55" fmla="*/ 628 h 653"/>
                    <a:gd name="T56" fmla="*/ 162 w 653"/>
                    <a:gd name="T57" fmla="*/ 608 h 653"/>
                    <a:gd name="T58" fmla="*/ 127 w 653"/>
                    <a:gd name="T59" fmla="*/ 585 h 653"/>
                    <a:gd name="T60" fmla="*/ 96 w 653"/>
                    <a:gd name="T61" fmla="*/ 558 h 653"/>
                    <a:gd name="T62" fmla="*/ 68 w 653"/>
                    <a:gd name="T63" fmla="*/ 526 h 653"/>
                    <a:gd name="T64" fmla="*/ 45 w 653"/>
                    <a:gd name="T65" fmla="*/ 491 h 653"/>
                    <a:gd name="T66" fmla="*/ 25 w 653"/>
                    <a:gd name="T67" fmla="*/ 454 h 653"/>
                    <a:gd name="T68" fmla="*/ 11 w 653"/>
                    <a:gd name="T69" fmla="*/ 413 h 653"/>
                    <a:gd name="T70" fmla="*/ 3 w 653"/>
                    <a:gd name="T71" fmla="*/ 371 h 653"/>
                    <a:gd name="T72" fmla="*/ 0 w 653"/>
                    <a:gd name="T73" fmla="*/ 327 h 653"/>
                    <a:gd name="T74" fmla="*/ 3 w 653"/>
                    <a:gd name="T75" fmla="*/ 282 h 653"/>
                    <a:gd name="T76" fmla="*/ 11 w 653"/>
                    <a:gd name="T77" fmla="*/ 240 h 653"/>
                    <a:gd name="T78" fmla="*/ 25 w 653"/>
                    <a:gd name="T79" fmla="*/ 199 h 653"/>
                    <a:gd name="T80" fmla="*/ 45 w 653"/>
                    <a:gd name="T81" fmla="*/ 162 h 653"/>
                    <a:gd name="T82" fmla="*/ 68 w 653"/>
                    <a:gd name="T83" fmla="*/ 127 h 653"/>
                    <a:gd name="T84" fmla="*/ 96 w 653"/>
                    <a:gd name="T85" fmla="*/ 96 h 653"/>
                    <a:gd name="T86" fmla="*/ 127 w 653"/>
                    <a:gd name="T87" fmla="*/ 68 h 653"/>
                    <a:gd name="T88" fmla="*/ 162 w 653"/>
                    <a:gd name="T89" fmla="*/ 45 h 653"/>
                    <a:gd name="T90" fmla="*/ 199 w 653"/>
                    <a:gd name="T91" fmla="*/ 25 h 653"/>
                    <a:gd name="T92" fmla="*/ 240 w 653"/>
                    <a:gd name="T93" fmla="*/ 11 h 653"/>
                    <a:gd name="T94" fmla="*/ 283 w 653"/>
                    <a:gd name="T95" fmla="*/ 3 h 653"/>
                    <a:gd name="T96" fmla="*/ 327 w 653"/>
                    <a:gd name="T97" fmla="*/ 0 h 6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53" h="653">
                      <a:moveTo>
                        <a:pt x="327" y="0"/>
                      </a:moveTo>
                      <a:lnTo>
                        <a:pt x="371" y="3"/>
                      </a:lnTo>
                      <a:lnTo>
                        <a:pt x="414" y="11"/>
                      </a:lnTo>
                      <a:lnTo>
                        <a:pt x="454" y="25"/>
                      </a:lnTo>
                      <a:lnTo>
                        <a:pt x="492" y="45"/>
                      </a:lnTo>
                      <a:lnTo>
                        <a:pt x="526" y="68"/>
                      </a:lnTo>
                      <a:lnTo>
                        <a:pt x="558" y="96"/>
                      </a:lnTo>
                      <a:lnTo>
                        <a:pt x="585" y="127"/>
                      </a:lnTo>
                      <a:lnTo>
                        <a:pt x="610" y="162"/>
                      </a:lnTo>
                      <a:lnTo>
                        <a:pt x="628" y="199"/>
                      </a:lnTo>
                      <a:lnTo>
                        <a:pt x="642" y="240"/>
                      </a:lnTo>
                      <a:lnTo>
                        <a:pt x="651" y="282"/>
                      </a:lnTo>
                      <a:lnTo>
                        <a:pt x="653" y="327"/>
                      </a:lnTo>
                      <a:lnTo>
                        <a:pt x="651" y="371"/>
                      </a:lnTo>
                      <a:lnTo>
                        <a:pt x="642" y="413"/>
                      </a:lnTo>
                      <a:lnTo>
                        <a:pt x="628" y="454"/>
                      </a:lnTo>
                      <a:lnTo>
                        <a:pt x="610" y="491"/>
                      </a:lnTo>
                      <a:lnTo>
                        <a:pt x="585" y="526"/>
                      </a:lnTo>
                      <a:lnTo>
                        <a:pt x="558" y="558"/>
                      </a:lnTo>
                      <a:lnTo>
                        <a:pt x="526" y="585"/>
                      </a:lnTo>
                      <a:lnTo>
                        <a:pt x="492" y="608"/>
                      </a:lnTo>
                      <a:lnTo>
                        <a:pt x="454" y="628"/>
                      </a:lnTo>
                      <a:lnTo>
                        <a:pt x="414" y="642"/>
                      </a:lnTo>
                      <a:lnTo>
                        <a:pt x="371" y="650"/>
                      </a:lnTo>
                      <a:lnTo>
                        <a:pt x="327" y="653"/>
                      </a:lnTo>
                      <a:lnTo>
                        <a:pt x="283" y="650"/>
                      </a:lnTo>
                      <a:lnTo>
                        <a:pt x="240" y="642"/>
                      </a:lnTo>
                      <a:lnTo>
                        <a:pt x="199" y="628"/>
                      </a:lnTo>
                      <a:lnTo>
                        <a:pt x="162" y="608"/>
                      </a:lnTo>
                      <a:lnTo>
                        <a:pt x="127" y="585"/>
                      </a:lnTo>
                      <a:lnTo>
                        <a:pt x="96" y="558"/>
                      </a:lnTo>
                      <a:lnTo>
                        <a:pt x="68" y="526"/>
                      </a:lnTo>
                      <a:lnTo>
                        <a:pt x="45" y="491"/>
                      </a:lnTo>
                      <a:lnTo>
                        <a:pt x="25" y="454"/>
                      </a:lnTo>
                      <a:lnTo>
                        <a:pt x="11" y="413"/>
                      </a:lnTo>
                      <a:lnTo>
                        <a:pt x="3" y="371"/>
                      </a:lnTo>
                      <a:lnTo>
                        <a:pt x="0" y="327"/>
                      </a:lnTo>
                      <a:lnTo>
                        <a:pt x="3" y="282"/>
                      </a:lnTo>
                      <a:lnTo>
                        <a:pt x="11" y="240"/>
                      </a:lnTo>
                      <a:lnTo>
                        <a:pt x="25" y="199"/>
                      </a:lnTo>
                      <a:lnTo>
                        <a:pt x="45" y="162"/>
                      </a:lnTo>
                      <a:lnTo>
                        <a:pt x="68" y="127"/>
                      </a:lnTo>
                      <a:lnTo>
                        <a:pt x="96" y="96"/>
                      </a:lnTo>
                      <a:lnTo>
                        <a:pt x="127" y="68"/>
                      </a:lnTo>
                      <a:lnTo>
                        <a:pt x="162" y="45"/>
                      </a:lnTo>
                      <a:lnTo>
                        <a:pt x="199" y="25"/>
                      </a:lnTo>
                      <a:lnTo>
                        <a:pt x="240" y="11"/>
                      </a:lnTo>
                      <a:lnTo>
                        <a:pt x="283" y="3"/>
                      </a:lnTo>
                      <a:lnTo>
                        <a:pt x="32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xmlns="" id="{35A60A08-7E88-4A66-9624-D987D14D12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35350" y="2718578"/>
              <a:ext cx="3379266" cy="0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</a:ln>
            <a:effectLst>
              <a:outerShdw blurRad="38100" dist="20000" dir="5400000" rotWithShape="0">
                <a:srgbClr val="000000">
                  <a:alpha val="38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461991AE-1C47-46B7-8660-B72C7F0C64DB}"/>
                </a:ext>
              </a:extLst>
            </p:cNvPr>
            <p:cNvSpPr>
              <a:spLocks/>
            </p:cNvSpPr>
            <p:nvPr/>
          </p:nvSpPr>
          <p:spPr>
            <a:xfrm>
              <a:off x="3990096" y="2729413"/>
              <a:ext cx="3224520" cy="72162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lvl="1">
                <a:lnSpc>
                  <a:spcPct val="90000"/>
                </a:lnSpc>
                <a:spcBef>
                  <a:spcPts val="600"/>
                </a:spcBef>
                <a:buSzPct val="100000"/>
              </a:pPr>
              <a:r>
                <a:rPr lang="es-ES" b="0" kern="0" dirty="0">
                  <a:solidFill>
                    <a:srgbClr val="00000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Inspirar a las ciudades y promover el conocimiento compartiendo las mejores prácticas (Sesiones 1, 2, 3, 4, 5 y 7)</a:t>
              </a:r>
              <a:endParaRPr lang="en-US" sz="1300" b="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CE04239A-FAC3-4F1E-A32B-047D4EF92448}"/>
                </a:ext>
              </a:extLst>
            </p:cNvPr>
            <p:cNvSpPr>
              <a:spLocks/>
            </p:cNvSpPr>
            <p:nvPr/>
          </p:nvSpPr>
          <p:spPr>
            <a:xfrm>
              <a:off x="3990096" y="2394917"/>
              <a:ext cx="2626414" cy="35371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1" defTabSz="91440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Pct val="100000"/>
                <a:tabLst/>
                <a:defRPr/>
              </a:pPr>
              <a:r>
                <a:rPr lang="en-GB" sz="1700" b="1" dirty="0" err="1">
                  <a:solidFill>
                    <a:schemeClr val="accent6"/>
                  </a:solidFill>
                  <a:latin typeface="Helvetica" charset="0"/>
                  <a:cs typeface="Helvetica" charset="0"/>
                  <a:sym typeface="Helvetica"/>
                </a:rPr>
                <a:t>Inspirar</a:t>
              </a:r>
              <a:r>
                <a:rPr lang="en-GB" sz="1700" b="1" dirty="0">
                  <a:solidFill>
                    <a:schemeClr val="accent6"/>
                  </a:solidFill>
                  <a:latin typeface="Helvetica" charset="0"/>
                  <a:cs typeface="Helvetica" charset="0"/>
                  <a:sym typeface="Helvetica"/>
                </a:rPr>
                <a:t> 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xmlns="" id="{3288620F-5E47-48CA-8DCC-4AF227969CE3}"/>
                </a:ext>
              </a:extLst>
            </p:cNvPr>
            <p:cNvGrpSpPr/>
            <p:nvPr/>
          </p:nvGrpSpPr>
          <p:grpSpPr>
            <a:xfrm>
              <a:off x="3120017" y="2535138"/>
              <a:ext cx="798387" cy="781631"/>
              <a:chOff x="3139672" y="3998152"/>
              <a:chExt cx="798387" cy="781631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xmlns="" id="{7871C2AB-B1B3-41B3-9B26-E79753460E1E}"/>
                  </a:ext>
                </a:extLst>
              </p:cNvPr>
              <p:cNvSpPr/>
              <p:nvPr/>
            </p:nvSpPr>
            <p:spPr>
              <a:xfrm>
                <a:off x="3139672" y="3998152"/>
                <a:ext cx="798387" cy="781631"/>
              </a:xfrm>
              <a:prstGeom prst="ellipse">
                <a:avLst/>
              </a:prstGeom>
              <a:solidFill>
                <a:schemeClr val="accent6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en-GB" sz="1500" b="0" dirty="0"/>
              </a:p>
            </p:txBody>
          </p:sp>
          <p:grpSp>
            <p:nvGrpSpPr>
              <p:cNvPr id="31" name="Group 222">
                <a:extLst>
                  <a:ext uri="{FF2B5EF4-FFF2-40B4-BE49-F238E27FC236}">
                    <a16:creationId xmlns:a16="http://schemas.microsoft.com/office/drawing/2014/main" xmlns="" id="{B87F0FC5-7E4F-457F-A410-93D9618A6E6B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 bwMode="auto">
              <a:xfrm>
                <a:off x="3347909" y="4127043"/>
                <a:ext cx="381912" cy="523848"/>
                <a:chOff x="4816" y="1371"/>
                <a:chExt cx="261" cy="358"/>
              </a:xfrm>
              <a:solidFill>
                <a:schemeClr val="bg1"/>
              </a:solidFill>
            </p:grpSpPr>
            <p:sp>
              <p:nvSpPr>
                <p:cNvPr id="32" name="Freeform 224">
                  <a:extLst>
                    <a:ext uri="{FF2B5EF4-FFF2-40B4-BE49-F238E27FC236}">
                      <a16:creationId xmlns:a16="http://schemas.microsoft.com/office/drawing/2014/main" xmlns="" id="{F092395C-9C83-4976-9A26-AABB0D5D17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1" y="1371"/>
                  <a:ext cx="92" cy="93"/>
                </a:xfrm>
                <a:custGeom>
                  <a:avLst/>
                  <a:gdLst>
                    <a:gd name="T0" fmla="*/ 463 w 926"/>
                    <a:gd name="T1" fmla="*/ 0 h 926"/>
                    <a:gd name="T2" fmla="*/ 517 w 926"/>
                    <a:gd name="T3" fmla="*/ 3 h 926"/>
                    <a:gd name="T4" fmla="*/ 569 w 926"/>
                    <a:gd name="T5" fmla="*/ 12 h 926"/>
                    <a:gd name="T6" fmla="*/ 619 w 926"/>
                    <a:gd name="T7" fmla="*/ 27 h 926"/>
                    <a:gd name="T8" fmla="*/ 666 w 926"/>
                    <a:gd name="T9" fmla="*/ 47 h 926"/>
                    <a:gd name="T10" fmla="*/ 711 w 926"/>
                    <a:gd name="T11" fmla="*/ 72 h 926"/>
                    <a:gd name="T12" fmla="*/ 752 w 926"/>
                    <a:gd name="T13" fmla="*/ 101 h 926"/>
                    <a:gd name="T14" fmla="*/ 790 w 926"/>
                    <a:gd name="T15" fmla="*/ 136 h 926"/>
                    <a:gd name="T16" fmla="*/ 824 w 926"/>
                    <a:gd name="T17" fmla="*/ 173 h 926"/>
                    <a:gd name="T18" fmla="*/ 854 w 926"/>
                    <a:gd name="T19" fmla="*/ 214 h 926"/>
                    <a:gd name="T20" fmla="*/ 879 w 926"/>
                    <a:gd name="T21" fmla="*/ 259 h 926"/>
                    <a:gd name="T22" fmla="*/ 899 w 926"/>
                    <a:gd name="T23" fmla="*/ 307 h 926"/>
                    <a:gd name="T24" fmla="*/ 914 w 926"/>
                    <a:gd name="T25" fmla="*/ 357 h 926"/>
                    <a:gd name="T26" fmla="*/ 923 w 926"/>
                    <a:gd name="T27" fmla="*/ 409 h 926"/>
                    <a:gd name="T28" fmla="*/ 926 w 926"/>
                    <a:gd name="T29" fmla="*/ 462 h 926"/>
                    <a:gd name="T30" fmla="*/ 923 w 926"/>
                    <a:gd name="T31" fmla="*/ 517 h 926"/>
                    <a:gd name="T32" fmla="*/ 914 w 926"/>
                    <a:gd name="T33" fmla="*/ 569 h 926"/>
                    <a:gd name="T34" fmla="*/ 899 w 926"/>
                    <a:gd name="T35" fmla="*/ 619 h 926"/>
                    <a:gd name="T36" fmla="*/ 879 w 926"/>
                    <a:gd name="T37" fmla="*/ 666 h 926"/>
                    <a:gd name="T38" fmla="*/ 854 w 926"/>
                    <a:gd name="T39" fmla="*/ 710 h 926"/>
                    <a:gd name="T40" fmla="*/ 824 w 926"/>
                    <a:gd name="T41" fmla="*/ 752 h 926"/>
                    <a:gd name="T42" fmla="*/ 790 w 926"/>
                    <a:gd name="T43" fmla="*/ 790 h 926"/>
                    <a:gd name="T44" fmla="*/ 752 w 926"/>
                    <a:gd name="T45" fmla="*/ 823 h 926"/>
                    <a:gd name="T46" fmla="*/ 711 w 926"/>
                    <a:gd name="T47" fmla="*/ 854 h 926"/>
                    <a:gd name="T48" fmla="*/ 666 w 926"/>
                    <a:gd name="T49" fmla="*/ 878 h 926"/>
                    <a:gd name="T50" fmla="*/ 619 w 926"/>
                    <a:gd name="T51" fmla="*/ 898 h 926"/>
                    <a:gd name="T52" fmla="*/ 569 w 926"/>
                    <a:gd name="T53" fmla="*/ 913 h 926"/>
                    <a:gd name="T54" fmla="*/ 517 w 926"/>
                    <a:gd name="T55" fmla="*/ 922 h 926"/>
                    <a:gd name="T56" fmla="*/ 463 w 926"/>
                    <a:gd name="T57" fmla="*/ 926 h 926"/>
                    <a:gd name="T58" fmla="*/ 410 w 926"/>
                    <a:gd name="T59" fmla="*/ 922 h 926"/>
                    <a:gd name="T60" fmla="*/ 357 w 926"/>
                    <a:gd name="T61" fmla="*/ 913 h 926"/>
                    <a:gd name="T62" fmla="*/ 307 w 926"/>
                    <a:gd name="T63" fmla="*/ 898 h 926"/>
                    <a:gd name="T64" fmla="*/ 259 w 926"/>
                    <a:gd name="T65" fmla="*/ 878 h 926"/>
                    <a:gd name="T66" fmla="*/ 215 w 926"/>
                    <a:gd name="T67" fmla="*/ 854 h 926"/>
                    <a:gd name="T68" fmla="*/ 173 w 926"/>
                    <a:gd name="T69" fmla="*/ 823 h 926"/>
                    <a:gd name="T70" fmla="*/ 136 w 926"/>
                    <a:gd name="T71" fmla="*/ 790 h 926"/>
                    <a:gd name="T72" fmla="*/ 102 w 926"/>
                    <a:gd name="T73" fmla="*/ 752 h 926"/>
                    <a:gd name="T74" fmla="*/ 72 w 926"/>
                    <a:gd name="T75" fmla="*/ 710 h 926"/>
                    <a:gd name="T76" fmla="*/ 47 w 926"/>
                    <a:gd name="T77" fmla="*/ 666 h 926"/>
                    <a:gd name="T78" fmla="*/ 28 w 926"/>
                    <a:gd name="T79" fmla="*/ 619 h 926"/>
                    <a:gd name="T80" fmla="*/ 12 w 926"/>
                    <a:gd name="T81" fmla="*/ 569 h 926"/>
                    <a:gd name="T82" fmla="*/ 4 w 926"/>
                    <a:gd name="T83" fmla="*/ 517 h 926"/>
                    <a:gd name="T84" fmla="*/ 0 w 926"/>
                    <a:gd name="T85" fmla="*/ 462 h 926"/>
                    <a:gd name="T86" fmla="*/ 4 w 926"/>
                    <a:gd name="T87" fmla="*/ 409 h 926"/>
                    <a:gd name="T88" fmla="*/ 12 w 926"/>
                    <a:gd name="T89" fmla="*/ 357 h 926"/>
                    <a:gd name="T90" fmla="*/ 28 w 926"/>
                    <a:gd name="T91" fmla="*/ 307 h 926"/>
                    <a:gd name="T92" fmla="*/ 47 w 926"/>
                    <a:gd name="T93" fmla="*/ 259 h 926"/>
                    <a:gd name="T94" fmla="*/ 72 w 926"/>
                    <a:gd name="T95" fmla="*/ 214 h 926"/>
                    <a:gd name="T96" fmla="*/ 102 w 926"/>
                    <a:gd name="T97" fmla="*/ 173 h 926"/>
                    <a:gd name="T98" fmla="*/ 136 w 926"/>
                    <a:gd name="T99" fmla="*/ 136 h 926"/>
                    <a:gd name="T100" fmla="*/ 173 w 926"/>
                    <a:gd name="T101" fmla="*/ 101 h 926"/>
                    <a:gd name="T102" fmla="*/ 215 w 926"/>
                    <a:gd name="T103" fmla="*/ 72 h 926"/>
                    <a:gd name="T104" fmla="*/ 259 w 926"/>
                    <a:gd name="T105" fmla="*/ 47 h 926"/>
                    <a:gd name="T106" fmla="*/ 307 w 926"/>
                    <a:gd name="T107" fmla="*/ 27 h 926"/>
                    <a:gd name="T108" fmla="*/ 357 w 926"/>
                    <a:gd name="T109" fmla="*/ 12 h 926"/>
                    <a:gd name="T110" fmla="*/ 410 w 926"/>
                    <a:gd name="T111" fmla="*/ 3 h 926"/>
                    <a:gd name="T112" fmla="*/ 463 w 926"/>
                    <a:gd name="T113" fmla="*/ 0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926" h="926">
                      <a:moveTo>
                        <a:pt x="463" y="0"/>
                      </a:moveTo>
                      <a:lnTo>
                        <a:pt x="517" y="3"/>
                      </a:lnTo>
                      <a:lnTo>
                        <a:pt x="569" y="12"/>
                      </a:lnTo>
                      <a:lnTo>
                        <a:pt x="619" y="27"/>
                      </a:lnTo>
                      <a:lnTo>
                        <a:pt x="666" y="47"/>
                      </a:lnTo>
                      <a:lnTo>
                        <a:pt x="711" y="72"/>
                      </a:lnTo>
                      <a:lnTo>
                        <a:pt x="752" y="101"/>
                      </a:lnTo>
                      <a:lnTo>
                        <a:pt x="790" y="136"/>
                      </a:lnTo>
                      <a:lnTo>
                        <a:pt x="824" y="173"/>
                      </a:lnTo>
                      <a:lnTo>
                        <a:pt x="854" y="214"/>
                      </a:lnTo>
                      <a:lnTo>
                        <a:pt x="879" y="259"/>
                      </a:lnTo>
                      <a:lnTo>
                        <a:pt x="899" y="307"/>
                      </a:lnTo>
                      <a:lnTo>
                        <a:pt x="914" y="357"/>
                      </a:lnTo>
                      <a:lnTo>
                        <a:pt x="923" y="409"/>
                      </a:lnTo>
                      <a:lnTo>
                        <a:pt x="926" y="462"/>
                      </a:lnTo>
                      <a:lnTo>
                        <a:pt x="923" y="517"/>
                      </a:lnTo>
                      <a:lnTo>
                        <a:pt x="914" y="569"/>
                      </a:lnTo>
                      <a:lnTo>
                        <a:pt x="899" y="619"/>
                      </a:lnTo>
                      <a:lnTo>
                        <a:pt x="879" y="666"/>
                      </a:lnTo>
                      <a:lnTo>
                        <a:pt x="854" y="710"/>
                      </a:lnTo>
                      <a:lnTo>
                        <a:pt x="824" y="752"/>
                      </a:lnTo>
                      <a:lnTo>
                        <a:pt x="790" y="790"/>
                      </a:lnTo>
                      <a:lnTo>
                        <a:pt x="752" y="823"/>
                      </a:lnTo>
                      <a:lnTo>
                        <a:pt x="711" y="854"/>
                      </a:lnTo>
                      <a:lnTo>
                        <a:pt x="666" y="878"/>
                      </a:lnTo>
                      <a:lnTo>
                        <a:pt x="619" y="898"/>
                      </a:lnTo>
                      <a:lnTo>
                        <a:pt x="569" y="913"/>
                      </a:lnTo>
                      <a:lnTo>
                        <a:pt x="517" y="922"/>
                      </a:lnTo>
                      <a:lnTo>
                        <a:pt x="463" y="926"/>
                      </a:lnTo>
                      <a:lnTo>
                        <a:pt x="410" y="922"/>
                      </a:lnTo>
                      <a:lnTo>
                        <a:pt x="357" y="913"/>
                      </a:lnTo>
                      <a:lnTo>
                        <a:pt x="307" y="898"/>
                      </a:lnTo>
                      <a:lnTo>
                        <a:pt x="259" y="878"/>
                      </a:lnTo>
                      <a:lnTo>
                        <a:pt x="215" y="854"/>
                      </a:lnTo>
                      <a:lnTo>
                        <a:pt x="173" y="823"/>
                      </a:lnTo>
                      <a:lnTo>
                        <a:pt x="136" y="790"/>
                      </a:lnTo>
                      <a:lnTo>
                        <a:pt x="102" y="752"/>
                      </a:lnTo>
                      <a:lnTo>
                        <a:pt x="72" y="710"/>
                      </a:lnTo>
                      <a:lnTo>
                        <a:pt x="47" y="666"/>
                      </a:lnTo>
                      <a:lnTo>
                        <a:pt x="28" y="619"/>
                      </a:lnTo>
                      <a:lnTo>
                        <a:pt x="12" y="569"/>
                      </a:lnTo>
                      <a:lnTo>
                        <a:pt x="4" y="517"/>
                      </a:lnTo>
                      <a:lnTo>
                        <a:pt x="0" y="462"/>
                      </a:lnTo>
                      <a:lnTo>
                        <a:pt x="4" y="409"/>
                      </a:lnTo>
                      <a:lnTo>
                        <a:pt x="12" y="357"/>
                      </a:lnTo>
                      <a:lnTo>
                        <a:pt x="28" y="307"/>
                      </a:lnTo>
                      <a:lnTo>
                        <a:pt x="47" y="259"/>
                      </a:lnTo>
                      <a:lnTo>
                        <a:pt x="72" y="214"/>
                      </a:lnTo>
                      <a:lnTo>
                        <a:pt x="102" y="173"/>
                      </a:lnTo>
                      <a:lnTo>
                        <a:pt x="136" y="136"/>
                      </a:lnTo>
                      <a:lnTo>
                        <a:pt x="173" y="101"/>
                      </a:lnTo>
                      <a:lnTo>
                        <a:pt x="215" y="72"/>
                      </a:lnTo>
                      <a:lnTo>
                        <a:pt x="259" y="47"/>
                      </a:lnTo>
                      <a:lnTo>
                        <a:pt x="307" y="27"/>
                      </a:lnTo>
                      <a:lnTo>
                        <a:pt x="357" y="12"/>
                      </a:lnTo>
                      <a:lnTo>
                        <a:pt x="410" y="3"/>
                      </a:lnTo>
                      <a:lnTo>
                        <a:pt x="46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3" name="Rectangle 225">
                  <a:extLst>
                    <a:ext uri="{FF2B5EF4-FFF2-40B4-BE49-F238E27FC236}">
                      <a16:creationId xmlns:a16="http://schemas.microsoft.com/office/drawing/2014/main" xmlns="" id="{34FD37E9-A0CF-4452-B9F4-130AF315D4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45" y="1601"/>
                  <a:ext cx="201" cy="128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4" name="Freeform 226">
                  <a:extLst>
                    <a:ext uri="{FF2B5EF4-FFF2-40B4-BE49-F238E27FC236}">
                      <a16:creationId xmlns:a16="http://schemas.microsoft.com/office/drawing/2014/main" xmlns="" id="{7078704A-F5FD-49E9-9239-4C5A9C70CC4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16" y="1408"/>
                  <a:ext cx="261" cy="183"/>
                </a:xfrm>
                <a:custGeom>
                  <a:avLst/>
                  <a:gdLst>
                    <a:gd name="T0" fmla="*/ 1932 w 2609"/>
                    <a:gd name="T1" fmla="*/ 1636 h 1832"/>
                    <a:gd name="T2" fmla="*/ 1928 w 2609"/>
                    <a:gd name="T3" fmla="*/ 1435 h 1832"/>
                    <a:gd name="T4" fmla="*/ 1408 w 2609"/>
                    <a:gd name="T5" fmla="*/ 720 h 1832"/>
                    <a:gd name="T6" fmla="*/ 1521 w 2609"/>
                    <a:gd name="T7" fmla="*/ 1467 h 1832"/>
                    <a:gd name="T8" fmla="*/ 223 w 2609"/>
                    <a:gd name="T9" fmla="*/ 5 h 1832"/>
                    <a:gd name="T10" fmla="*/ 324 w 2609"/>
                    <a:gd name="T11" fmla="*/ 73 h 1832"/>
                    <a:gd name="T12" fmla="*/ 389 w 2609"/>
                    <a:gd name="T13" fmla="*/ 191 h 1832"/>
                    <a:gd name="T14" fmla="*/ 613 w 2609"/>
                    <a:gd name="T15" fmla="*/ 497 h 1832"/>
                    <a:gd name="T16" fmla="*/ 791 w 2609"/>
                    <a:gd name="T17" fmla="*/ 649 h 1832"/>
                    <a:gd name="T18" fmla="*/ 958 w 2609"/>
                    <a:gd name="T19" fmla="*/ 706 h 1832"/>
                    <a:gd name="T20" fmla="*/ 1100 w 2609"/>
                    <a:gd name="T21" fmla="*/ 668 h 1832"/>
                    <a:gd name="T22" fmla="*/ 1213 w 2609"/>
                    <a:gd name="T23" fmla="*/ 613 h 1832"/>
                    <a:gd name="T24" fmla="*/ 1409 w 2609"/>
                    <a:gd name="T25" fmla="*/ 703 h 1832"/>
                    <a:gd name="T26" fmla="*/ 1649 w 2609"/>
                    <a:gd name="T27" fmla="*/ 636 h 1832"/>
                    <a:gd name="T28" fmla="*/ 1731 w 2609"/>
                    <a:gd name="T29" fmla="*/ 682 h 1832"/>
                    <a:gd name="T30" fmla="*/ 1848 w 2609"/>
                    <a:gd name="T31" fmla="*/ 760 h 1832"/>
                    <a:gd name="T32" fmla="*/ 1984 w 2609"/>
                    <a:gd name="T33" fmla="*/ 870 h 1832"/>
                    <a:gd name="T34" fmla="*/ 2119 w 2609"/>
                    <a:gd name="T35" fmla="*/ 1015 h 1832"/>
                    <a:gd name="T36" fmla="*/ 2229 w 2609"/>
                    <a:gd name="T37" fmla="*/ 1199 h 1832"/>
                    <a:gd name="T38" fmla="*/ 2292 w 2609"/>
                    <a:gd name="T39" fmla="*/ 1424 h 1832"/>
                    <a:gd name="T40" fmla="*/ 2288 w 2609"/>
                    <a:gd name="T41" fmla="*/ 1694 h 1832"/>
                    <a:gd name="T42" fmla="*/ 65 w 2609"/>
                    <a:gd name="T43" fmla="*/ 1694 h 1832"/>
                    <a:gd name="T44" fmla="*/ 237 w 2609"/>
                    <a:gd name="T45" fmla="*/ 1596 h 1832"/>
                    <a:gd name="T46" fmla="*/ 259 w 2609"/>
                    <a:gd name="T47" fmla="*/ 1422 h 1832"/>
                    <a:gd name="T48" fmla="*/ 309 w 2609"/>
                    <a:gd name="T49" fmla="*/ 1225 h 1832"/>
                    <a:gd name="T50" fmla="*/ 401 w 2609"/>
                    <a:gd name="T51" fmla="*/ 1036 h 1832"/>
                    <a:gd name="T52" fmla="*/ 509 w 2609"/>
                    <a:gd name="T53" fmla="*/ 903 h 1832"/>
                    <a:gd name="T54" fmla="*/ 671 w 2609"/>
                    <a:gd name="T55" fmla="*/ 809 h 1832"/>
                    <a:gd name="T56" fmla="*/ 739 w 2609"/>
                    <a:gd name="T57" fmla="*/ 814 h 1832"/>
                    <a:gd name="T58" fmla="*/ 767 w 2609"/>
                    <a:gd name="T59" fmla="*/ 876 h 1832"/>
                    <a:gd name="T60" fmla="*/ 729 w 2609"/>
                    <a:gd name="T61" fmla="*/ 932 h 1832"/>
                    <a:gd name="T62" fmla="*/ 553 w 2609"/>
                    <a:gd name="T63" fmla="*/ 996 h 1832"/>
                    <a:gd name="T64" fmla="*/ 433 w 2609"/>
                    <a:gd name="T65" fmla="*/ 1162 h 1832"/>
                    <a:gd name="T66" fmla="*/ 364 w 2609"/>
                    <a:gd name="T67" fmla="*/ 1360 h 1832"/>
                    <a:gd name="T68" fmla="*/ 333 w 2609"/>
                    <a:gd name="T69" fmla="*/ 1551 h 1832"/>
                    <a:gd name="T70" fmla="*/ 323 w 2609"/>
                    <a:gd name="T71" fmla="*/ 1694 h 1832"/>
                    <a:gd name="T72" fmla="*/ 830 w 2609"/>
                    <a:gd name="T73" fmla="*/ 1050 h 1832"/>
                    <a:gd name="T74" fmla="*/ 754 w 2609"/>
                    <a:gd name="T75" fmla="*/ 991 h 1832"/>
                    <a:gd name="T76" fmla="*/ 822 w 2609"/>
                    <a:gd name="T77" fmla="*/ 916 h 1832"/>
                    <a:gd name="T78" fmla="*/ 818 w 2609"/>
                    <a:gd name="T79" fmla="*/ 815 h 1832"/>
                    <a:gd name="T80" fmla="*/ 746 w 2609"/>
                    <a:gd name="T81" fmla="*/ 748 h 1832"/>
                    <a:gd name="T82" fmla="*/ 641 w 2609"/>
                    <a:gd name="T83" fmla="*/ 751 h 1832"/>
                    <a:gd name="T84" fmla="*/ 462 w 2609"/>
                    <a:gd name="T85" fmla="*/ 852 h 1832"/>
                    <a:gd name="T86" fmla="*/ 335 w 2609"/>
                    <a:gd name="T87" fmla="*/ 726 h 1832"/>
                    <a:gd name="T88" fmla="*/ 195 w 2609"/>
                    <a:gd name="T89" fmla="*/ 552 h 1832"/>
                    <a:gd name="T90" fmla="*/ 92 w 2609"/>
                    <a:gd name="T91" fmla="*/ 395 h 1832"/>
                    <a:gd name="T92" fmla="*/ 32 w 2609"/>
                    <a:gd name="T93" fmla="*/ 285 h 1832"/>
                    <a:gd name="T94" fmla="*/ 0 w 2609"/>
                    <a:gd name="T95" fmla="*/ 196 h 1832"/>
                    <a:gd name="T96" fmla="*/ 29 w 2609"/>
                    <a:gd name="T97" fmla="*/ 80 h 1832"/>
                    <a:gd name="T98" fmla="*/ 131 w 2609"/>
                    <a:gd name="T99" fmla="*/ 6 h 18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609" h="1832">
                      <a:moveTo>
                        <a:pt x="1882" y="1309"/>
                      </a:moveTo>
                      <a:lnTo>
                        <a:pt x="1882" y="1694"/>
                      </a:lnTo>
                      <a:lnTo>
                        <a:pt x="1921" y="1694"/>
                      </a:lnTo>
                      <a:lnTo>
                        <a:pt x="1932" y="1636"/>
                      </a:lnTo>
                      <a:lnTo>
                        <a:pt x="1938" y="1582"/>
                      </a:lnTo>
                      <a:lnTo>
                        <a:pt x="1939" y="1530"/>
                      </a:lnTo>
                      <a:lnTo>
                        <a:pt x="1935" y="1481"/>
                      </a:lnTo>
                      <a:lnTo>
                        <a:pt x="1928" y="1435"/>
                      </a:lnTo>
                      <a:lnTo>
                        <a:pt x="1916" y="1391"/>
                      </a:lnTo>
                      <a:lnTo>
                        <a:pt x="1901" y="1349"/>
                      </a:lnTo>
                      <a:lnTo>
                        <a:pt x="1882" y="1309"/>
                      </a:lnTo>
                      <a:close/>
                      <a:moveTo>
                        <a:pt x="1408" y="720"/>
                      </a:moveTo>
                      <a:lnTo>
                        <a:pt x="1296" y="1467"/>
                      </a:lnTo>
                      <a:lnTo>
                        <a:pt x="1408" y="1619"/>
                      </a:lnTo>
                      <a:lnTo>
                        <a:pt x="1409" y="1619"/>
                      </a:lnTo>
                      <a:lnTo>
                        <a:pt x="1521" y="1467"/>
                      </a:lnTo>
                      <a:lnTo>
                        <a:pt x="1409" y="720"/>
                      </a:lnTo>
                      <a:lnTo>
                        <a:pt x="1408" y="720"/>
                      </a:lnTo>
                      <a:close/>
                      <a:moveTo>
                        <a:pt x="193" y="0"/>
                      </a:moveTo>
                      <a:lnTo>
                        <a:pt x="223" y="5"/>
                      </a:lnTo>
                      <a:lnTo>
                        <a:pt x="252" y="16"/>
                      </a:lnTo>
                      <a:lnTo>
                        <a:pt x="280" y="30"/>
                      </a:lnTo>
                      <a:lnTo>
                        <a:pt x="304" y="49"/>
                      </a:lnTo>
                      <a:lnTo>
                        <a:pt x="324" y="73"/>
                      </a:lnTo>
                      <a:lnTo>
                        <a:pt x="341" y="100"/>
                      </a:lnTo>
                      <a:lnTo>
                        <a:pt x="354" y="127"/>
                      </a:lnTo>
                      <a:lnTo>
                        <a:pt x="370" y="157"/>
                      </a:lnTo>
                      <a:lnTo>
                        <a:pt x="389" y="191"/>
                      </a:lnTo>
                      <a:lnTo>
                        <a:pt x="411" y="227"/>
                      </a:lnTo>
                      <a:lnTo>
                        <a:pt x="435" y="266"/>
                      </a:lnTo>
                      <a:lnTo>
                        <a:pt x="462" y="306"/>
                      </a:lnTo>
                      <a:lnTo>
                        <a:pt x="613" y="497"/>
                      </a:lnTo>
                      <a:lnTo>
                        <a:pt x="655" y="541"/>
                      </a:lnTo>
                      <a:lnTo>
                        <a:pt x="700" y="581"/>
                      </a:lnTo>
                      <a:lnTo>
                        <a:pt x="744" y="618"/>
                      </a:lnTo>
                      <a:lnTo>
                        <a:pt x="791" y="649"/>
                      </a:lnTo>
                      <a:lnTo>
                        <a:pt x="838" y="675"/>
                      </a:lnTo>
                      <a:lnTo>
                        <a:pt x="886" y="693"/>
                      </a:lnTo>
                      <a:lnTo>
                        <a:pt x="923" y="702"/>
                      </a:lnTo>
                      <a:lnTo>
                        <a:pt x="958" y="706"/>
                      </a:lnTo>
                      <a:lnTo>
                        <a:pt x="994" y="705"/>
                      </a:lnTo>
                      <a:lnTo>
                        <a:pt x="1029" y="698"/>
                      </a:lnTo>
                      <a:lnTo>
                        <a:pt x="1065" y="686"/>
                      </a:lnTo>
                      <a:lnTo>
                        <a:pt x="1100" y="668"/>
                      </a:lnTo>
                      <a:lnTo>
                        <a:pt x="1118" y="660"/>
                      </a:lnTo>
                      <a:lnTo>
                        <a:pt x="1136" y="653"/>
                      </a:lnTo>
                      <a:lnTo>
                        <a:pt x="1174" y="631"/>
                      </a:lnTo>
                      <a:lnTo>
                        <a:pt x="1213" y="613"/>
                      </a:lnTo>
                      <a:lnTo>
                        <a:pt x="1254" y="598"/>
                      </a:lnTo>
                      <a:lnTo>
                        <a:pt x="1296" y="586"/>
                      </a:lnTo>
                      <a:lnTo>
                        <a:pt x="1297" y="586"/>
                      </a:lnTo>
                      <a:lnTo>
                        <a:pt x="1409" y="703"/>
                      </a:lnTo>
                      <a:lnTo>
                        <a:pt x="1523" y="587"/>
                      </a:lnTo>
                      <a:lnTo>
                        <a:pt x="1567" y="600"/>
                      </a:lnTo>
                      <a:lnTo>
                        <a:pt x="1609" y="616"/>
                      </a:lnTo>
                      <a:lnTo>
                        <a:pt x="1649" y="636"/>
                      </a:lnTo>
                      <a:lnTo>
                        <a:pt x="1689" y="660"/>
                      </a:lnTo>
                      <a:lnTo>
                        <a:pt x="1698" y="663"/>
                      </a:lnTo>
                      <a:lnTo>
                        <a:pt x="1707" y="668"/>
                      </a:lnTo>
                      <a:lnTo>
                        <a:pt x="1731" y="682"/>
                      </a:lnTo>
                      <a:lnTo>
                        <a:pt x="1757" y="699"/>
                      </a:lnTo>
                      <a:lnTo>
                        <a:pt x="1785" y="717"/>
                      </a:lnTo>
                      <a:lnTo>
                        <a:pt x="1816" y="738"/>
                      </a:lnTo>
                      <a:lnTo>
                        <a:pt x="1848" y="760"/>
                      </a:lnTo>
                      <a:lnTo>
                        <a:pt x="1881" y="784"/>
                      </a:lnTo>
                      <a:lnTo>
                        <a:pt x="1915" y="811"/>
                      </a:lnTo>
                      <a:lnTo>
                        <a:pt x="1950" y="839"/>
                      </a:lnTo>
                      <a:lnTo>
                        <a:pt x="1984" y="870"/>
                      </a:lnTo>
                      <a:lnTo>
                        <a:pt x="2019" y="902"/>
                      </a:lnTo>
                      <a:lnTo>
                        <a:pt x="2053" y="938"/>
                      </a:lnTo>
                      <a:lnTo>
                        <a:pt x="2087" y="975"/>
                      </a:lnTo>
                      <a:lnTo>
                        <a:pt x="2119" y="1015"/>
                      </a:lnTo>
                      <a:lnTo>
                        <a:pt x="2150" y="1057"/>
                      </a:lnTo>
                      <a:lnTo>
                        <a:pt x="2178" y="1101"/>
                      </a:lnTo>
                      <a:lnTo>
                        <a:pt x="2205" y="1149"/>
                      </a:lnTo>
                      <a:lnTo>
                        <a:pt x="2229" y="1199"/>
                      </a:lnTo>
                      <a:lnTo>
                        <a:pt x="2250" y="1251"/>
                      </a:lnTo>
                      <a:lnTo>
                        <a:pt x="2267" y="1306"/>
                      </a:lnTo>
                      <a:lnTo>
                        <a:pt x="2283" y="1363"/>
                      </a:lnTo>
                      <a:lnTo>
                        <a:pt x="2292" y="1424"/>
                      </a:lnTo>
                      <a:lnTo>
                        <a:pt x="2299" y="1487"/>
                      </a:lnTo>
                      <a:lnTo>
                        <a:pt x="2300" y="1553"/>
                      </a:lnTo>
                      <a:lnTo>
                        <a:pt x="2297" y="1622"/>
                      </a:lnTo>
                      <a:lnTo>
                        <a:pt x="2288" y="1694"/>
                      </a:lnTo>
                      <a:lnTo>
                        <a:pt x="2609" y="1694"/>
                      </a:lnTo>
                      <a:lnTo>
                        <a:pt x="2609" y="1832"/>
                      </a:lnTo>
                      <a:lnTo>
                        <a:pt x="65" y="1832"/>
                      </a:lnTo>
                      <a:lnTo>
                        <a:pt x="65" y="1694"/>
                      </a:lnTo>
                      <a:lnTo>
                        <a:pt x="233" y="1694"/>
                      </a:lnTo>
                      <a:lnTo>
                        <a:pt x="234" y="1666"/>
                      </a:lnTo>
                      <a:lnTo>
                        <a:pt x="235" y="1633"/>
                      </a:lnTo>
                      <a:lnTo>
                        <a:pt x="237" y="1596"/>
                      </a:lnTo>
                      <a:lnTo>
                        <a:pt x="240" y="1557"/>
                      </a:lnTo>
                      <a:lnTo>
                        <a:pt x="245" y="1515"/>
                      </a:lnTo>
                      <a:lnTo>
                        <a:pt x="251" y="1469"/>
                      </a:lnTo>
                      <a:lnTo>
                        <a:pt x="259" y="1422"/>
                      </a:lnTo>
                      <a:lnTo>
                        <a:pt x="269" y="1374"/>
                      </a:lnTo>
                      <a:lnTo>
                        <a:pt x="280" y="1324"/>
                      </a:lnTo>
                      <a:lnTo>
                        <a:pt x="294" y="1275"/>
                      </a:lnTo>
                      <a:lnTo>
                        <a:pt x="309" y="1225"/>
                      </a:lnTo>
                      <a:lnTo>
                        <a:pt x="329" y="1176"/>
                      </a:lnTo>
                      <a:lnTo>
                        <a:pt x="349" y="1127"/>
                      </a:lnTo>
                      <a:lnTo>
                        <a:pt x="373" y="1081"/>
                      </a:lnTo>
                      <a:lnTo>
                        <a:pt x="401" y="1036"/>
                      </a:lnTo>
                      <a:lnTo>
                        <a:pt x="432" y="994"/>
                      </a:lnTo>
                      <a:lnTo>
                        <a:pt x="466" y="954"/>
                      </a:lnTo>
                      <a:lnTo>
                        <a:pt x="504" y="918"/>
                      </a:lnTo>
                      <a:lnTo>
                        <a:pt x="509" y="903"/>
                      </a:lnTo>
                      <a:lnTo>
                        <a:pt x="517" y="890"/>
                      </a:lnTo>
                      <a:lnTo>
                        <a:pt x="528" y="878"/>
                      </a:lnTo>
                      <a:lnTo>
                        <a:pt x="542" y="870"/>
                      </a:lnTo>
                      <a:lnTo>
                        <a:pt x="671" y="809"/>
                      </a:lnTo>
                      <a:lnTo>
                        <a:pt x="689" y="803"/>
                      </a:lnTo>
                      <a:lnTo>
                        <a:pt x="706" y="803"/>
                      </a:lnTo>
                      <a:lnTo>
                        <a:pt x="723" y="806"/>
                      </a:lnTo>
                      <a:lnTo>
                        <a:pt x="739" y="814"/>
                      </a:lnTo>
                      <a:lnTo>
                        <a:pt x="752" y="826"/>
                      </a:lnTo>
                      <a:lnTo>
                        <a:pt x="762" y="841"/>
                      </a:lnTo>
                      <a:lnTo>
                        <a:pt x="767" y="859"/>
                      </a:lnTo>
                      <a:lnTo>
                        <a:pt x="767" y="876"/>
                      </a:lnTo>
                      <a:lnTo>
                        <a:pt x="764" y="893"/>
                      </a:lnTo>
                      <a:lnTo>
                        <a:pt x="756" y="909"/>
                      </a:lnTo>
                      <a:lnTo>
                        <a:pt x="744" y="922"/>
                      </a:lnTo>
                      <a:lnTo>
                        <a:pt x="729" y="932"/>
                      </a:lnTo>
                      <a:lnTo>
                        <a:pt x="599" y="992"/>
                      </a:lnTo>
                      <a:lnTo>
                        <a:pt x="584" y="997"/>
                      </a:lnTo>
                      <a:lnTo>
                        <a:pt x="568" y="998"/>
                      </a:lnTo>
                      <a:lnTo>
                        <a:pt x="553" y="996"/>
                      </a:lnTo>
                      <a:lnTo>
                        <a:pt x="517" y="1033"/>
                      </a:lnTo>
                      <a:lnTo>
                        <a:pt x="486" y="1072"/>
                      </a:lnTo>
                      <a:lnTo>
                        <a:pt x="458" y="1115"/>
                      </a:lnTo>
                      <a:lnTo>
                        <a:pt x="433" y="1162"/>
                      </a:lnTo>
                      <a:lnTo>
                        <a:pt x="412" y="1210"/>
                      </a:lnTo>
                      <a:lnTo>
                        <a:pt x="394" y="1259"/>
                      </a:lnTo>
                      <a:lnTo>
                        <a:pt x="378" y="1310"/>
                      </a:lnTo>
                      <a:lnTo>
                        <a:pt x="364" y="1360"/>
                      </a:lnTo>
                      <a:lnTo>
                        <a:pt x="354" y="1410"/>
                      </a:lnTo>
                      <a:lnTo>
                        <a:pt x="345" y="1459"/>
                      </a:lnTo>
                      <a:lnTo>
                        <a:pt x="337" y="1506"/>
                      </a:lnTo>
                      <a:lnTo>
                        <a:pt x="333" y="1551"/>
                      </a:lnTo>
                      <a:lnTo>
                        <a:pt x="329" y="1592"/>
                      </a:lnTo>
                      <a:lnTo>
                        <a:pt x="325" y="1631"/>
                      </a:lnTo>
                      <a:lnTo>
                        <a:pt x="324" y="1665"/>
                      </a:lnTo>
                      <a:lnTo>
                        <a:pt x="323" y="1694"/>
                      </a:lnTo>
                      <a:lnTo>
                        <a:pt x="935" y="1694"/>
                      </a:lnTo>
                      <a:lnTo>
                        <a:pt x="935" y="1064"/>
                      </a:lnTo>
                      <a:lnTo>
                        <a:pt x="882" y="1059"/>
                      </a:lnTo>
                      <a:lnTo>
                        <a:pt x="830" y="1050"/>
                      </a:lnTo>
                      <a:lnTo>
                        <a:pt x="778" y="1036"/>
                      </a:lnTo>
                      <a:lnTo>
                        <a:pt x="744" y="1024"/>
                      </a:lnTo>
                      <a:lnTo>
                        <a:pt x="712" y="1011"/>
                      </a:lnTo>
                      <a:lnTo>
                        <a:pt x="754" y="991"/>
                      </a:lnTo>
                      <a:lnTo>
                        <a:pt x="777" y="978"/>
                      </a:lnTo>
                      <a:lnTo>
                        <a:pt x="795" y="961"/>
                      </a:lnTo>
                      <a:lnTo>
                        <a:pt x="812" y="940"/>
                      </a:lnTo>
                      <a:lnTo>
                        <a:pt x="822" y="916"/>
                      </a:lnTo>
                      <a:lnTo>
                        <a:pt x="829" y="891"/>
                      </a:lnTo>
                      <a:lnTo>
                        <a:pt x="830" y="865"/>
                      </a:lnTo>
                      <a:lnTo>
                        <a:pt x="827" y="839"/>
                      </a:lnTo>
                      <a:lnTo>
                        <a:pt x="818" y="815"/>
                      </a:lnTo>
                      <a:lnTo>
                        <a:pt x="805" y="792"/>
                      </a:lnTo>
                      <a:lnTo>
                        <a:pt x="789" y="774"/>
                      </a:lnTo>
                      <a:lnTo>
                        <a:pt x="769" y="759"/>
                      </a:lnTo>
                      <a:lnTo>
                        <a:pt x="746" y="748"/>
                      </a:lnTo>
                      <a:lnTo>
                        <a:pt x="722" y="740"/>
                      </a:lnTo>
                      <a:lnTo>
                        <a:pt x="697" y="738"/>
                      </a:lnTo>
                      <a:lnTo>
                        <a:pt x="668" y="741"/>
                      </a:lnTo>
                      <a:lnTo>
                        <a:pt x="641" y="751"/>
                      </a:lnTo>
                      <a:lnTo>
                        <a:pt x="511" y="811"/>
                      </a:lnTo>
                      <a:lnTo>
                        <a:pt x="493" y="822"/>
                      </a:lnTo>
                      <a:lnTo>
                        <a:pt x="477" y="836"/>
                      </a:lnTo>
                      <a:lnTo>
                        <a:pt x="462" y="852"/>
                      </a:lnTo>
                      <a:lnTo>
                        <a:pt x="462" y="852"/>
                      </a:lnTo>
                      <a:lnTo>
                        <a:pt x="418" y="812"/>
                      </a:lnTo>
                      <a:lnTo>
                        <a:pt x="375" y="769"/>
                      </a:lnTo>
                      <a:lnTo>
                        <a:pt x="335" y="726"/>
                      </a:lnTo>
                      <a:lnTo>
                        <a:pt x="296" y="682"/>
                      </a:lnTo>
                      <a:lnTo>
                        <a:pt x="260" y="639"/>
                      </a:lnTo>
                      <a:lnTo>
                        <a:pt x="226" y="594"/>
                      </a:lnTo>
                      <a:lnTo>
                        <a:pt x="195" y="552"/>
                      </a:lnTo>
                      <a:lnTo>
                        <a:pt x="165" y="509"/>
                      </a:lnTo>
                      <a:lnTo>
                        <a:pt x="138" y="469"/>
                      </a:lnTo>
                      <a:lnTo>
                        <a:pt x="114" y="431"/>
                      </a:lnTo>
                      <a:lnTo>
                        <a:pt x="92" y="395"/>
                      </a:lnTo>
                      <a:lnTo>
                        <a:pt x="73" y="361"/>
                      </a:lnTo>
                      <a:lnTo>
                        <a:pt x="57" y="332"/>
                      </a:lnTo>
                      <a:lnTo>
                        <a:pt x="42" y="307"/>
                      </a:lnTo>
                      <a:lnTo>
                        <a:pt x="32" y="285"/>
                      </a:lnTo>
                      <a:lnTo>
                        <a:pt x="23" y="269"/>
                      </a:lnTo>
                      <a:lnTo>
                        <a:pt x="17" y="258"/>
                      </a:lnTo>
                      <a:lnTo>
                        <a:pt x="7" y="228"/>
                      </a:lnTo>
                      <a:lnTo>
                        <a:pt x="0" y="196"/>
                      </a:lnTo>
                      <a:lnTo>
                        <a:pt x="0" y="166"/>
                      </a:lnTo>
                      <a:lnTo>
                        <a:pt x="5" y="135"/>
                      </a:lnTo>
                      <a:lnTo>
                        <a:pt x="15" y="106"/>
                      </a:lnTo>
                      <a:lnTo>
                        <a:pt x="29" y="80"/>
                      </a:lnTo>
                      <a:lnTo>
                        <a:pt x="49" y="55"/>
                      </a:lnTo>
                      <a:lnTo>
                        <a:pt x="73" y="34"/>
                      </a:lnTo>
                      <a:lnTo>
                        <a:pt x="101" y="18"/>
                      </a:lnTo>
                      <a:lnTo>
                        <a:pt x="131" y="6"/>
                      </a:lnTo>
                      <a:lnTo>
                        <a:pt x="162" y="0"/>
                      </a:lnTo>
                      <a:lnTo>
                        <a:pt x="19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7A6F5D4F-ADAC-469F-8A9A-2A90143EADE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53323" y="3789700"/>
              <a:ext cx="3379266" cy="0"/>
            </a:xfrm>
            <a:prstGeom prst="line">
              <a:avLst/>
            </a:prstGeom>
            <a:noFill/>
            <a:ln w="25400" cap="flat">
              <a:solidFill>
                <a:schemeClr val="accent6"/>
              </a:solidFill>
              <a:prstDash val="solid"/>
              <a:round/>
            </a:ln>
            <a:effectLst>
              <a:outerShdw blurRad="38100" dist="20000" dir="5400000" rotWithShape="0">
                <a:srgbClr val="000000">
                  <a:alpha val="38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6784AF1B-A622-4E6A-87DF-1FA7C7EA48FB}"/>
                </a:ext>
              </a:extLst>
            </p:cNvPr>
            <p:cNvSpPr>
              <a:spLocks/>
            </p:cNvSpPr>
            <p:nvPr/>
          </p:nvSpPr>
          <p:spPr>
            <a:xfrm>
              <a:off x="4008071" y="3800535"/>
              <a:ext cx="3224520" cy="72162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lvl="1">
                <a:lnSpc>
                  <a:spcPct val="90000"/>
                </a:lnSpc>
                <a:spcBef>
                  <a:spcPts val="600"/>
                </a:spcBef>
                <a:buSzPct val="100000"/>
              </a:pPr>
              <a:r>
                <a:rPr lang="es-ES" b="0" kern="0" dirty="0">
                  <a:solidFill>
                    <a:srgbClr val="00000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Mezclar e intercambiar conocimientos, experiencia e identificar soluciones (Sesiones 2, 4 y 7)</a:t>
              </a:r>
              <a:endParaRPr lang="en-GB" sz="1300" b="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732F676A-06C0-46F6-A195-D45516F01748}"/>
                </a:ext>
              </a:extLst>
            </p:cNvPr>
            <p:cNvSpPr>
              <a:spLocks/>
            </p:cNvSpPr>
            <p:nvPr/>
          </p:nvSpPr>
          <p:spPr>
            <a:xfrm>
              <a:off x="4008071" y="3466039"/>
              <a:ext cx="2626414" cy="35371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rtlCol="0" anchor="t" anchorCtr="0">
              <a:noAutofit/>
            </a:bodyPr>
            <a:lstStyle/>
            <a:p>
              <a:pPr marL="0" marR="0" lvl="1" defTabSz="91440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Tx/>
                <a:buSzPct val="100000"/>
                <a:tabLst/>
                <a:defRPr/>
              </a:pPr>
              <a:r>
                <a:rPr lang="en-GB" sz="1700" b="1" dirty="0" err="1">
                  <a:solidFill>
                    <a:schemeClr val="accent6"/>
                  </a:solidFill>
                  <a:latin typeface="Helvetica" charset="0"/>
                  <a:cs typeface="Helvetica" charset="0"/>
                  <a:sym typeface="Helvetica"/>
                </a:rPr>
                <a:t>Mezclar</a:t>
              </a:r>
              <a:r>
                <a:rPr lang="en-GB" sz="1700" b="1" dirty="0">
                  <a:solidFill>
                    <a:schemeClr val="accent6"/>
                  </a:solidFill>
                  <a:latin typeface="Helvetica" charset="0"/>
                  <a:cs typeface="Helvetica" charset="0"/>
                  <a:sym typeface="Helvetica"/>
                </a:rPr>
                <a:t> 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xmlns="" id="{D1D7C5F8-EFF7-4D04-BB68-33F6E126067A}"/>
                </a:ext>
              </a:extLst>
            </p:cNvPr>
            <p:cNvGrpSpPr/>
            <p:nvPr/>
          </p:nvGrpSpPr>
          <p:grpSpPr>
            <a:xfrm>
              <a:off x="3137992" y="3606260"/>
              <a:ext cx="798387" cy="781631"/>
              <a:chOff x="3139672" y="5189683"/>
              <a:chExt cx="798387" cy="781631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xmlns="" id="{0184A1AE-7454-4D39-B3A0-7B88E52D3518}"/>
                  </a:ext>
                </a:extLst>
              </p:cNvPr>
              <p:cNvSpPr/>
              <p:nvPr/>
            </p:nvSpPr>
            <p:spPr>
              <a:xfrm>
                <a:off x="3139672" y="5189683"/>
                <a:ext cx="798387" cy="781631"/>
              </a:xfrm>
              <a:prstGeom prst="ellipse">
                <a:avLst/>
              </a:prstGeom>
              <a:solidFill>
                <a:schemeClr val="accent6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en-GB" sz="1500" b="0" dirty="0"/>
              </a:p>
            </p:txBody>
          </p:sp>
          <p:grpSp>
            <p:nvGrpSpPr>
              <p:cNvPr id="17" name="Group 239">
                <a:extLst>
                  <a:ext uri="{FF2B5EF4-FFF2-40B4-BE49-F238E27FC236}">
                    <a16:creationId xmlns:a16="http://schemas.microsoft.com/office/drawing/2014/main" xmlns="" id="{40A1D464-3038-4E0B-A37B-9F6CCE60F5C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224783" y="5367758"/>
                <a:ext cx="628164" cy="425480"/>
                <a:chOff x="1155" y="1768"/>
                <a:chExt cx="406" cy="275"/>
              </a:xfrm>
              <a:solidFill>
                <a:schemeClr val="bg1"/>
              </a:solidFill>
            </p:grpSpPr>
            <p:sp>
              <p:nvSpPr>
                <p:cNvPr id="18" name="Freeform 241">
                  <a:extLst>
                    <a:ext uri="{FF2B5EF4-FFF2-40B4-BE49-F238E27FC236}">
                      <a16:creationId xmlns:a16="http://schemas.microsoft.com/office/drawing/2014/main" xmlns="" id="{9AF70EE1-D584-446A-9981-4DCD8ADA16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7" y="1768"/>
                  <a:ext cx="62" cy="62"/>
                </a:xfrm>
                <a:custGeom>
                  <a:avLst/>
                  <a:gdLst>
                    <a:gd name="T0" fmla="*/ 278 w 557"/>
                    <a:gd name="T1" fmla="*/ 0 h 558"/>
                    <a:gd name="T2" fmla="*/ 319 w 557"/>
                    <a:gd name="T3" fmla="*/ 4 h 558"/>
                    <a:gd name="T4" fmla="*/ 358 w 557"/>
                    <a:gd name="T5" fmla="*/ 13 h 558"/>
                    <a:gd name="T6" fmla="*/ 396 w 557"/>
                    <a:gd name="T7" fmla="*/ 26 h 558"/>
                    <a:gd name="T8" fmla="*/ 430 w 557"/>
                    <a:gd name="T9" fmla="*/ 46 h 558"/>
                    <a:gd name="T10" fmla="*/ 461 w 557"/>
                    <a:gd name="T11" fmla="*/ 69 h 558"/>
                    <a:gd name="T12" fmla="*/ 488 w 557"/>
                    <a:gd name="T13" fmla="*/ 96 h 558"/>
                    <a:gd name="T14" fmla="*/ 511 w 557"/>
                    <a:gd name="T15" fmla="*/ 128 h 558"/>
                    <a:gd name="T16" fmla="*/ 531 w 557"/>
                    <a:gd name="T17" fmla="*/ 161 h 558"/>
                    <a:gd name="T18" fmla="*/ 545 w 557"/>
                    <a:gd name="T19" fmla="*/ 199 h 558"/>
                    <a:gd name="T20" fmla="*/ 553 w 557"/>
                    <a:gd name="T21" fmla="*/ 238 h 558"/>
                    <a:gd name="T22" fmla="*/ 557 w 557"/>
                    <a:gd name="T23" fmla="*/ 279 h 558"/>
                    <a:gd name="T24" fmla="*/ 553 w 557"/>
                    <a:gd name="T25" fmla="*/ 320 h 558"/>
                    <a:gd name="T26" fmla="*/ 545 w 557"/>
                    <a:gd name="T27" fmla="*/ 360 h 558"/>
                    <a:gd name="T28" fmla="*/ 531 w 557"/>
                    <a:gd name="T29" fmla="*/ 397 h 558"/>
                    <a:gd name="T30" fmla="*/ 511 w 557"/>
                    <a:gd name="T31" fmla="*/ 431 h 558"/>
                    <a:gd name="T32" fmla="*/ 488 w 557"/>
                    <a:gd name="T33" fmla="*/ 462 h 558"/>
                    <a:gd name="T34" fmla="*/ 461 w 557"/>
                    <a:gd name="T35" fmla="*/ 490 h 558"/>
                    <a:gd name="T36" fmla="*/ 430 w 557"/>
                    <a:gd name="T37" fmla="*/ 513 h 558"/>
                    <a:gd name="T38" fmla="*/ 396 w 557"/>
                    <a:gd name="T39" fmla="*/ 532 h 558"/>
                    <a:gd name="T40" fmla="*/ 358 w 557"/>
                    <a:gd name="T41" fmla="*/ 546 h 558"/>
                    <a:gd name="T42" fmla="*/ 319 w 557"/>
                    <a:gd name="T43" fmla="*/ 554 h 558"/>
                    <a:gd name="T44" fmla="*/ 278 w 557"/>
                    <a:gd name="T45" fmla="*/ 558 h 558"/>
                    <a:gd name="T46" fmla="*/ 237 w 557"/>
                    <a:gd name="T47" fmla="*/ 554 h 558"/>
                    <a:gd name="T48" fmla="*/ 197 w 557"/>
                    <a:gd name="T49" fmla="*/ 546 h 558"/>
                    <a:gd name="T50" fmla="*/ 161 w 557"/>
                    <a:gd name="T51" fmla="*/ 532 h 558"/>
                    <a:gd name="T52" fmla="*/ 126 w 557"/>
                    <a:gd name="T53" fmla="*/ 513 h 558"/>
                    <a:gd name="T54" fmla="*/ 95 w 557"/>
                    <a:gd name="T55" fmla="*/ 490 h 558"/>
                    <a:gd name="T56" fmla="*/ 67 w 557"/>
                    <a:gd name="T57" fmla="*/ 462 h 558"/>
                    <a:gd name="T58" fmla="*/ 44 w 557"/>
                    <a:gd name="T59" fmla="*/ 431 h 558"/>
                    <a:gd name="T60" fmla="*/ 25 w 557"/>
                    <a:gd name="T61" fmla="*/ 397 h 558"/>
                    <a:gd name="T62" fmla="*/ 12 w 557"/>
                    <a:gd name="T63" fmla="*/ 360 h 558"/>
                    <a:gd name="T64" fmla="*/ 3 w 557"/>
                    <a:gd name="T65" fmla="*/ 320 h 558"/>
                    <a:gd name="T66" fmla="*/ 0 w 557"/>
                    <a:gd name="T67" fmla="*/ 279 h 558"/>
                    <a:gd name="T68" fmla="*/ 3 w 557"/>
                    <a:gd name="T69" fmla="*/ 238 h 558"/>
                    <a:gd name="T70" fmla="*/ 12 w 557"/>
                    <a:gd name="T71" fmla="*/ 199 h 558"/>
                    <a:gd name="T72" fmla="*/ 25 w 557"/>
                    <a:gd name="T73" fmla="*/ 161 h 558"/>
                    <a:gd name="T74" fmla="*/ 44 w 557"/>
                    <a:gd name="T75" fmla="*/ 128 h 558"/>
                    <a:gd name="T76" fmla="*/ 67 w 557"/>
                    <a:gd name="T77" fmla="*/ 96 h 558"/>
                    <a:gd name="T78" fmla="*/ 95 w 557"/>
                    <a:gd name="T79" fmla="*/ 69 h 558"/>
                    <a:gd name="T80" fmla="*/ 126 w 557"/>
                    <a:gd name="T81" fmla="*/ 46 h 558"/>
                    <a:gd name="T82" fmla="*/ 161 w 557"/>
                    <a:gd name="T83" fmla="*/ 26 h 558"/>
                    <a:gd name="T84" fmla="*/ 197 w 557"/>
                    <a:gd name="T85" fmla="*/ 13 h 558"/>
                    <a:gd name="T86" fmla="*/ 237 w 557"/>
                    <a:gd name="T87" fmla="*/ 4 h 558"/>
                    <a:gd name="T88" fmla="*/ 278 w 557"/>
                    <a:gd name="T89" fmla="*/ 0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557" h="558">
                      <a:moveTo>
                        <a:pt x="278" y="0"/>
                      </a:moveTo>
                      <a:lnTo>
                        <a:pt x="319" y="4"/>
                      </a:lnTo>
                      <a:lnTo>
                        <a:pt x="358" y="13"/>
                      </a:lnTo>
                      <a:lnTo>
                        <a:pt x="396" y="26"/>
                      </a:lnTo>
                      <a:lnTo>
                        <a:pt x="430" y="46"/>
                      </a:lnTo>
                      <a:lnTo>
                        <a:pt x="461" y="69"/>
                      </a:lnTo>
                      <a:lnTo>
                        <a:pt x="488" y="96"/>
                      </a:lnTo>
                      <a:lnTo>
                        <a:pt x="511" y="128"/>
                      </a:lnTo>
                      <a:lnTo>
                        <a:pt x="531" y="161"/>
                      </a:lnTo>
                      <a:lnTo>
                        <a:pt x="545" y="199"/>
                      </a:lnTo>
                      <a:lnTo>
                        <a:pt x="553" y="238"/>
                      </a:lnTo>
                      <a:lnTo>
                        <a:pt x="557" y="279"/>
                      </a:lnTo>
                      <a:lnTo>
                        <a:pt x="553" y="320"/>
                      </a:lnTo>
                      <a:lnTo>
                        <a:pt x="545" y="360"/>
                      </a:lnTo>
                      <a:lnTo>
                        <a:pt x="531" y="397"/>
                      </a:lnTo>
                      <a:lnTo>
                        <a:pt x="511" y="431"/>
                      </a:lnTo>
                      <a:lnTo>
                        <a:pt x="488" y="462"/>
                      </a:lnTo>
                      <a:lnTo>
                        <a:pt x="461" y="490"/>
                      </a:lnTo>
                      <a:lnTo>
                        <a:pt x="430" y="513"/>
                      </a:lnTo>
                      <a:lnTo>
                        <a:pt x="396" y="532"/>
                      </a:lnTo>
                      <a:lnTo>
                        <a:pt x="358" y="546"/>
                      </a:lnTo>
                      <a:lnTo>
                        <a:pt x="319" y="554"/>
                      </a:lnTo>
                      <a:lnTo>
                        <a:pt x="278" y="558"/>
                      </a:lnTo>
                      <a:lnTo>
                        <a:pt x="237" y="554"/>
                      </a:lnTo>
                      <a:lnTo>
                        <a:pt x="197" y="546"/>
                      </a:lnTo>
                      <a:lnTo>
                        <a:pt x="161" y="532"/>
                      </a:lnTo>
                      <a:lnTo>
                        <a:pt x="126" y="513"/>
                      </a:lnTo>
                      <a:lnTo>
                        <a:pt x="95" y="490"/>
                      </a:lnTo>
                      <a:lnTo>
                        <a:pt x="67" y="462"/>
                      </a:lnTo>
                      <a:lnTo>
                        <a:pt x="44" y="431"/>
                      </a:lnTo>
                      <a:lnTo>
                        <a:pt x="25" y="397"/>
                      </a:lnTo>
                      <a:lnTo>
                        <a:pt x="12" y="360"/>
                      </a:lnTo>
                      <a:lnTo>
                        <a:pt x="3" y="320"/>
                      </a:lnTo>
                      <a:lnTo>
                        <a:pt x="0" y="279"/>
                      </a:lnTo>
                      <a:lnTo>
                        <a:pt x="3" y="238"/>
                      </a:lnTo>
                      <a:lnTo>
                        <a:pt x="12" y="199"/>
                      </a:lnTo>
                      <a:lnTo>
                        <a:pt x="25" y="161"/>
                      </a:lnTo>
                      <a:lnTo>
                        <a:pt x="44" y="128"/>
                      </a:lnTo>
                      <a:lnTo>
                        <a:pt x="67" y="96"/>
                      </a:lnTo>
                      <a:lnTo>
                        <a:pt x="95" y="69"/>
                      </a:lnTo>
                      <a:lnTo>
                        <a:pt x="126" y="46"/>
                      </a:lnTo>
                      <a:lnTo>
                        <a:pt x="161" y="26"/>
                      </a:lnTo>
                      <a:lnTo>
                        <a:pt x="197" y="13"/>
                      </a:lnTo>
                      <a:lnTo>
                        <a:pt x="237" y="4"/>
                      </a:lnTo>
                      <a:lnTo>
                        <a:pt x="27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9" name="Freeform 242">
                  <a:extLst>
                    <a:ext uri="{FF2B5EF4-FFF2-40B4-BE49-F238E27FC236}">
                      <a16:creationId xmlns:a16="http://schemas.microsoft.com/office/drawing/2014/main" xmlns="" id="{4D7C941F-D2B6-48FB-8057-822537D90BE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70" y="1832"/>
                  <a:ext cx="176" cy="210"/>
                </a:xfrm>
                <a:custGeom>
                  <a:avLst/>
                  <a:gdLst>
                    <a:gd name="T0" fmla="*/ 479 w 1582"/>
                    <a:gd name="T1" fmla="*/ 492 h 1891"/>
                    <a:gd name="T2" fmla="*/ 462 w 1582"/>
                    <a:gd name="T3" fmla="*/ 619 h 1891"/>
                    <a:gd name="T4" fmla="*/ 463 w 1582"/>
                    <a:gd name="T5" fmla="*/ 734 h 1891"/>
                    <a:gd name="T6" fmla="*/ 469 w 1582"/>
                    <a:gd name="T7" fmla="*/ 813 h 1891"/>
                    <a:gd name="T8" fmla="*/ 505 w 1582"/>
                    <a:gd name="T9" fmla="*/ 410 h 1891"/>
                    <a:gd name="T10" fmla="*/ 1110 w 1582"/>
                    <a:gd name="T11" fmla="*/ 827 h 1891"/>
                    <a:gd name="T12" fmla="*/ 1118 w 1582"/>
                    <a:gd name="T13" fmla="*/ 765 h 1891"/>
                    <a:gd name="T14" fmla="*/ 1121 w 1582"/>
                    <a:gd name="T15" fmla="*/ 659 h 1891"/>
                    <a:gd name="T16" fmla="*/ 1111 w 1582"/>
                    <a:gd name="T17" fmla="*/ 534 h 1891"/>
                    <a:gd name="T18" fmla="*/ 1075 w 1582"/>
                    <a:gd name="T19" fmla="*/ 407 h 1891"/>
                    <a:gd name="T20" fmla="*/ 790 w 1582"/>
                    <a:gd name="T21" fmla="*/ 623 h 1891"/>
                    <a:gd name="T22" fmla="*/ 791 w 1582"/>
                    <a:gd name="T23" fmla="*/ 81 h 1891"/>
                    <a:gd name="T24" fmla="*/ 791 w 1582"/>
                    <a:gd name="T25" fmla="*/ 71 h 1891"/>
                    <a:gd name="T26" fmla="*/ 885 w 1582"/>
                    <a:gd name="T27" fmla="*/ 8 h 1891"/>
                    <a:gd name="T28" fmla="*/ 930 w 1582"/>
                    <a:gd name="T29" fmla="*/ 23 h 1891"/>
                    <a:gd name="T30" fmla="*/ 959 w 1582"/>
                    <a:gd name="T31" fmla="*/ 32 h 1891"/>
                    <a:gd name="T32" fmla="*/ 1094 w 1582"/>
                    <a:gd name="T33" fmla="*/ 100 h 1891"/>
                    <a:gd name="T34" fmla="*/ 1193 w 1582"/>
                    <a:gd name="T35" fmla="*/ 192 h 1891"/>
                    <a:gd name="T36" fmla="*/ 1262 w 1582"/>
                    <a:gd name="T37" fmla="*/ 302 h 1891"/>
                    <a:gd name="T38" fmla="*/ 1306 w 1582"/>
                    <a:gd name="T39" fmla="*/ 422 h 1891"/>
                    <a:gd name="T40" fmla="*/ 1329 w 1582"/>
                    <a:gd name="T41" fmla="*/ 542 h 1891"/>
                    <a:gd name="T42" fmla="*/ 1337 w 1582"/>
                    <a:gd name="T43" fmla="*/ 655 h 1891"/>
                    <a:gd name="T44" fmla="*/ 1335 w 1582"/>
                    <a:gd name="T45" fmla="*/ 753 h 1891"/>
                    <a:gd name="T46" fmla="*/ 1329 w 1582"/>
                    <a:gd name="T47" fmla="*/ 827 h 1891"/>
                    <a:gd name="T48" fmla="*/ 1492 w 1582"/>
                    <a:gd name="T49" fmla="*/ 1013 h 1891"/>
                    <a:gd name="T50" fmla="*/ 1319 w 1582"/>
                    <a:gd name="T51" fmla="*/ 1013 h 1891"/>
                    <a:gd name="T52" fmla="*/ 1154 w 1582"/>
                    <a:gd name="T53" fmla="*/ 1064 h 1891"/>
                    <a:gd name="T54" fmla="*/ 1067 w 1582"/>
                    <a:gd name="T55" fmla="*/ 1803 h 1891"/>
                    <a:gd name="T56" fmla="*/ 1020 w 1582"/>
                    <a:gd name="T57" fmla="*/ 1867 h 1891"/>
                    <a:gd name="T58" fmla="*/ 943 w 1582"/>
                    <a:gd name="T59" fmla="*/ 1891 h 1891"/>
                    <a:gd name="T60" fmla="*/ 903 w 1582"/>
                    <a:gd name="T61" fmla="*/ 1885 h 1891"/>
                    <a:gd name="T62" fmla="*/ 842 w 1582"/>
                    <a:gd name="T63" fmla="*/ 1843 h 1891"/>
                    <a:gd name="T64" fmla="*/ 815 w 1582"/>
                    <a:gd name="T65" fmla="*/ 1774 h 1891"/>
                    <a:gd name="T66" fmla="*/ 790 w 1582"/>
                    <a:gd name="T67" fmla="*/ 1120 h 1891"/>
                    <a:gd name="T68" fmla="*/ 764 w 1582"/>
                    <a:gd name="T69" fmla="*/ 1773 h 1891"/>
                    <a:gd name="T70" fmla="*/ 736 w 1582"/>
                    <a:gd name="T71" fmla="*/ 1843 h 1891"/>
                    <a:gd name="T72" fmla="*/ 675 w 1582"/>
                    <a:gd name="T73" fmla="*/ 1885 h 1891"/>
                    <a:gd name="T74" fmla="*/ 635 w 1582"/>
                    <a:gd name="T75" fmla="*/ 1890 h 1891"/>
                    <a:gd name="T76" fmla="*/ 559 w 1582"/>
                    <a:gd name="T77" fmla="*/ 1866 h 1891"/>
                    <a:gd name="T78" fmla="*/ 512 w 1582"/>
                    <a:gd name="T79" fmla="*/ 1803 h 1891"/>
                    <a:gd name="T80" fmla="*/ 424 w 1582"/>
                    <a:gd name="T81" fmla="*/ 1064 h 1891"/>
                    <a:gd name="T82" fmla="*/ 262 w 1582"/>
                    <a:gd name="T83" fmla="*/ 1013 h 1891"/>
                    <a:gd name="T84" fmla="*/ 89 w 1582"/>
                    <a:gd name="T85" fmla="*/ 1013 h 1891"/>
                    <a:gd name="T86" fmla="*/ 253 w 1582"/>
                    <a:gd name="T87" fmla="*/ 827 h 1891"/>
                    <a:gd name="T88" fmla="*/ 246 w 1582"/>
                    <a:gd name="T89" fmla="*/ 754 h 1891"/>
                    <a:gd name="T90" fmla="*/ 244 w 1582"/>
                    <a:gd name="T91" fmla="*/ 657 h 1891"/>
                    <a:gd name="T92" fmla="*/ 252 w 1582"/>
                    <a:gd name="T93" fmla="*/ 545 h 1891"/>
                    <a:gd name="T94" fmla="*/ 275 w 1582"/>
                    <a:gd name="T95" fmla="*/ 425 h 1891"/>
                    <a:gd name="T96" fmla="*/ 318 w 1582"/>
                    <a:gd name="T97" fmla="*/ 306 h 1891"/>
                    <a:gd name="T98" fmla="*/ 387 w 1582"/>
                    <a:gd name="T99" fmla="*/ 197 h 1891"/>
                    <a:gd name="T100" fmla="*/ 487 w 1582"/>
                    <a:gd name="T101" fmla="*/ 102 h 1891"/>
                    <a:gd name="T102" fmla="*/ 624 w 1582"/>
                    <a:gd name="T103" fmla="*/ 32 h 1891"/>
                    <a:gd name="T104" fmla="*/ 651 w 1582"/>
                    <a:gd name="T105" fmla="*/ 23 h 1891"/>
                    <a:gd name="T106" fmla="*/ 697 w 1582"/>
                    <a:gd name="T107" fmla="*/ 8 h 1891"/>
                    <a:gd name="T108" fmla="*/ 722 w 1582"/>
                    <a:gd name="T109" fmla="*/ 0 h 18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582" h="1891">
                      <a:moveTo>
                        <a:pt x="505" y="410"/>
                      </a:moveTo>
                      <a:lnTo>
                        <a:pt x="490" y="450"/>
                      </a:lnTo>
                      <a:lnTo>
                        <a:pt x="479" y="492"/>
                      </a:lnTo>
                      <a:lnTo>
                        <a:pt x="470" y="535"/>
                      </a:lnTo>
                      <a:lnTo>
                        <a:pt x="465" y="578"/>
                      </a:lnTo>
                      <a:lnTo>
                        <a:pt x="462" y="619"/>
                      </a:lnTo>
                      <a:lnTo>
                        <a:pt x="461" y="659"/>
                      </a:lnTo>
                      <a:lnTo>
                        <a:pt x="461" y="698"/>
                      </a:lnTo>
                      <a:lnTo>
                        <a:pt x="463" y="734"/>
                      </a:lnTo>
                      <a:lnTo>
                        <a:pt x="465" y="765"/>
                      </a:lnTo>
                      <a:lnTo>
                        <a:pt x="467" y="791"/>
                      </a:lnTo>
                      <a:lnTo>
                        <a:pt x="469" y="813"/>
                      </a:lnTo>
                      <a:lnTo>
                        <a:pt x="472" y="827"/>
                      </a:lnTo>
                      <a:lnTo>
                        <a:pt x="505" y="827"/>
                      </a:lnTo>
                      <a:lnTo>
                        <a:pt x="505" y="410"/>
                      </a:lnTo>
                      <a:close/>
                      <a:moveTo>
                        <a:pt x="1075" y="407"/>
                      </a:moveTo>
                      <a:lnTo>
                        <a:pt x="1075" y="827"/>
                      </a:lnTo>
                      <a:lnTo>
                        <a:pt x="1110" y="827"/>
                      </a:lnTo>
                      <a:lnTo>
                        <a:pt x="1112" y="813"/>
                      </a:lnTo>
                      <a:lnTo>
                        <a:pt x="1115" y="791"/>
                      </a:lnTo>
                      <a:lnTo>
                        <a:pt x="1118" y="765"/>
                      </a:lnTo>
                      <a:lnTo>
                        <a:pt x="1120" y="733"/>
                      </a:lnTo>
                      <a:lnTo>
                        <a:pt x="1121" y="698"/>
                      </a:lnTo>
                      <a:lnTo>
                        <a:pt x="1121" y="659"/>
                      </a:lnTo>
                      <a:lnTo>
                        <a:pt x="1120" y="619"/>
                      </a:lnTo>
                      <a:lnTo>
                        <a:pt x="1117" y="577"/>
                      </a:lnTo>
                      <a:lnTo>
                        <a:pt x="1111" y="534"/>
                      </a:lnTo>
                      <a:lnTo>
                        <a:pt x="1102" y="491"/>
                      </a:lnTo>
                      <a:lnTo>
                        <a:pt x="1091" y="449"/>
                      </a:lnTo>
                      <a:lnTo>
                        <a:pt x="1075" y="407"/>
                      </a:lnTo>
                      <a:close/>
                      <a:moveTo>
                        <a:pt x="790" y="81"/>
                      </a:moveTo>
                      <a:lnTo>
                        <a:pt x="722" y="531"/>
                      </a:lnTo>
                      <a:lnTo>
                        <a:pt x="790" y="623"/>
                      </a:lnTo>
                      <a:lnTo>
                        <a:pt x="791" y="623"/>
                      </a:lnTo>
                      <a:lnTo>
                        <a:pt x="858" y="531"/>
                      </a:lnTo>
                      <a:lnTo>
                        <a:pt x="791" y="81"/>
                      </a:lnTo>
                      <a:lnTo>
                        <a:pt x="790" y="81"/>
                      </a:lnTo>
                      <a:close/>
                      <a:moveTo>
                        <a:pt x="722" y="0"/>
                      </a:moveTo>
                      <a:lnTo>
                        <a:pt x="791" y="71"/>
                      </a:lnTo>
                      <a:lnTo>
                        <a:pt x="859" y="0"/>
                      </a:lnTo>
                      <a:lnTo>
                        <a:pt x="870" y="3"/>
                      </a:lnTo>
                      <a:lnTo>
                        <a:pt x="885" y="8"/>
                      </a:lnTo>
                      <a:lnTo>
                        <a:pt x="900" y="12"/>
                      </a:lnTo>
                      <a:lnTo>
                        <a:pt x="916" y="18"/>
                      </a:lnTo>
                      <a:lnTo>
                        <a:pt x="930" y="23"/>
                      </a:lnTo>
                      <a:lnTo>
                        <a:pt x="943" y="28"/>
                      </a:lnTo>
                      <a:lnTo>
                        <a:pt x="952" y="31"/>
                      </a:lnTo>
                      <a:lnTo>
                        <a:pt x="959" y="32"/>
                      </a:lnTo>
                      <a:lnTo>
                        <a:pt x="1008" y="52"/>
                      </a:lnTo>
                      <a:lnTo>
                        <a:pt x="1053" y="74"/>
                      </a:lnTo>
                      <a:lnTo>
                        <a:pt x="1094" y="100"/>
                      </a:lnTo>
                      <a:lnTo>
                        <a:pt x="1131" y="128"/>
                      </a:lnTo>
                      <a:lnTo>
                        <a:pt x="1164" y="159"/>
                      </a:lnTo>
                      <a:lnTo>
                        <a:pt x="1193" y="192"/>
                      </a:lnTo>
                      <a:lnTo>
                        <a:pt x="1220" y="228"/>
                      </a:lnTo>
                      <a:lnTo>
                        <a:pt x="1243" y="264"/>
                      </a:lnTo>
                      <a:lnTo>
                        <a:pt x="1262" y="302"/>
                      </a:lnTo>
                      <a:lnTo>
                        <a:pt x="1280" y="342"/>
                      </a:lnTo>
                      <a:lnTo>
                        <a:pt x="1294" y="382"/>
                      </a:lnTo>
                      <a:lnTo>
                        <a:pt x="1306" y="422"/>
                      </a:lnTo>
                      <a:lnTo>
                        <a:pt x="1315" y="462"/>
                      </a:lnTo>
                      <a:lnTo>
                        <a:pt x="1323" y="502"/>
                      </a:lnTo>
                      <a:lnTo>
                        <a:pt x="1329" y="542"/>
                      </a:lnTo>
                      <a:lnTo>
                        <a:pt x="1333" y="581"/>
                      </a:lnTo>
                      <a:lnTo>
                        <a:pt x="1336" y="618"/>
                      </a:lnTo>
                      <a:lnTo>
                        <a:pt x="1337" y="655"/>
                      </a:lnTo>
                      <a:lnTo>
                        <a:pt x="1337" y="689"/>
                      </a:lnTo>
                      <a:lnTo>
                        <a:pt x="1336" y="723"/>
                      </a:lnTo>
                      <a:lnTo>
                        <a:pt x="1335" y="753"/>
                      </a:lnTo>
                      <a:lnTo>
                        <a:pt x="1333" y="780"/>
                      </a:lnTo>
                      <a:lnTo>
                        <a:pt x="1331" y="806"/>
                      </a:lnTo>
                      <a:lnTo>
                        <a:pt x="1329" y="827"/>
                      </a:lnTo>
                      <a:lnTo>
                        <a:pt x="1582" y="827"/>
                      </a:lnTo>
                      <a:lnTo>
                        <a:pt x="1582" y="1013"/>
                      </a:lnTo>
                      <a:lnTo>
                        <a:pt x="1492" y="1013"/>
                      </a:lnTo>
                      <a:lnTo>
                        <a:pt x="1492" y="1891"/>
                      </a:lnTo>
                      <a:lnTo>
                        <a:pt x="1319" y="1891"/>
                      </a:lnTo>
                      <a:lnTo>
                        <a:pt x="1319" y="1013"/>
                      </a:lnTo>
                      <a:lnTo>
                        <a:pt x="1138" y="1013"/>
                      </a:lnTo>
                      <a:lnTo>
                        <a:pt x="1149" y="1038"/>
                      </a:lnTo>
                      <a:lnTo>
                        <a:pt x="1154" y="1064"/>
                      </a:lnTo>
                      <a:lnTo>
                        <a:pt x="1154" y="1092"/>
                      </a:lnTo>
                      <a:lnTo>
                        <a:pt x="1072" y="1776"/>
                      </a:lnTo>
                      <a:lnTo>
                        <a:pt x="1067" y="1803"/>
                      </a:lnTo>
                      <a:lnTo>
                        <a:pt x="1055" y="1827"/>
                      </a:lnTo>
                      <a:lnTo>
                        <a:pt x="1039" y="1849"/>
                      </a:lnTo>
                      <a:lnTo>
                        <a:pt x="1020" y="1867"/>
                      </a:lnTo>
                      <a:lnTo>
                        <a:pt x="997" y="1880"/>
                      </a:lnTo>
                      <a:lnTo>
                        <a:pt x="971" y="1888"/>
                      </a:lnTo>
                      <a:lnTo>
                        <a:pt x="943" y="1891"/>
                      </a:lnTo>
                      <a:lnTo>
                        <a:pt x="937" y="1891"/>
                      </a:lnTo>
                      <a:lnTo>
                        <a:pt x="929" y="1890"/>
                      </a:lnTo>
                      <a:lnTo>
                        <a:pt x="903" y="1885"/>
                      </a:lnTo>
                      <a:lnTo>
                        <a:pt x="880" y="1875"/>
                      </a:lnTo>
                      <a:lnTo>
                        <a:pt x="860" y="1860"/>
                      </a:lnTo>
                      <a:lnTo>
                        <a:pt x="842" y="1843"/>
                      </a:lnTo>
                      <a:lnTo>
                        <a:pt x="829" y="1821"/>
                      </a:lnTo>
                      <a:lnTo>
                        <a:pt x="819" y="1798"/>
                      </a:lnTo>
                      <a:lnTo>
                        <a:pt x="815" y="1774"/>
                      </a:lnTo>
                      <a:lnTo>
                        <a:pt x="815" y="1747"/>
                      </a:lnTo>
                      <a:lnTo>
                        <a:pt x="886" y="1160"/>
                      </a:lnTo>
                      <a:lnTo>
                        <a:pt x="790" y="1120"/>
                      </a:lnTo>
                      <a:lnTo>
                        <a:pt x="691" y="1160"/>
                      </a:lnTo>
                      <a:lnTo>
                        <a:pt x="764" y="1747"/>
                      </a:lnTo>
                      <a:lnTo>
                        <a:pt x="764" y="1773"/>
                      </a:lnTo>
                      <a:lnTo>
                        <a:pt x="759" y="1798"/>
                      </a:lnTo>
                      <a:lnTo>
                        <a:pt x="749" y="1821"/>
                      </a:lnTo>
                      <a:lnTo>
                        <a:pt x="736" y="1843"/>
                      </a:lnTo>
                      <a:lnTo>
                        <a:pt x="719" y="1860"/>
                      </a:lnTo>
                      <a:lnTo>
                        <a:pt x="698" y="1875"/>
                      </a:lnTo>
                      <a:lnTo>
                        <a:pt x="675" y="1885"/>
                      </a:lnTo>
                      <a:lnTo>
                        <a:pt x="649" y="1890"/>
                      </a:lnTo>
                      <a:lnTo>
                        <a:pt x="641" y="1890"/>
                      </a:lnTo>
                      <a:lnTo>
                        <a:pt x="635" y="1890"/>
                      </a:lnTo>
                      <a:lnTo>
                        <a:pt x="607" y="1888"/>
                      </a:lnTo>
                      <a:lnTo>
                        <a:pt x="581" y="1879"/>
                      </a:lnTo>
                      <a:lnTo>
                        <a:pt x="559" y="1866"/>
                      </a:lnTo>
                      <a:lnTo>
                        <a:pt x="539" y="1848"/>
                      </a:lnTo>
                      <a:lnTo>
                        <a:pt x="524" y="1827"/>
                      </a:lnTo>
                      <a:lnTo>
                        <a:pt x="512" y="1803"/>
                      </a:lnTo>
                      <a:lnTo>
                        <a:pt x="506" y="1775"/>
                      </a:lnTo>
                      <a:lnTo>
                        <a:pt x="424" y="1092"/>
                      </a:lnTo>
                      <a:lnTo>
                        <a:pt x="424" y="1064"/>
                      </a:lnTo>
                      <a:lnTo>
                        <a:pt x="429" y="1038"/>
                      </a:lnTo>
                      <a:lnTo>
                        <a:pt x="441" y="1013"/>
                      </a:lnTo>
                      <a:lnTo>
                        <a:pt x="262" y="1013"/>
                      </a:lnTo>
                      <a:lnTo>
                        <a:pt x="262" y="1891"/>
                      </a:lnTo>
                      <a:lnTo>
                        <a:pt x="89" y="1891"/>
                      </a:lnTo>
                      <a:lnTo>
                        <a:pt x="89" y="1013"/>
                      </a:lnTo>
                      <a:lnTo>
                        <a:pt x="0" y="1013"/>
                      </a:lnTo>
                      <a:lnTo>
                        <a:pt x="0" y="827"/>
                      </a:lnTo>
                      <a:lnTo>
                        <a:pt x="253" y="827"/>
                      </a:lnTo>
                      <a:lnTo>
                        <a:pt x="251" y="806"/>
                      </a:lnTo>
                      <a:lnTo>
                        <a:pt x="248" y="781"/>
                      </a:lnTo>
                      <a:lnTo>
                        <a:pt x="246" y="754"/>
                      </a:lnTo>
                      <a:lnTo>
                        <a:pt x="245" y="724"/>
                      </a:lnTo>
                      <a:lnTo>
                        <a:pt x="244" y="692"/>
                      </a:lnTo>
                      <a:lnTo>
                        <a:pt x="244" y="657"/>
                      </a:lnTo>
                      <a:lnTo>
                        <a:pt x="245" y="621"/>
                      </a:lnTo>
                      <a:lnTo>
                        <a:pt x="248" y="584"/>
                      </a:lnTo>
                      <a:lnTo>
                        <a:pt x="252" y="545"/>
                      </a:lnTo>
                      <a:lnTo>
                        <a:pt x="257" y="505"/>
                      </a:lnTo>
                      <a:lnTo>
                        <a:pt x="265" y="465"/>
                      </a:lnTo>
                      <a:lnTo>
                        <a:pt x="275" y="425"/>
                      </a:lnTo>
                      <a:lnTo>
                        <a:pt x="287" y="385"/>
                      </a:lnTo>
                      <a:lnTo>
                        <a:pt x="302" y="345"/>
                      </a:lnTo>
                      <a:lnTo>
                        <a:pt x="318" y="306"/>
                      </a:lnTo>
                      <a:lnTo>
                        <a:pt x="338" y="269"/>
                      </a:lnTo>
                      <a:lnTo>
                        <a:pt x="362" y="231"/>
                      </a:lnTo>
                      <a:lnTo>
                        <a:pt x="387" y="197"/>
                      </a:lnTo>
                      <a:lnTo>
                        <a:pt x="417" y="162"/>
                      </a:lnTo>
                      <a:lnTo>
                        <a:pt x="451" y="131"/>
                      </a:lnTo>
                      <a:lnTo>
                        <a:pt x="487" y="102"/>
                      </a:lnTo>
                      <a:lnTo>
                        <a:pt x="528" y="76"/>
                      </a:lnTo>
                      <a:lnTo>
                        <a:pt x="574" y="52"/>
                      </a:lnTo>
                      <a:lnTo>
                        <a:pt x="624" y="32"/>
                      </a:lnTo>
                      <a:lnTo>
                        <a:pt x="629" y="31"/>
                      </a:lnTo>
                      <a:lnTo>
                        <a:pt x="638" y="28"/>
                      </a:lnTo>
                      <a:lnTo>
                        <a:pt x="651" y="23"/>
                      </a:lnTo>
                      <a:lnTo>
                        <a:pt x="666" y="18"/>
                      </a:lnTo>
                      <a:lnTo>
                        <a:pt x="681" y="12"/>
                      </a:lnTo>
                      <a:lnTo>
                        <a:pt x="697" y="8"/>
                      </a:lnTo>
                      <a:lnTo>
                        <a:pt x="710" y="3"/>
                      </a:lnTo>
                      <a:lnTo>
                        <a:pt x="722" y="0"/>
                      </a:lnTo>
                      <a:lnTo>
                        <a:pt x="72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0" name="Freeform 243">
                  <a:extLst>
                    <a:ext uri="{FF2B5EF4-FFF2-40B4-BE49-F238E27FC236}">
                      <a16:creationId xmlns:a16="http://schemas.microsoft.com/office/drawing/2014/main" xmlns="" id="{E338D510-686B-448C-916C-6A3E0B94E6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6" y="1786"/>
                  <a:ext cx="59" cy="59"/>
                </a:xfrm>
                <a:custGeom>
                  <a:avLst/>
                  <a:gdLst>
                    <a:gd name="T0" fmla="*/ 267 w 534"/>
                    <a:gd name="T1" fmla="*/ 0 h 534"/>
                    <a:gd name="T2" fmla="*/ 310 w 534"/>
                    <a:gd name="T3" fmla="*/ 3 h 534"/>
                    <a:gd name="T4" fmla="*/ 351 w 534"/>
                    <a:gd name="T5" fmla="*/ 13 h 534"/>
                    <a:gd name="T6" fmla="*/ 390 w 534"/>
                    <a:gd name="T7" fmla="*/ 30 h 534"/>
                    <a:gd name="T8" fmla="*/ 424 w 534"/>
                    <a:gd name="T9" fmla="*/ 51 h 534"/>
                    <a:gd name="T10" fmla="*/ 455 w 534"/>
                    <a:gd name="T11" fmla="*/ 79 h 534"/>
                    <a:gd name="T12" fmla="*/ 482 w 534"/>
                    <a:gd name="T13" fmla="*/ 110 h 534"/>
                    <a:gd name="T14" fmla="*/ 504 w 534"/>
                    <a:gd name="T15" fmla="*/ 144 h 534"/>
                    <a:gd name="T16" fmla="*/ 520 w 534"/>
                    <a:gd name="T17" fmla="*/ 183 h 534"/>
                    <a:gd name="T18" fmla="*/ 530 w 534"/>
                    <a:gd name="T19" fmla="*/ 224 h 534"/>
                    <a:gd name="T20" fmla="*/ 534 w 534"/>
                    <a:gd name="T21" fmla="*/ 267 h 534"/>
                    <a:gd name="T22" fmla="*/ 530 w 534"/>
                    <a:gd name="T23" fmla="*/ 311 h 534"/>
                    <a:gd name="T24" fmla="*/ 520 w 534"/>
                    <a:gd name="T25" fmla="*/ 352 h 534"/>
                    <a:gd name="T26" fmla="*/ 504 w 534"/>
                    <a:gd name="T27" fmla="*/ 389 h 534"/>
                    <a:gd name="T28" fmla="*/ 482 w 534"/>
                    <a:gd name="T29" fmla="*/ 425 h 534"/>
                    <a:gd name="T30" fmla="*/ 455 w 534"/>
                    <a:gd name="T31" fmla="*/ 456 h 534"/>
                    <a:gd name="T32" fmla="*/ 424 w 534"/>
                    <a:gd name="T33" fmla="*/ 483 h 534"/>
                    <a:gd name="T34" fmla="*/ 390 w 534"/>
                    <a:gd name="T35" fmla="*/ 504 h 534"/>
                    <a:gd name="T36" fmla="*/ 351 w 534"/>
                    <a:gd name="T37" fmla="*/ 520 h 534"/>
                    <a:gd name="T38" fmla="*/ 310 w 534"/>
                    <a:gd name="T39" fmla="*/ 530 h 534"/>
                    <a:gd name="T40" fmla="*/ 267 w 534"/>
                    <a:gd name="T41" fmla="*/ 534 h 534"/>
                    <a:gd name="T42" fmla="*/ 224 w 534"/>
                    <a:gd name="T43" fmla="*/ 530 h 534"/>
                    <a:gd name="T44" fmla="*/ 182 w 534"/>
                    <a:gd name="T45" fmla="*/ 520 h 534"/>
                    <a:gd name="T46" fmla="*/ 145 w 534"/>
                    <a:gd name="T47" fmla="*/ 504 h 534"/>
                    <a:gd name="T48" fmla="*/ 109 w 534"/>
                    <a:gd name="T49" fmla="*/ 483 h 534"/>
                    <a:gd name="T50" fmla="*/ 78 w 534"/>
                    <a:gd name="T51" fmla="*/ 456 h 534"/>
                    <a:gd name="T52" fmla="*/ 51 w 534"/>
                    <a:gd name="T53" fmla="*/ 425 h 534"/>
                    <a:gd name="T54" fmla="*/ 29 w 534"/>
                    <a:gd name="T55" fmla="*/ 389 h 534"/>
                    <a:gd name="T56" fmla="*/ 14 w 534"/>
                    <a:gd name="T57" fmla="*/ 352 h 534"/>
                    <a:gd name="T58" fmla="*/ 4 w 534"/>
                    <a:gd name="T59" fmla="*/ 311 h 534"/>
                    <a:gd name="T60" fmla="*/ 0 w 534"/>
                    <a:gd name="T61" fmla="*/ 267 h 534"/>
                    <a:gd name="T62" fmla="*/ 4 w 534"/>
                    <a:gd name="T63" fmla="*/ 224 h 534"/>
                    <a:gd name="T64" fmla="*/ 14 w 534"/>
                    <a:gd name="T65" fmla="*/ 183 h 534"/>
                    <a:gd name="T66" fmla="*/ 29 w 534"/>
                    <a:gd name="T67" fmla="*/ 144 h 534"/>
                    <a:gd name="T68" fmla="*/ 51 w 534"/>
                    <a:gd name="T69" fmla="*/ 110 h 534"/>
                    <a:gd name="T70" fmla="*/ 78 w 534"/>
                    <a:gd name="T71" fmla="*/ 79 h 534"/>
                    <a:gd name="T72" fmla="*/ 109 w 534"/>
                    <a:gd name="T73" fmla="*/ 51 h 534"/>
                    <a:gd name="T74" fmla="*/ 145 w 534"/>
                    <a:gd name="T75" fmla="*/ 30 h 534"/>
                    <a:gd name="T76" fmla="*/ 182 w 534"/>
                    <a:gd name="T77" fmla="*/ 13 h 534"/>
                    <a:gd name="T78" fmla="*/ 224 w 534"/>
                    <a:gd name="T79" fmla="*/ 3 h 534"/>
                    <a:gd name="T80" fmla="*/ 267 w 534"/>
                    <a:gd name="T81" fmla="*/ 0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34" h="534">
                      <a:moveTo>
                        <a:pt x="267" y="0"/>
                      </a:moveTo>
                      <a:lnTo>
                        <a:pt x="310" y="3"/>
                      </a:lnTo>
                      <a:lnTo>
                        <a:pt x="351" y="13"/>
                      </a:lnTo>
                      <a:lnTo>
                        <a:pt x="390" y="30"/>
                      </a:lnTo>
                      <a:lnTo>
                        <a:pt x="424" y="51"/>
                      </a:lnTo>
                      <a:lnTo>
                        <a:pt x="455" y="79"/>
                      </a:lnTo>
                      <a:lnTo>
                        <a:pt x="482" y="110"/>
                      </a:lnTo>
                      <a:lnTo>
                        <a:pt x="504" y="144"/>
                      </a:lnTo>
                      <a:lnTo>
                        <a:pt x="520" y="183"/>
                      </a:lnTo>
                      <a:lnTo>
                        <a:pt x="530" y="224"/>
                      </a:lnTo>
                      <a:lnTo>
                        <a:pt x="534" y="267"/>
                      </a:lnTo>
                      <a:lnTo>
                        <a:pt x="530" y="311"/>
                      </a:lnTo>
                      <a:lnTo>
                        <a:pt x="520" y="352"/>
                      </a:lnTo>
                      <a:lnTo>
                        <a:pt x="504" y="389"/>
                      </a:lnTo>
                      <a:lnTo>
                        <a:pt x="482" y="425"/>
                      </a:lnTo>
                      <a:lnTo>
                        <a:pt x="455" y="456"/>
                      </a:lnTo>
                      <a:lnTo>
                        <a:pt x="424" y="483"/>
                      </a:lnTo>
                      <a:lnTo>
                        <a:pt x="390" y="504"/>
                      </a:lnTo>
                      <a:lnTo>
                        <a:pt x="351" y="520"/>
                      </a:lnTo>
                      <a:lnTo>
                        <a:pt x="310" y="530"/>
                      </a:lnTo>
                      <a:lnTo>
                        <a:pt x="267" y="534"/>
                      </a:lnTo>
                      <a:lnTo>
                        <a:pt x="224" y="530"/>
                      </a:lnTo>
                      <a:lnTo>
                        <a:pt x="182" y="520"/>
                      </a:lnTo>
                      <a:lnTo>
                        <a:pt x="145" y="504"/>
                      </a:lnTo>
                      <a:lnTo>
                        <a:pt x="109" y="483"/>
                      </a:lnTo>
                      <a:lnTo>
                        <a:pt x="78" y="456"/>
                      </a:lnTo>
                      <a:lnTo>
                        <a:pt x="51" y="425"/>
                      </a:lnTo>
                      <a:lnTo>
                        <a:pt x="29" y="389"/>
                      </a:lnTo>
                      <a:lnTo>
                        <a:pt x="14" y="352"/>
                      </a:lnTo>
                      <a:lnTo>
                        <a:pt x="4" y="311"/>
                      </a:lnTo>
                      <a:lnTo>
                        <a:pt x="0" y="267"/>
                      </a:lnTo>
                      <a:lnTo>
                        <a:pt x="4" y="224"/>
                      </a:lnTo>
                      <a:lnTo>
                        <a:pt x="14" y="183"/>
                      </a:lnTo>
                      <a:lnTo>
                        <a:pt x="29" y="144"/>
                      </a:lnTo>
                      <a:lnTo>
                        <a:pt x="51" y="110"/>
                      </a:lnTo>
                      <a:lnTo>
                        <a:pt x="78" y="79"/>
                      </a:lnTo>
                      <a:lnTo>
                        <a:pt x="109" y="51"/>
                      </a:lnTo>
                      <a:lnTo>
                        <a:pt x="145" y="30"/>
                      </a:lnTo>
                      <a:lnTo>
                        <a:pt x="182" y="13"/>
                      </a:lnTo>
                      <a:lnTo>
                        <a:pt x="224" y="3"/>
                      </a:lnTo>
                      <a:lnTo>
                        <a:pt x="26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" name="Freeform 244">
                  <a:extLst>
                    <a:ext uri="{FF2B5EF4-FFF2-40B4-BE49-F238E27FC236}">
                      <a16:creationId xmlns:a16="http://schemas.microsoft.com/office/drawing/2014/main" xmlns="" id="{FFA638C9-35EE-41B1-BA19-D8E4EC2D06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2" y="1847"/>
                  <a:ext cx="114" cy="196"/>
                </a:xfrm>
                <a:custGeom>
                  <a:avLst/>
                  <a:gdLst>
                    <a:gd name="T0" fmla="*/ 281 w 1028"/>
                    <a:gd name="T1" fmla="*/ 4 h 1764"/>
                    <a:gd name="T2" fmla="*/ 305 w 1028"/>
                    <a:gd name="T3" fmla="*/ 8 h 1764"/>
                    <a:gd name="T4" fmla="*/ 385 w 1028"/>
                    <a:gd name="T5" fmla="*/ 43 h 1764"/>
                    <a:gd name="T6" fmla="*/ 451 w 1028"/>
                    <a:gd name="T7" fmla="*/ 101 h 1764"/>
                    <a:gd name="T8" fmla="*/ 493 w 1028"/>
                    <a:gd name="T9" fmla="*/ 189 h 1764"/>
                    <a:gd name="T10" fmla="*/ 532 w 1028"/>
                    <a:gd name="T11" fmla="*/ 283 h 1764"/>
                    <a:gd name="T12" fmla="*/ 578 w 1028"/>
                    <a:gd name="T13" fmla="*/ 359 h 1764"/>
                    <a:gd name="T14" fmla="*/ 643 w 1028"/>
                    <a:gd name="T15" fmla="*/ 412 h 1764"/>
                    <a:gd name="T16" fmla="*/ 734 w 1028"/>
                    <a:gd name="T17" fmla="*/ 443 h 1764"/>
                    <a:gd name="T18" fmla="*/ 862 w 1028"/>
                    <a:gd name="T19" fmla="*/ 452 h 1764"/>
                    <a:gd name="T20" fmla="*/ 962 w 1028"/>
                    <a:gd name="T21" fmla="*/ 457 h 1764"/>
                    <a:gd name="T22" fmla="*/ 1013 w 1028"/>
                    <a:gd name="T23" fmla="*/ 500 h 1764"/>
                    <a:gd name="T24" fmla="*/ 1027 w 1028"/>
                    <a:gd name="T25" fmla="*/ 569 h 1764"/>
                    <a:gd name="T26" fmla="*/ 994 w 1028"/>
                    <a:gd name="T27" fmla="*/ 629 h 1764"/>
                    <a:gd name="T28" fmla="*/ 931 w 1028"/>
                    <a:gd name="T29" fmla="*/ 655 h 1764"/>
                    <a:gd name="T30" fmla="*/ 755 w 1028"/>
                    <a:gd name="T31" fmla="*/ 660 h 1764"/>
                    <a:gd name="T32" fmla="*/ 620 w 1028"/>
                    <a:gd name="T33" fmla="*/ 641 h 1764"/>
                    <a:gd name="T34" fmla="*/ 518 w 1028"/>
                    <a:gd name="T35" fmla="*/ 599 h 1764"/>
                    <a:gd name="T36" fmla="*/ 538 w 1028"/>
                    <a:gd name="T37" fmla="*/ 756 h 1764"/>
                    <a:gd name="T38" fmla="*/ 648 w 1028"/>
                    <a:gd name="T39" fmla="*/ 777 h 1764"/>
                    <a:gd name="T40" fmla="*/ 712 w 1028"/>
                    <a:gd name="T41" fmla="*/ 806 h 1764"/>
                    <a:gd name="T42" fmla="*/ 746 w 1028"/>
                    <a:gd name="T43" fmla="*/ 838 h 1764"/>
                    <a:gd name="T44" fmla="*/ 761 w 1028"/>
                    <a:gd name="T45" fmla="*/ 864 h 1764"/>
                    <a:gd name="T46" fmla="*/ 769 w 1028"/>
                    <a:gd name="T47" fmla="*/ 885 h 1764"/>
                    <a:gd name="T48" fmla="*/ 776 w 1028"/>
                    <a:gd name="T49" fmla="*/ 917 h 1764"/>
                    <a:gd name="T50" fmla="*/ 780 w 1028"/>
                    <a:gd name="T51" fmla="*/ 969 h 1764"/>
                    <a:gd name="T52" fmla="*/ 781 w 1028"/>
                    <a:gd name="T53" fmla="*/ 1050 h 1764"/>
                    <a:gd name="T54" fmla="*/ 778 w 1028"/>
                    <a:gd name="T55" fmla="*/ 1170 h 1764"/>
                    <a:gd name="T56" fmla="*/ 768 w 1028"/>
                    <a:gd name="T57" fmla="*/ 1337 h 1764"/>
                    <a:gd name="T58" fmla="*/ 751 w 1028"/>
                    <a:gd name="T59" fmla="*/ 1558 h 1764"/>
                    <a:gd name="T60" fmla="*/ 727 w 1028"/>
                    <a:gd name="T61" fmla="*/ 1699 h 1764"/>
                    <a:gd name="T62" fmla="*/ 668 w 1028"/>
                    <a:gd name="T63" fmla="*/ 1753 h 1764"/>
                    <a:gd name="T64" fmla="*/ 604 w 1028"/>
                    <a:gd name="T65" fmla="*/ 1764 h 1764"/>
                    <a:gd name="T66" fmla="*/ 533 w 1028"/>
                    <a:gd name="T67" fmla="*/ 1735 h 1764"/>
                    <a:gd name="T68" fmla="*/ 492 w 1028"/>
                    <a:gd name="T69" fmla="*/ 1674 h 1764"/>
                    <a:gd name="T70" fmla="*/ 496 w 1028"/>
                    <a:gd name="T71" fmla="*/ 1505 h 1764"/>
                    <a:gd name="T72" fmla="*/ 528 w 1028"/>
                    <a:gd name="T73" fmla="*/ 1179 h 1764"/>
                    <a:gd name="T74" fmla="*/ 522 w 1028"/>
                    <a:gd name="T75" fmla="*/ 1097 h 1764"/>
                    <a:gd name="T76" fmla="*/ 490 w 1028"/>
                    <a:gd name="T77" fmla="*/ 1045 h 1764"/>
                    <a:gd name="T78" fmla="*/ 447 w 1028"/>
                    <a:gd name="T79" fmla="*/ 1015 h 1764"/>
                    <a:gd name="T80" fmla="*/ 406 w 1028"/>
                    <a:gd name="T81" fmla="*/ 1002 h 1764"/>
                    <a:gd name="T82" fmla="*/ 376 w 1028"/>
                    <a:gd name="T83" fmla="*/ 998 h 1764"/>
                    <a:gd name="T84" fmla="*/ 366 w 1028"/>
                    <a:gd name="T85" fmla="*/ 998 h 1764"/>
                    <a:gd name="T86" fmla="*/ 321 w 1028"/>
                    <a:gd name="T87" fmla="*/ 998 h 1764"/>
                    <a:gd name="T88" fmla="*/ 255 w 1028"/>
                    <a:gd name="T89" fmla="*/ 998 h 1764"/>
                    <a:gd name="T90" fmla="*/ 210 w 1028"/>
                    <a:gd name="T91" fmla="*/ 998 h 1764"/>
                    <a:gd name="T92" fmla="*/ 139 w 1028"/>
                    <a:gd name="T93" fmla="*/ 990 h 1764"/>
                    <a:gd name="T94" fmla="*/ 59 w 1028"/>
                    <a:gd name="T95" fmla="*/ 948 h 1764"/>
                    <a:gd name="T96" fmla="*/ 10 w 1028"/>
                    <a:gd name="T97" fmla="*/ 872 h 1764"/>
                    <a:gd name="T98" fmla="*/ 0 w 1028"/>
                    <a:gd name="T99" fmla="*/ 212 h 1764"/>
                    <a:gd name="T100" fmla="*/ 23 w 1028"/>
                    <a:gd name="T101" fmla="*/ 125 h 1764"/>
                    <a:gd name="T102" fmla="*/ 82 w 1028"/>
                    <a:gd name="T103" fmla="*/ 58 h 1764"/>
                    <a:gd name="T104" fmla="*/ 159 w 1028"/>
                    <a:gd name="T105" fmla="*/ 16 h 1764"/>
                    <a:gd name="T106" fmla="*/ 190 w 1028"/>
                    <a:gd name="T107" fmla="*/ 7 h 1764"/>
                    <a:gd name="T108" fmla="*/ 219 w 1028"/>
                    <a:gd name="T109" fmla="*/ 3 h 17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28" h="1764">
                      <a:moveTo>
                        <a:pt x="247" y="0"/>
                      </a:moveTo>
                      <a:lnTo>
                        <a:pt x="265" y="2"/>
                      </a:lnTo>
                      <a:lnTo>
                        <a:pt x="281" y="4"/>
                      </a:lnTo>
                      <a:lnTo>
                        <a:pt x="294" y="6"/>
                      </a:lnTo>
                      <a:lnTo>
                        <a:pt x="302" y="8"/>
                      </a:lnTo>
                      <a:lnTo>
                        <a:pt x="305" y="8"/>
                      </a:lnTo>
                      <a:lnTo>
                        <a:pt x="332" y="17"/>
                      </a:lnTo>
                      <a:lnTo>
                        <a:pt x="358" y="28"/>
                      </a:lnTo>
                      <a:lnTo>
                        <a:pt x="385" y="43"/>
                      </a:lnTo>
                      <a:lnTo>
                        <a:pt x="409" y="59"/>
                      </a:lnTo>
                      <a:lnTo>
                        <a:pt x="432" y="79"/>
                      </a:lnTo>
                      <a:lnTo>
                        <a:pt x="451" y="101"/>
                      </a:lnTo>
                      <a:lnTo>
                        <a:pt x="467" y="126"/>
                      </a:lnTo>
                      <a:lnTo>
                        <a:pt x="479" y="154"/>
                      </a:lnTo>
                      <a:lnTo>
                        <a:pt x="493" y="189"/>
                      </a:lnTo>
                      <a:lnTo>
                        <a:pt x="506" y="222"/>
                      </a:lnTo>
                      <a:lnTo>
                        <a:pt x="518" y="255"/>
                      </a:lnTo>
                      <a:lnTo>
                        <a:pt x="532" y="283"/>
                      </a:lnTo>
                      <a:lnTo>
                        <a:pt x="546" y="311"/>
                      </a:lnTo>
                      <a:lnTo>
                        <a:pt x="562" y="336"/>
                      </a:lnTo>
                      <a:lnTo>
                        <a:pt x="578" y="359"/>
                      </a:lnTo>
                      <a:lnTo>
                        <a:pt x="597" y="379"/>
                      </a:lnTo>
                      <a:lnTo>
                        <a:pt x="618" y="397"/>
                      </a:lnTo>
                      <a:lnTo>
                        <a:pt x="643" y="412"/>
                      </a:lnTo>
                      <a:lnTo>
                        <a:pt x="669" y="426"/>
                      </a:lnTo>
                      <a:lnTo>
                        <a:pt x="699" y="435"/>
                      </a:lnTo>
                      <a:lnTo>
                        <a:pt x="734" y="443"/>
                      </a:lnTo>
                      <a:lnTo>
                        <a:pt x="772" y="449"/>
                      </a:lnTo>
                      <a:lnTo>
                        <a:pt x="815" y="452"/>
                      </a:lnTo>
                      <a:lnTo>
                        <a:pt x="862" y="452"/>
                      </a:lnTo>
                      <a:lnTo>
                        <a:pt x="917" y="449"/>
                      </a:lnTo>
                      <a:lnTo>
                        <a:pt x="940" y="450"/>
                      </a:lnTo>
                      <a:lnTo>
                        <a:pt x="962" y="457"/>
                      </a:lnTo>
                      <a:lnTo>
                        <a:pt x="982" y="467"/>
                      </a:lnTo>
                      <a:lnTo>
                        <a:pt x="1000" y="482"/>
                      </a:lnTo>
                      <a:lnTo>
                        <a:pt x="1013" y="500"/>
                      </a:lnTo>
                      <a:lnTo>
                        <a:pt x="1022" y="521"/>
                      </a:lnTo>
                      <a:lnTo>
                        <a:pt x="1028" y="544"/>
                      </a:lnTo>
                      <a:lnTo>
                        <a:pt x="1027" y="569"/>
                      </a:lnTo>
                      <a:lnTo>
                        <a:pt x="1020" y="591"/>
                      </a:lnTo>
                      <a:lnTo>
                        <a:pt x="1009" y="611"/>
                      </a:lnTo>
                      <a:lnTo>
                        <a:pt x="994" y="629"/>
                      </a:lnTo>
                      <a:lnTo>
                        <a:pt x="977" y="642"/>
                      </a:lnTo>
                      <a:lnTo>
                        <a:pt x="954" y="651"/>
                      </a:lnTo>
                      <a:lnTo>
                        <a:pt x="931" y="655"/>
                      </a:lnTo>
                      <a:lnTo>
                        <a:pt x="867" y="660"/>
                      </a:lnTo>
                      <a:lnTo>
                        <a:pt x="808" y="661"/>
                      </a:lnTo>
                      <a:lnTo>
                        <a:pt x="755" y="660"/>
                      </a:lnTo>
                      <a:lnTo>
                        <a:pt x="706" y="655"/>
                      </a:lnTo>
                      <a:lnTo>
                        <a:pt x="661" y="650"/>
                      </a:lnTo>
                      <a:lnTo>
                        <a:pt x="620" y="641"/>
                      </a:lnTo>
                      <a:lnTo>
                        <a:pt x="583" y="630"/>
                      </a:lnTo>
                      <a:lnTo>
                        <a:pt x="549" y="615"/>
                      </a:lnTo>
                      <a:lnTo>
                        <a:pt x="518" y="599"/>
                      </a:lnTo>
                      <a:lnTo>
                        <a:pt x="489" y="579"/>
                      </a:lnTo>
                      <a:lnTo>
                        <a:pt x="489" y="752"/>
                      </a:lnTo>
                      <a:lnTo>
                        <a:pt x="538" y="756"/>
                      </a:lnTo>
                      <a:lnTo>
                        <a:pt x="580" y="762"/>
                      </a:lnTo>
                      <a:lnTo>
                        <a:pt x="617" y="770"/>
                      </a:lnTo>
                      <a:lnTo>
                        <a:pt x="648" y="777"/>
                      </a:lnTo>
                      <a:lnTo>
                        <a:pt x="674" y="786"/>
                      </a:lnTo>
                      <a:lnTo>
                        <a:pt x="695" y="796"/>
                      </a:lnTo>
                      <a:lnTo>
                        <a:pt x="712" y="806"/>
                      </a:lnTo>
                      <a:lnTo>
                        <a:pt x="726" y="817"/>
                      </a:lnTo>
                      <a:lnTo>
                        <a:pt x="738" y="827"/>
                      </a:lnTo>
                      <a:lnTo>
                        <a:pt x="746" y="838"/>
                      </a:lnTo>
                      <a:lnTo>
                        <a:pt x="754" y="848"/>
                      </a:lnTo>
                      <a:lnTo>
                        <a:pt x="759" y="858"/>
                      </a:lnTo>
                      <a:lnTo>
                        <a:pt x="761" y="864"/>
                      </a:lnTo>
                      <a:lnTo>
                        <a:pt x="764" y="871"/>
                      </a:lnTo>
                      <a:lnTo>
                        <a:pt x="767" y="877"/>
                      </a:lnTo>
                      <a:lnTo>
                        <a:pt x="769" y="885"/>
                      </a:lnTo>
                      <a:lnTo>
                        <a:pt x="771" y="894"/>
                      </a:lnTo>
                      <a:lnTo>
                        <a:pt x="774" y="904"/>
                      </a:lnTo>
                      <a:lnTo>
                        <a:pt x="776" y="917"/>
                      </a:lnTo>
                      <a:lnTo>
                        <a:pt x="778" y="932"/>
                      </a:lnTo>
                      <a:lnTo>
                        <a:pt x="779" y="949"/>
                      </a:lnTo>
                      <a:lnTo>
                        <a:pt x="780" y="969"/>
                      </a:lnTo>
                      <a:lnTo>
                        <a:pt x="781" y="993"/>
                      </a:lnTo>
                      <a:lnTo>
                        <a:pt x="781" y="1020"/>
                      </a:lnTo>
                      <a:lnTo>
                        <a:pt x="781" y="1050"/>
                      </a:lnTo>
                      <a:lnTo>
                        <a:pt x="781" y="1086"/>
                      </a:lnTo>
                      <a:lnTo>
                        <a:pt x="779" y="1126"/>
                      </a:lnTo>
                      <a:lnTo>
                        <a:pt x="778" y="1170"/>
                      </a:lnTo>
                      <a:lnTo>
                        <a:pt x="776" y="1220"/>
                      </a:lnTo>
                      <a:lnTo>
                        <a:pt x="772" y="1276"/>
                      </a:lnTo>
                      <a:lnTo>
                        <a:pt x="768" y="1337"/>
                      </a:lnTo>
                      <a:lnTo>
                        <a:pt x="764" y="1403"/>
                      </a:lnTo>
                      <a:lnTo>
                        <a:pt x="758" y="1478"/>
                      </a:lnTo>
                      <a:lnTo>
                        <a:pt x="751" y="1558"/>
                      </a:lnTo>
                      <a:lnTo>
                        <a:pt x="744" y="1645"/>
                      </a:lnTo>
                      <a:lnTo>
                        <a:pt x="738" y="1673"/>
                      </a:lnTo>
                      <a:lnTo>
                        <a:pt x="727" y="1699"/>
                      </a:lnTo>
                      <a:lnTo>
                        <a:pt x="711" y="1721"/>
                      </a:lnTo>
                      <a:lnTo>
                        <a:pt x="691" y="1738"/>
                      </a:lnTo>
                      <a:lnTo>
                        <a:pt x="668" y="1753"/>
                      </a:lnTo>
                      <a:lnTo>
                        <a:pt x="643" y="1761"/>
                      </a:lnTo>
                      <a:lnTo>
                        <a:pt x="615" y="1764"/>
                      </a:lnTo>
                      <a:lnTo>
                        <a:pt x="604" y="1764"/>
                      </a:lnTo>
                      <a:lnTo>
                        <a:pt x="577" y="1758"/>
                      </a:lnTo>
                      <a:lnTo>
                        <a:pt x="554" y="1748"/>
                      </a:lnTo>
                      <a:lnTo>
                        <a:pt x="533" y="1735"/>
                      </a:lnTo>
                      <a:lnTo>
                        <a:pt x="515" y="1717"/>
                      </a:lnTo>
                      <a:lnTo>
                        <a:pt x="502" y="1697"/>
                      </a:lnTo>
                      <a:lnTo>
                        <a:pt x="492" y="1674"/>
                      </a:lnTo>
                      <a:lnTo>
                        <a:pt x="486" y="1650"/>
                      </a:lnTo>
                      <a:lnTo>
                        <a:pt x="486" y="1623"/>
                      </a:lnTo>
                      <a:lnTo>
                        <a:pt x="496" y="1505"/>
                      </a:lnTo>
                      <a:lnTo>
                        <a:pt x="508" y="1391"/>
                      </a:lnTo>
                      <a:lnTo>
                        <a:pt x="519" y="1282"/>
                      </a:lnTo>
                      <a:lnTo>
                        <a:pt x="528" y="1179"/>
                      </a:lnTo>
                      <a:lnTo>
                        <a:pt x="529" y="1148"/>
                      </a:lnTo>
                      <a:lnTo>
                        <a:pt x="527" y="1121"/>
                      </a:lnTo>
                      <a:lnTo>
                        <a:pt x="522" y="1097"/>
                      </a:lnTo>
                      <a:lnTo>
                        <a:pt x="513" y="1077"/>
                      </a:lnTo>
                      <a:lnTo>
                        <a:pt x="503" y="1059"/>
                      </a:lnTo>
                      <a:lnTo>
                        <a:pt x="490" y="1045"/>
                      </a:lnTo>
                      <a:lnTo>
                        <a:pt x="477" y="1033"/>
                      </a:lnTo>
                      <a:lnTo>
                        <a:pt x="463" y="1023"/>
                      </a:lnTo>
                      <a:lnTo>
                        <a:pt x="447" y="1015"/>
                      </a:lnTo>
                      <a:lnTo>
                        <a:pt x="433" y="1009"/>
                      </a:lnTo>
                      <a:lnTo>
                        <a:pt x="418" y="1005"/>
                      </a:lnTo>
                      <a:lnTo>
                        <a:pt x="406" y="1002"/>
                      </a:lnTo>
                      <a:lnTo>
                        <a:pt x="394" y="999"/>
                      </a:lnTo>
                      <a:lnTo>
                        <a:pt x="384" y="998"/>
                      </a:lnTo>
                      <a:lnTo>
                        <a:pt x="376" y="998"/>
                      </a:lnTo>
                      <a:lnTo>
                        <a:pt x="372" y="998"/>
                      </a:lnTo>
                      <a:lnTo>
                        <a:pt x="370" y="998"/>
                      </a:lnTo>
                      <a:lnTo>
                        <a:pt x="366" y="998"/>
                      </a:lnTo>
                      <a:lnTo>
                        <a:pt x="355" y="998"/>
                      </a:lnTo>
                      <a:lnTo>
                        <a:pt x="340" y="998"/>
                      </a:lnTo>
                      <a:lnTo>
                        <a:pt x="321" y="998"/>
                      </a:lnTo>
                      <a:lnTo>
                        <a:pt x="300" y="998"/>
                      </a:lnTo>
                      <a:lnTo>
                        <a:pt x="277" y="998"/>
                      </a:lnTo>
                      <a:lnTo>
                        <a:pt x="255" y="998"/>
                      </a:lnTo>
                      <a:lnTo>
                        <a:pt x="236" y="998"/>
                      </a:lnTo>
                      <a:lnTo>
                        <a:pt x="220" y="998"/>
                      </a:lnTo>
                      <a:lnTo>
                        <a:pt x="210" y="998"/>
                      </a:lnTo>
                      <a:lnTo>
                        <a:pt x="205" y="998"/>
                      </a:lnTo>
                      <a:lnTo>
                        <a:pt x="171" y="996"/>
                      </a:lnTo>
                      <a:lnTo>
                        <a:pt x="139" y="990"/>
                      </a:lnTo>
                      <a:lnTo>
                        <a:pt x="109" y="980"/>
                      </a:lnTo>
                      <a:lnTo>
                        <a:pt x="82" y="966"/>
                      </a:lnTo>
                      <a:lnTo>
                        <a:pt x="59" y="948"/>
                      </a:lnTo>
                      <a:lnTo>
                        <a:pt x="38" y="926"/>
                      </a:lnTo>
                      <a:lnTo>
                        <a:pt x="22" y="901"/>
                      </a:lnTo>
                      <a:lnTo>
                        <a:pt x="10" y="872"/>
                      </a:lnTo>
                      <a:lnTo>
                        <a:pt x="2" y="838"/>
                      </a:lnTo>
                      <a:lnTo>
                        <a:pt x="0" y="802"/>
                      </a:lnTo>
                      <a:lnTo>
                        <a:pt x="0" y="212"/>
                      </a:lnTo>
                      <a:lnTo>
                        <a:pt x="3" y="181"/>
                      </a:lnTo>
                      <a:lnTo>
                        <a:pt x="11" y="151"/>
                      </a:lnTo>
                      <a:lnTo>
                        <a:pt x="23" y="125"/>
                      </a:lnTo>
                      <a:lnTo>
                        <a:pt x="40" y="99"/>
                      </a:lnTo>
                      <a:lnTo>
                        <a:pt x="60" y="77"/>
                      </a:lnTo>
                      <a:lnTo>
                        <a:pt x="82" y="58"/>
                      </a:lnTo>
                      <a:lnTo>
                        <a:pt x="106" y="41"/>
                      </a:lnTo>
                      <a:lnTo>
                        <a:pt x="132" y="27"/>
                      </a:lnTo>
                      <a:lnTo>
                        <a:pt x="159" y="16"/>
                      </a:lnTo>
                      <a:lnTo>
                        <a:pt x="186" y="8"/>
                      </a:lnTo>
                      <a:lnTo>
                        <a:pt x="186" y="8"/>
                      </a:lnTo>
                      <a:lnTo>
                        <a:pt x="190" y="7"/>
                      </a:lnTo>
                      <a:lnTo>
                        <a:pt x="196" y="6"/>
                      </a:lnTo>
                      <a:lnTo>
                        <a:pt x="206" y="5"/>
                      </a:lnTo>
                      <a:lnTo>
                        <a:pt x="219" y="3"/>
                      </a:lnTo>
                      <a:lnTo>
                        <a:pt x="233" y="2"/>
                      </a:lnTo>
                      <a:lnTo>
                        <a:pt x="24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2" name="Freeform 245">
                  <a:extLst>
                    <a:ext uri="{FF2B5EF4-FFF2-40B4-BE49-F238E27FC236}">
                      <a16:creationId xmlns:a16="http://schemas.microsoft.com/office/drawing/2014/main" xmlns="" id="{C1695173-7436-48DF-B224-80EDCEB168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5" y="1867"/>
                  <a:ext cx="80" cy="175"/>
                </a:xfrm>
                <a:custGeom>
                  <a:avLst/>
                  <a:gdLst>
                    <a:gd name="T0" fmla="*/ 100 w 722"/>
                    <a:gd name="T1" fmla="*/ 0 h 1570"/>
                    <a:gd name="T2" fmla="*/ 122 w 722"/>
                    <a:gd name="T3" fmla="*/ 2 h 1570"/>
                    <a:gd name="T4" fmla="*/ 143 w 722"/>
                    <a:gd name="T5" fmla="*/ 10 h 1570"/>
                    <a:gd name="T6" fmla="*/ 162 w 722"/>
                    <a:gd name="T7" fmla="*/ 22 h 1570"/>
                    <a:gd name="T8" fmla="*/ 178 w 722"/>
                    <a:gd name="T9" fmla="*/ 36 h 1570"/>
                    <a:gd name="T10" fmla="*/ 190 w 722"/>
                    <a:gd name="T11" fmla="*/ 55 h 1570"/>
                    <a:gd name="T12" fmla="*/ 196 w 722"/>
                    <a:gd name="T13" fmla="*/ 76 h 1570"/>
                    <a:gd name="T14" fmla="*/ 200 w 722"/>
                    <a:gd name="T15" fmla="*/ 99 h 1570"/>
                    <a:gd name="T16" fmla="*/ 200 w 722"/>
                    <a:gd name="T17" fmla="*/ 620 h 1570"/>
                    <a:gd name="T18" fmla="*/ 200 w 722"/>
                    <a:gd name="T19" fmla="*/ 621 h 1570"/>
                    <a:gd name="T20" fmla="*/ 199 w 722"/>
                    <a:gd name="T21" fmla="*/ 627 h 1570"/>
                    <a:gd name="T22" fmla="*/ 199 w 722"/>
                    <a:gd name="T23" fmla="*/ 634 h 1570"/>
                    <a:gd name="T24" fmla="*/ 199 w 722"/>
                    <a:gd name="T25" fmla="*/ 645 h 1570"/>
                    <a:gd name="T26" fmla="*/ 200 w 722"/>
                    <a:gd name="T27" fmla="*/ 658 h 1570"/>
                    <a:gd name="T28" fmla="*/ 201 w 722"/>
                    <a:gd name="T29" fmla="*/ 673 h 1570"/>
                    <a:gd name="T30" fmla="*/ 203 w 722"/>
                    <a:gd name="T31" fmla="*/ 689 h 1570"/>
                    <a:gd name="T32" fmla="*/ 208 w 722"/>
                    <a:gd name="T33" fmla="*/ 707 h 1570"/>
                    <a:gd name="T34" fmla="*/ 213 w 722"/>
                    <a:gd name="T35" fmla="*/ 724 h 1570"/>
                    <a:gd name="T36" fmla="*/ 220 w 722"/>
                    <a:gd name="T37" fmla="*/ 743 h 1570"/>
                    <a:gd name="T38" fmla="*/ 229 w 722"/>
                    <a:gd name="T39" fmla="*/ 762 h 1570"/>
                    <a:gd name="T40" fmla="*/ 241 w 722"/>
                    <a:gd name="T41" fmla="*/ 780 h 1570"/>
                    <a:gd name="T42" fmla="*/ 254 w 722"/>
                    <a:gd name="T43" fmla="*/ 798 h 1570"/>
                    <a:gd name="T44" fmla="*/ 272 w 722"/>
                    <a:gd name="T45" fmla="*/ 813 h 1570"/>
                    <a:gd name="T46" fmla="*/ 292 w 722"/>
                    <a:gd name="T47" fmla="*/ 829 h 1570"/>
                    <a:gd name="T48" fmla="*/ 314 w 722"/>
                    <a:gd name="T49" fmla="*/ 841 h 1570"/>
                    <a:gd name="T50" fmla="*/ 342 w 722"/>
                    <a:gd name="T51" fmla="*/ 852 h 1570"/>
                    <a:gd name="T52" fmla="*/ 372 w 722"/>
                    <a:gd name="T53" fmla="*/ 860 h 1570"/>
                    <a:gd name="T54" fmla="*/ 406 w 722"/>
                    <a:gd name="T55" fmla="*/ 865 h 1570"/>
                    <a:gd name="T56" fmla="*/ 445 w 722"/>
                    <a:gd name="T57" fmla="*/ 866 h 1570"/>
                    <a:gd name="T58" fmla="*/ 622 w 722"/>
                    <a:gd name="T59" fmla="*/ 866 h 1570"/>
                    <a:gd name="T60" fmla="*/ 645 w 722"/>
                    <a:gd name="T61" fmla="*/ 870 h 1570"/>
                    <a:gd name="T62" fmla="*/ 666 w 722"/>
                    <a:gd name="T63" fmla="*/ 877 h 1570"/>
                    <a:gd name="T64" fmla="*/ 685 w 722"/>
                    <a:gd name="T65" fmla="*/ 889 h 1570"/>
                    <a:gd name="T66" fmla="*/ 700 w 722"/>
                    <a:gd name="T67" fmla="*/ 904 h 1570"/>
                    <a:gd name="T68" fmla="*/ 712 w 722"/>
                    <a:gd name="T69" fmla="*/ 923 h 1570"/>
                    <a:gd name="T70" fmla="*/ 719 w 722"/>
                    <a:gd name="T71" fmla="*/ 944 h 1570"/>
                    <a:gd name="T72" fmla="*/ 722 w 722"/>
                    <a:gd name="T73" fmla="*/ 966 h 1570"/>
                    <a:gd name="T74" fmla="*/ 719 w 722"/>
                    <a:gd name="T75" fmla="*/ 991 h 1570"/>
                    <a:gd name="T76" fmla="*/ 710 w 722"/>
                    <a:gd name="T77" fmla="*/ 1012 h 1570"/>
                    <a:gd name="T78" fmla="*/ 698 w 722"/>
                    <a:gd name="T79" fmla="*/ 1032 h 1570"/>
                    <a:gd name="T80" fmla="*/ 680 w 722"/>
                    <a:gd name="T81" fmla="*/ 1047 h 1570"/>
                    <a:gd name="T82" fmla="*/ 660 w 722"/>
                    <a:gd name="T83" fmla="*/ 1058 h 1570"/>
                    <a:gd name="T84" fmla="*/ 638 w 722"/>
                    <a:gd name="T85" fmla="*/ 1065 h 1570"/>
                    <a:gd name="T86" fmla="*/ 638 w 722"/>
                    <a:gd name="T87" fmla="*/ 1570 h 1570"/>
                    <a:gd name="T88" fmla="*/ 518 w 722"/>
                    <a:gd name="T89" fmla="*/ 1570 h 1570"/>
                    <a:gd name="T90" fmla="*/ 518 w 722"/>
                    <a:gd name="T91" fmla="*/ 1066 h 1570"/>
                    <a:gd name="T92" fmla="*/ 160 w 722"/>
                    <a:gd name="T93" fmla="*/ 1066 h 1570"/>
                    <a:gd name="T94" fmla="*/ 160 w 722"/>
                    <a:gd name="T95" fmla="*/ 1570 h 1570"/>
                    <a:gd name="T96" fmla="*/ 40 w 722"/>
                    <a:gd name="T97" fmla="*/ 1570 h 1570"/>
                    <a:gd name="T98" fmla="*/ 40 w 722"/>
                    <a:gd name="T99" fmla="*/ 1046 h 1570"/>
                    <a:gd name="T100" fmla="*/ 23 w 722"/>
                    <a:gd name="T101" fmla="*/ 1031 h 1570"/>
                    <a:gd name="T102" fmla="*/ 11 w 722"/>
                    <a:gd name="T103" fmla="*/ 1012 h 1570"/>
                    <a:gd name="T104" fmla="*/ 3 w 722"/>
                    <a:gd name="T105" fmla="*/ 990 h 1570"/>
                    <a:gd name="T106" fmla="*/ 0 w 722"/>
                    <a:gd name="T107" fmla="*/ 966 h 1570"/>
                    <a:gd name="T108" fmla="*/ 0 w 722"/>
                    <a:gd name="T109" fmla="*/ 99 h 1570"/>
                    <a:gd name="T110" fmla="*/ 2 w 722"/>
                    <a:gd name="T111" fmla="*/ 76 h 1570"/>
                    <a:gd name="T112" fmla="*/ 10 w 722"/>
                    <a:gd name="T113" fmla="*/ 55 h 1570"/>
                    <a:gd name="T114" fmla="*/ 22 w 722"/>
                    <a:gd name="T115" fmla="*/ 36 h 1570"/>
                    <a:gd name="T116" fmla="*/ 38 w 722"/>
                    <a:gd name="T117" fmla="*/ 22 h 1570"/>
                    <a:gd name="T118" fmla="*/ 56 w 722"/>
                    <a:gd name="T119" fmla="*/ 10 h 1570"/>
                    <a:gd name="T120" fmla="*/ 77 w 722"/>
                    <a:gd name="T121" fmla="*/ 2 h 1570"/>
                    <a:gd name="T122" fmla="*/ 100 w 722"/>
                    <a:gd name="T123" fmla="*/ 0 h 15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22" h="1570">
                      <a:moveTo>
                        <a:pt x="100" y="0"/>
                      </a:moveTo>
                      <a:lnTo>
                        <a:pt x="122" y="2"/>
                      </a:lnTo>
                      <a:lnTo>
                        <a:pt x="143" y="10"/>
                      </a:lnTo>
                      <a:lnTo>
                        <a:pt x="162" y="22"/>
                      </a:lnTo>
                      <a:lnTo>
                        <a:pt x="178" y="36"/>
                      </a:lnTo>
                      <a:lnTo>
                        <a:pt x="190" y="55"/>
                      </a:lnTo>
                      <a:lnTo>
                        <a:pt x="196" y="76"/>
                      </a:lnTo>
                      <a:lnTo>
                        <a:pt x="200" y="99"/>
                      </a:lnTo>
                      <a:lnTo>
                        <a:pt x="200" y="620"/>
                      </a:lnTo>
                      <a:lnTo>
                        <a:pt x="200" y="621"/>
                      </a:lnTo>
                      <a:lnTo>
                        <a:pt x="199" y="627"/>
                      </a:lnTo>
                      <a:lnTo>
                        <a:pt x="199" y="634"/>
                      </a:lnTo>
                      <a:lnTo>
                        <a:pt x="199" y="645"/>
                      </a:lnTo>
                      <a:lnTo>
                        <a:pt x="200" y="658"/>
                      </a:lnTo>
                      <a:lnTo>
                        <a:pt x="201" y="673"/>
                      </a:lnTo>
                      <a:lnTo>
                        <a:pt x="203" y="689"/>
                      </a:lnTo>
                      <a:lnTo>
                        <a:pt x="208" y="707"/>
                      </a:lnTo>
                      <a:lnTo>
                        <a:pt x="213" y="724"/>
                      </a:lnTo>
                      <a:lnTo>
                        <a:pt x="220" y="743"/>
                      </a:lnTo>
                      <a:lnTo>
                        <a:pt x="229" y="762"/>
                      </a:lnTo>
                      <a:lnTo>
                        <a:pt x="241" y="780"/>
                      </a:lnTo>
                      <a:lnTo>
                        <a:pt x="254" y="798"/>
                      </a:lnTo>
                      <a:lnTo>
                        <a:pt x="272" y="813"/>
                      </a:lnTo>
                      <a:lnTo>
                        <a:pt x="292" y="829"/>
                      </a:lnTo>
                      <a:lnTo>
                        <a:pt x="314" y="841"/>
                      </a:lnTo>
                      <a:lnTo>
                        <a:pt x="342" y="852"/>
                      </a:lnTo>
                      <a:lnTo>
                        <a:pt x="372" y="860"/>
                      </a:lnTo>
                      <a:lnTo>
                        <a:pt x="406" y="865"/>
                      </a:lnTo>
                      <a:lnTo>
                        <a:pt x="445" y="866"/>
                      </a:lnTo>
                      <a:lnTo>
                        <a:pt x="622" y="866"/>
                      </a:lnTo>
                      <a:lnTo>
                        <a:pt x="645" y="870"/>
                      </a:lnTo>
                      <a:lnTo>
                        <a:pt x="666" y="877"/>
                      </a:lnTo>
                      <a:lnTo>
                        <a:pt x="685" y="889"/>
                      </a:lnTo>
                      <a:lnTo>
                        <a:pt x="700" y="904"/>
                      </a:lnTo>
                      <a:lnTo>
                        <a:pt x="712" y="923"/>
                      </a:lnTo>
                      <a:lnTo>
                        <a:pt x="719" y="944"/>
                      </a:lnTo>
                      <a:lnTo>
                        <a:pt x="722" y="966"/>
                      </a:lnTo>
                      <a:lnTo>
                        <a:pt x="719" y="991"/>
                      </a:lnTo>
                      <a:lnTo>
                        <a:pt x="710" y="1012"/>
                      </a:lnTo>
                      <a:lnTo>
                        <a:pt x="698" y="1032"/>
                      </a:lnTo>
                      <a:lnTo>
                        <a:pt x="680" y="1047"/>
                      </a:lnTo>
                      <a:lnTo>
                        <a:pt x="660" y="1058"/>
                      </a:lnTo>
                      <a:lnTo>
                        <a:pt x="638" y="1065"/>
                      </a:lnTo>
                      <a:lnTo>
                        <a:pt x="638" y="1570"/>
                      </a:lnTo>
                      <a:lnTo>
                        <a:pt x="518" y="1570"/>
                      </a:lnTo>
                      <a:lnTo>
                        <a:pt x="518" y="1066"/>
                      </a:lnTo>
                      <a:lnTo>
                        <a:pt x="160" y="1066"/>
                      </a:lnTo>
                      <a:lnTo>
                        <a:pt x="160" y="1570"/>
                      </a:lnTo>
                      <a:lnTo>
                        <a:pt x="40" y="1570"/>
                      </a:lnTo>
                      <a:lnTo>
                        <a:pt x="40" y="1046"/>
                      </a:lnTo>
                      <a:lnTo>
                        <a:pt x="23" y="1031"/>
                      </a:lnTo>
                      <a:lnTo>
                        <a:pt x="11" y="1012"/>
                      </a:lnTo>
                      <a:lnTo>
                        <a:pt x="3" y="990"/>
                      </a:lnTo>
                      <a:lnTo>
                        <a:pt x="0" y="966"/>
                      </a:lnTo>
                      <a:lnTo>
                        <a:pt x="0" y="99"/>
                      </a:lnTo>
                      <a:lnTo>
                        <a:pt x="2" y="76"/>
                      </a:lnTo>
                      <a:lnTo>
                        <a:pt x="10" y="55"/>
                      </a:lnTo>
                      <a:lnTo>
                        <a:pt x="22" y="36"/>
                      </a:lnTo>
                      <a:lnTo>
                        <a:pt x="38" y="22"/>
                      </a:lnTo>
                      <a:lnTo>
                        <a:pt x="56" y="10"/>
                      </a:lnTo>
                      <a:lnTo>
                        <a:pt x="77" y="2"/>
                      </a:lnTo>
                      <a:lnTo>
                        <a:pt x="10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3" name="Freeform 246">
                  <a:extLst>
                    <a:ext uri="{FF2B5EF4-FFF2-40B4-BE49-F238E27FC236}">
                      <a16:creationId xmlns:a16="http://schemas.microsoft.com/office/drawing/2014/main" xmlns="" id="{C0DE1141-0AA0-4D48-900A-B8244F625C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71" y="1786"/>
                  <a:ext cx="60" cy="59"/>
                </a:xfrm>
                <a:custGeom>
                  <a:avLst/>
                  <a:gdLst>
                    <a:gd name="T0" fmla="*/ 268 w 534"/>
                    <a:gd name="T1" fmla="*/ 0 h 534"/>
                    <a:gd name="T2" fmla="*/ 311 w 534"/>
                    <a:gd name="T3" fmla="*/ 3 h 534"/>
                    <a:gd name="T4" fmla="*/ 352 w 534"/>
                    <a:gd name="T5" fmla="*/ 13 h 534"/>
                    <a:gd name="T6" fmla="*/ 390 w 534"/>
                    <a:gd name="T7" fmla="*/ 30 h 534"/>
                    <a:gd name="T8" fmla="*/ 425 w 534"/>
                    <a:gd name="T9" fmla="*/ 51 h 534"/>
                    <a:gd name="T10" fmla="*/ 456 w 534"/>
                    <a:gd name="T11" fmla="*/ 79 h 534"/>
                    <a:gd name="T12" fmla="*/ 483 w 534"/>
                    <a:gd name="T13" fmla="*/ 110 h 534"/>
                    <a:gd name="T14" fmla="*/ 505 w 534"/>
                    <a:gd name="T15" fmla="*/ 144 h 534"/>
                    <a:gd name="T16" fmla="*/ 521 w 534"/>
                    <a:gd name="T17" fmla="*/ 183 h 534"/>
                    <a:gd name="T18" fmla="*/ 531 w 534"/>
                    <a:gd name="T19" fmla="*/ 224 h 534"/>
                    <a:gd name="T20" fmla="*/ 534 w 534"/>
                    <a:gd name="T21" fmla="*/ 267 h 534"/>
                    <a:gd name="T22" fmla="*/ 531 w 534"/>
                    <a:gd name="T23" fmla="*/ 311 h 534"/>
                    <a:gd name="T24" fmla="*/ 521 w 534"/>
                    <a:gd name="T25" fmla="*/ 352 h 534"/>
                    <a:gd name="T26" fmla="*/ 505 w 534"/>
                    <a:gd name="T27" fmla="*/ 389 h 534"/>
                    <a:gd name="T28" fmla="*/ 483 w 534"/>
                    <a:gd name="T29" fmla="*/ 425 h 534"/>
                    <a:gd name="T30" fmla="*/ 456 w 534"/>
                    <a:gd name="T31" fmla="*/ 456 h 534"/>
                    <a:gd name="T32" fmla="*/ 425 w 534"/>
                    <a:gd name="T33" fmla="*/ 483 h 534"/>
                    <a:gd name="T34" fmla="*/ 390 w 534"/>
                    <a:gd name="T35" fmla="*/ 504 h 534"/>
                    <a:gd name="T36" fmla="*/ 352 w 534"/>
                    <a:gd name="T37" fmla="*/ 520 h 534"/>
                    <a:gd name="T38" fmla="*/ 311 w 534"/>
                    <a:gd name="T39" fmla="*/ 530 h 534"/>
                    <a:gd name="T40" fmla="*/ 268 w 534"/>
                    <a:gd name="T41" fmla="*/ 534 h 534"/>
                    <a:gd name="T42" fmla="*/ 224 w 534"/>
                    <a:gd name="T43" fmla="*/ 530 h 534"/>
                    <a:gd name="T44" fmla="*/ 183 w 534"/>
                    <a:gd name="T45" fmla="*/ 520 h 534"/>
                    <a:gd name="T46" fmla="*/ 144 w 534"/>
                    <a:gd name="T47" fmla="*/ 504 h 534"/>
                    <a:gd name="T48" fmla="*/ 110 w 534"/>
                    <a:gd name="T49" fmla="*/ 483 h 534"/>
                    <a:gd name="T50" fmla="*/ 79 w 534"/>
                    <a:gd name="T51" fmla="*/ 456 h 534"/>
                    <a:gd name="T52" fmla="*/ 52 w 534"/>
                    <a:gd name="T53" fmla="*/ 425 h 534"/>
                    <a:gd name="T54" fmla="*/ 30 w 534"/>
                    <a:gd name="T55" fmla="*/ 389 h 534"/>
                    <a:gd name="T56" fmla="*/ 15 w 534"/>
                    <a:gd name="T57" fmla="*/ 352 h 534"/>
                    <a:gd name="T58" fmla="*/ 5 w 534"/>
                    <a:gd name="T59" fmla="*/ 311 h 534"/>
                    <a:gd name="T60" fmla="*/ 0 w 534"/>
                    <a:gd name="T61" fmla="*/ 267 h 534"/>
                    <a:gd name="T62" fmla="*/ 5 w 534"/>
                    <a:gd name="T63" fmla="*/ 224 h 534"/>
                    <a:gd name="T64" fmla="*/ 15 w 534"/>
                    <a:gd name="T65" fmla="*/ 183 h 534"/>
                    <a:gd name="T66" fmla="*/ 30 w 534"/>
                    <a:gd name="T67" fmla="*/ 144 h 534"/>
                    <a:gd name="T68" fmla="*/ 52 w 534"/>
                    <a:gd name="T69" fmla="*/ 110 h 534"/>
                    <a:gd name="T70" fmla="*/ 79 w 534"/>
                    <a:gd name="T71" fmla="*/ 79 h 534"/>
                    <a:gd name="T72" fmla="*/ 110 w 534"/>
                    <a:gd name="T73" fmla="*/ 51 h 534"/>
                    <a:gd name="T74" fmla="*/ 144 w 534"/>
                    <a:gd name="T75" fmla="*/ 30 h 534"/>
                    <a:gd name="T76" fmla="*/ 183 w 534"/>
                    <a:gd name="T77" fmla="*/ 13 h 534"/>
                    <a:gd name="T78" fmla="*/ 224 w 534"/>
                    <a:gd name="T79" fmla="*/ 3 h 534"/>
                    <a:gd name="T80" fmla="*/ 268 w 534"/>
                    <a:gd name="T81" fmla="*/ 0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34" h="534">
                      <a:moveTo>
                        <a:pt x="268" y="0"/>
                      </a:moveTo>
                      <a:lnTo>
                        <a:pt x="311" y="3"/>
                      </a:lnTo>
                      <a:lnTo>
                        <a:pt x="352" y="13"/>
                      </a:lnTo>
                      <a:lnTo>
                        <a:pt x="390" y="30"/>
                      </a:lnTo>
                      <a:lnTo>
                        <a:pt x="425" y="51"/>
                      </a:lnTo>
                      <a:lnTo>
                        <a:pt x="456" y="79"/>
                      </a:lnTo>
                      <a:lnTo>
                        <a:pt x="483" y="110"/>
                      </a:lnTo>
                      <a:lnTo>
                        <a:pt x="505" y="144"/>
                      </a:lnTo>
                      <a:lnTo>
                        <a:pt x="521" y="183"/>
                      </a:lnTo>
                      <a:lnTo>
                        <a:pt x="531" y="224"/>
                      </a:lnTo>
                      <a:lnTo>
                        <a:pt x="534" y="267"/>
                      </a:lnTo>
                      <a:lnTo>
                        <a:pt x="531" y="311"/>
                      </a:lnTo>
                      <a:lnTo>
                        <a:pt x="521" y="352"/>
                      </a:lnTo>
                      <a:lnTo>
                        <a:pt x="505" y="389"/>
                      </a:lnTo>
                      <a:lnTo>
                        <a:pt x="483" y="425"/>
                      </a:lnTo>
                      <a:lnTo>
                        <a:pt x="456" y="456"/>
                      </a:lnTo>
                      <a:lnTo>
                        <a:pt x="425" y="483"/>
                      </a:lnTo>
                      <a:lnTo>
                        <a:pt x="390" y="504"/>
                      </a:lnTo>
                      <a:lnTo>
                        <a:pt x="352" y="520"/>
                      </a:lnTo>
                      <a:lnTo>
                        <a:pt x="311" y="530"/>
                      </a:lnTo>
                      <a:lnTo>
                        <a:pt x="268" y="534"/>
                      </a:lnTo>
                      <a:lnTo>
                        <a:pt x="224" y="530"/>
                      </a:lnTo>
                      <a:lnTo>
                        <a:pt x="183" y="520"/>
                      </a:lnTo>
                      <a:lnTo>
                        <a:pt x="144" y="504"/>
                      </a:lnTo>
                      <a:lnTo>
                        <a:pt x="110" y="483"/>
                      </a:lnTo>
                      <a:lnTo>
                        <a:pt x="79" y="456"/>
                      </a:lnTo>
                      <a:lnTo>
                        <a:pt x="52" y="425"/>
                      </a:lnTo>
                      <a:lnTo>
                        <a:pt x="30" y="389"/>
                      </a:lnTo>
                      <a:lnTo>
                        <a:pt x="15" y="352"/>
                      </a:lnTo>
                      <a:lnTo>
                        <a:pt x="5" y="311"/>
                      </a:lnTo>
                      <a:lnTo>
                        <a:pt x="0" y="267"/>
                      </a:lnTo>
                      <a:lnTo>
                        <a:pt x="5" y="224"/>
                      </a:lnTo>
                      <a:lnTo>
                        <a:pt x="15" y="183"/>
                      </a:lnTo>
                      <a:lnTo>
                        <a:pt x="30" y="144"/>
                      </a:lnTo>
                      <a:lnTo>
                        <a:pt x="52" y="110"/>
                      </a:lnTo>
                      <a:lnTo>
                        <a:pt x="79" y="79"/>
                      </a:lnTo>
                      <a:lnTo>
                        <a:pt x="110" y="51"/>
                      </a:lnTo>
                      <a:lnTo>
                        <a:pt x="144" y="30"/>
                      </a:lnTo>
                      <a:lnTo>
                        <a:pt x="183" y="13"/>
                      </a:lnTo>
                      <a:lnTo>
                        <a:pt x="224" y="3"/>
                      </a:lnTo>
                      <a:lnTo>
                        <a:pt x="2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Freeform 247">
                  <a:extLst>
                    <a:ext uri="{FF2B5EF4-FFF2-40B4-BE49-F238E27FC236}">
                      <a16:creationId xmlns:a16="http://schemas.microsoft.com/office/drawing/2014/main" xmlns="" id="{F62666A9-0EF0-455D-AD31-4CE3472B28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20" y="1847"/>
                  <a:ext cx="115" cy="196"/>
                </a:xfrm>
                <a:custGeom>
                  <a:avLst/>
                  <a:gdLst>
                    <a:gd name="T0" fmla="*/ 809 w 1028"/>
                    <a:gd name="T1" fmla="*/ 3 h 1764"/>
                    <a:gd name="T2" fmla="*/ 838 w 1028"/>
                    <a:gd name="T3" fmla="*/ 7 h 1764"/>
                    <a:gd name="T4" fmla="*/ 869 w 1028"/>
                    <a:gd name="T5" fmla="*/ 16 h 1764"/>
                    <a:gd name="T6" fmla="*/ 945 w 1028"/>
                    <a:gd name="T7" fmla="*/ 58 h 1764"/>
                    <a:gd name="T8" fmla="*/ 1004 w 1028"/>
                    <a:gd name="T9" fmla="*/ 125 h 1764"/>
                    <a:gd name="T10" fmla="*/ 1028 w 1028"/>
                    <a:gd name="T11" fmla="*/ 212 h 1764"/>
                    <a:gd name="T12" fmla="*/ 1018 w 1028"/>
                    <a:gd name="T13" fmla="*/ 872 h 1764"/>
                    <a:gd name="T14" fmla="*/ 969 w 1028"/>
                    <a:gd name="T15" fmla="*/ 948 h 1764"/>
                    <a:gd name="T16" fmla="*/ 889 w 1028"/>
                    <a:gd name="T17" fmla="*/ 990 h 1764"/>
                    <a:gd name="T18" fmla="*/ 818 w 1028"/>
                    <a:gd name="T19" fmla="*/ 998 h 1764"/>
                    <a:gd name="T20" fmla="*/ 772 w 1028"/>
                    <a:gd name="T21" fmla="*/ 998 h 1764"/>
                    <a:gd name="T22" fmla="*/ 707 w 1028"/>
                    <a:gd name="T23" fmla="*/ 998 h 1764"/>
                    <a:gd name="T24" fmla="*/ 661 w 1028"/>
                    <a:gd name="T25" fmla="*/ 998 h 1764"/>
                    <a:gd name="T26" fmla="*/ 651 w 1028"/>
                    <a:gd name="T27" fmla="*/ 998 h 1764"/>
                    <a:gd name="T28" fmla="*/ 621 w 1028"/>
                    <a:gd name="T29" fmla="*/ 1002 h 1764"/>
                    <a:gd name="T30" fmla="*/ 580 w 1028"/>
                    <a:gd name="T31" fmla="*/ 1015 h 1764"/>
                    <a:gd name="T32" fmla="*/ 537 w 1028"/>
                    <a:gd name="T33" fmla="*/ 1045 h 1764"/>
                    <a:gd name="T34" fmla="*/ 506 w 1028"/>
                    <a:gd name="T35" fmla="*/ 1097 h 1764"/>
                    <a:gd name="T36" fmla="*/ 499 w 1028"/>
                    <a:gd name="T37" fmla="*/ 1179 h 1764"/>
                    <a:gd name="T38" fmla="*/ 530 w 1028"/>
                    <a:gd name="T39" fmla="*/ 1505 h 1764"/>
                    <a:gd name="T40" fmla="*/ 536 w 1028"/>
                    <a:gd name="T41" fmla="*/ 1674 h 1764"/>
                    <a:gd name="T42" fmla="*/ 495 w 1028"/>
                    <a:gd name="T43" fmla="*/ 1735 h 1764"/>
                    <a:gd name="T44" fmla="*/ 424 w 1028"/>
                    <a:gd name="T45" fmla="*/ 1764 h 1764"/>
                    <a:gd name="T46" fmla="*/ 359 w 1028"/>
                    <a:gd name="T47" fmla="*/ 1752 h 1764"/>
                    <a:gd name="T48" fmla="*/ 301 w 1028"/>
                    <a:gd name="T49" fmla="*/ 1699 h 1764"/>
                    <a:gd name="T50" fmla="*/ 276 w 1028"/>
                    <a:gd name="T51" fmla="*/ 1558 h 1764"/>
                    <a:gd name="T52" fmla="*/ 259 w 1028"/>
                    <a:gd name="T53" fmla="*/ 1337 h 1764"/>
                    <a:gd name="T54" fmla="*/ 249 w 1028"/>
                    <a:gd name="T55" fmla="*/ 1170 h 1764"/>
                    <a:gd name="T56" fmla="*/ 246 w 1028"/>
                    <a:gd name="T57" fmla="*/ 1050 h 1764"/>
                    <a:gd name="T58" fmla="*/ 247 w 1028"/>
                    <a:gd name="T59" fmla="*/ 969 h 1764"/>
                    <a:gd name="T60" fmla="*/ 252 w 1028"/>
                    <a:gd name="T61" fmla="*/ 917 h 1764"/>
                    <a:gd name="T62" fmla="*/ 258 w 1028"/>
                    <a:gd name="T63" fmla="*/ 885 h 1764"/>
                    <a:gd name="T64" fmla="*/ 266 w 1028"/>
                    <a:gd name="T65" fmla="*/ 864 h 1764"/>
                    <a:gd name="T66" fmla="*/ 282 w 1028"/>
                    <a:gd name="T67" fmla="*/ 838 h 1764"/>
                    <a:gd name="T68" fmla="*/ 315 w 1028"/>
                    <a:gd name="T69" fmla="*/ 806 h 1764"/>
                    <a:gd name="T70" fmla="*/ 379 w 1028"/>
                    <a:gd name="T71" fmla="*/ 777 h 1764"/>
                    <a:gd name="T72" fmla="*/ 489 w 1028"/>
                    <a:gd name="T73" fmla="*/ 756 h 1764"/>
                    <a:gd name="T74" fmla="*/ 509 w 1028"/>
                    <a:gd name="T75" fmla="*/ 599 h 1764"/>
                    <a:gd name="T76" fmla="*/ 407 w 1028"/>
                    <a:gd name="T77" fmla="*/ 641 h 1764"/>
                    <a:gd name="T78" fmla="*/ 273 w 1028"/>
                    <a:gd name="T79" fmla="*/ 660 h 1764"/>
                    <a:gd name="T80" fmla="*/ 96 w 1028"/>
                    <a:gd name="T81" fmla="*/ 655 h 1764"/>
                    <a:gd name="T82" fmla="*/ 33 w 1028"/>
                    <a:gd name="T83" fmla="*/ 629 h 1764"/>
                    <a:gd name="T84" fmla="*/ 1 w 1028"/>
                    <a:gd name="T85" fmla="*/ 569 h 1764"/>
                    <a:gd name="T86" fmla="*/ 14 w 1028"/>
                    <a:gd name="T87" fmla="*/ 500 h 1764"/>
                    <a:gd name="T88" fmla="*/ 65 w 1028"/>
                    <a:gd name="T89" fmla="*/ 457 h 1764"/>
                    <a:gd name="T90" fmla="*/ 164 w 1028"/>
                    <a:gd name="T91" fmla="*/ 452 h 1764"/>
                    <a:gd name="T92" fmla="*/ 294 w 1028"/>
                    <a:gd name="T93" fmla="*/ 443 h 1764"/>
                    <a:gd name="T94" fmla="*/ 385 w 1028"/>
                    <a:gd name="T95" fmla="*/ 412 h 1764"/>
                    <a:gd name="T96" fmla="*/ 449 w 1028"/>
                    <a:gd name="T97" fmla="*/ 359 h 1764"/>
                    <a:gd name="T98" fmla="*/ 496 w 1028"/>
                    <a:gd name="T99" fmla="*/ 283 h 1764"/>
                    <a:gd name="T100" fmla="*/ 535 w 1028"/>
                    <a:gd name="T101" fmla="*/ 189 h 1764"/>
                    <a:gd name="T102" fmla="*/ 577 w 1028"/>
                    <a:gd name="T103" fmla="*/ 101 h 1764"/>
                    <a:gd name="T104" fmla="*/ 642 w 1028"/>
                    <a:gd name="T105" fmla="*/ 43 h 1764"/>
                    <a:gd name="T106" fmla="*/ 722 w 1028"/>
                    <a:gd name="T107" fmla="*/ 8 h 1764"/>
                    <a:gd name="T108" fmla="*/ 747 w 1028"/>
                    <a:gd name="T109" fmla="*/ 4 h 17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28" h="1764">
                      <a:moveTo>
                        <a:pt x="780" y="0"/>
                      </a:moveTo>
                      <a:lnTo>
                        <a:pt x="794" y="2"/>
                      </a:lnTo>
                      <a:lnTo>
                        <a:pt x="809" y="3"/>
                      </a:lnTo>
                      <a:lnTo>
                        <a:pt x="821" y="5"/>
                      </a:lnTo>
                      <a:lnTo>
                        <a:pt x="831" y="6"/>
                      </a:lnTo>
                      <a:lnTo>
                        <a:pt x="838" y="7"/>
                      </a:lnTo>
                      <a:lnTo>
                        <a:pt x="841" y="8"/>
                      </a:lnTo>
                      <a:lnTo>
                        <a:pt x="841" y="8"/>
                      </a:lnTo>
                      <a:lnTo>
                        <a:pt x="869" y="16"/>
                      </a:lnTo>
                      <a:lnTo>
                        <a:pt x="895" y="27"/>
                      </a:lnTo>
                      <a:lnTo>
                        <a:pt x="921" y="41"/>
                      </a:lnTo>
                      <a:lnTo>
                        <a:pt x="945" y="58"/>
                      </a:lnTo>
                      <a:lnTo>
                        <a:pt x="968" y="77"/>
                      </a:lnTo>
                      <a:lnTo>
                        <a:pt x="988" y="99"/>
                      </a:lnTo>
                      <a:lnTo>
                        <a:pt x="1004" y="125"/>
                      </a:lnTo>
                      <a:lnTo>
                        <a:pt x="1016" y="151"/>
                      </a:lnTo>
                      <a:lnTo>
                        <a:pt x="1024" y="181"/>
                      </a:lnTo>
                      <a:lnTo>
                        <a:pt x="1028" y="212"/>
                      </a:lnTo>
                      <a:lnTo>
                        <a:pt x="1028" y="802"/>
                      </a:lnTo>
                      <a:lnTo>
                        <a:pt x="1025" y="838"/>
                      </a:lnTo>
                      <a:lnTo>
                        <a:pt x="1018" y="872"/>
                      </a:lnTo>
                      <a:lnTo>
                        <a:pt x="1005" y="901"/>
                      </a:lnTo>
                      <a:lnTo>
                        <a:pt x="990" y="926"/>
                      </a:lnTo>
                      <a:lnTo>
                        <a:pt x="969" y="948"/>
                      </a:lnTo>
                      <a:lnTo>
                        <a:pt x="945" y="966"/>
                      </a:lnTo>
                      <a:lnTo>
                        <a:pt x="919" y="980"/>
                      </a:lnTo>
                      <a:lnTo>
                        <a:pt x="889" y="990"/>
                      </a:lnTo>
                      <a:lnTo>
                        <a:pt x="857" y="996"/>
                      </a:lnTo>
                      <a:lnTo>
                        <a:pt x="822" y="998"/>
                      </a:lnTo>
                      <a:lnTo>
                        <a:pt x="818" y="998"/>
                      </a:lnTo>
                      <a:lnTo>
                        <a:pt x="808" y="998"/>
                      </a:lnTo>
                      <a:lnTo>
                        <a:pt x="791" y="998"/>
                      </a:lnTo>
                      <a:lnTo>
                        <a:pt x="772" y="998"/>
                      </a:lnTo>
                      <a:lnTo>
                        <a:pt x="750" y="998"/>
                      </a:lnTo>
                      <a:lnTo>
                        <a:pt x="728" y="998"/>
                      </a:lnTo>
                      <a:lnTo>
                        <a:pt x="707" y="998"/>
                      </a:lnTo>
                      <a:lnTo>
                        <a:pt x="688" y="998"/>
                      </a:lnTo>
                      <a:lnTo>
                        <a:pt x="672" y="998"/>
                      </a:lnTo>
                      <a:lnTo>
                        <a:pt x="661" y="998"/>
                      </a:lnTo>
                      <a:lnTo>
                        <a:pt x="658" y="998"/>
                      </a:lnTo>
                      <a:lnTo>
                        <a:pt x="656" y="998"/>
                      </a:lnTo>
                      <a:lnTo>
                        <a:pt x="651" y="998"/>
                      </a:lnTo>
                      <a:lnTo>
                        <a:pt x="644" y="998"/>
                      </a:lnTo>
                      <a:lnTo>
                        <a:pt x="634" y="999"/>
                      </a:lnTo>
                      <a:lnTo>
                        <a:pt x="621" y="1002"/>
                      </a:lnTo>
                      <a:lnTo>
                        <a:pt x="608" y="1005"/>
                      </a:lnTo>
                      <a:lnTo>
                        <a:pt x="595" y="1009"/>
                      </a:lnTo>
                      <a:lnTo>
                        <a:pt x="580" y="1015"/>
                      </a:lnTo>
                      <a:lnTo>
                        <a:pt x="565" y="1023"/>
                      </a:lnTo>
                      <a:lnTo>
                        <a:pt x="550" y="1033"/>
                      </a:lnTo>
                      <a:lnTo>
                        <a:pt x="537" y="1045"/>
                      </a:lnTo>
                      <a:lnTo>
                        <a:pt x="525" y="1059"/>
                      </a:lnTo>
                      <a:lnTo>
                        <a:pt x="515" y="1077"/>
                      </a:lnTo>
                      <a:lnTo>
                        <a:pt x="506" y="1097"/>
                      </a:lnTo>
                      <a:lnTo>
                        <a:pt x="500" y="1121"/>
                      </a:lnTo>
                      <a:lnTo>
                        <a:pt x="498" y="1148"/>
                      </a:lnTo>
                      <a:lnTo>
                        <a:pt x="499" y="1179"/>
                      </a:lnTo>
                      <a:lnTo>
                        <a:pt x="508" y="1282"/>
                      </a:lnTo>
                      <a:lnTo>
                        <a:pt x="519" y="1391"/>
                      </a:lnTo>
                      <a:lnTo>
                        <a:pt x="530" y="1505"/>
                      </a:lnTo>
                      <a:lnTo>
                        <a:pt x="541" y="1623"/>
                      </a:lnTo>
                      <a:lnTo>
                        <a:pt x="541" y="1650"/>
                      </a:lnTo>
                      <a:lnTo>
                        <a:pt x="536" y="1674"/>
                      </a:lnTo>
                      <a:lnTo>
                        <a:pt x="526" y="1697"/>
                      </a:lnTo>
                      <a:lnTo>
                        <a:pt x="513" y="1717"/>
                      </a:lnTo>
                      <a:lnTo>
                        <a:pt x="495" y="1735"/>
                      </a:lnTo>
                      <a:lnTo>
                        <a:pt x="474" y="1748"/>
                      </a:lnTo>
                      <a:lnTo>
                        <a:pt x="449" y="1758"/>
                      </a:lnTo>
                      <a:lnTo>
                        <a:pt x="424" y="1764"/>
                      </a:lnTo>
                      <a:lnTo>
                        <a:pt x="413" y="1764"/>
                      </a:lnTo>
                      <a:lnTo>
                        <a:pt x="385" y="1761"/>
                      </a:lnTo>
                      <a:lnTo>
                        <a:pt x="359" y="1752"/>
                      </a:lnTo>
                      <a:lnTo>
                        <a:pt x="336" y="1738"/>
                      </a:lnTo>
                      <a:lnTo>
                        <a:pt x="316" y="1721"/>
                      </a:lnTo>
                      <a:lnTo>
                        <a:pt x="301" y="1699"/>
                      </a:lnTo>
                      <a:lnTo>
                        <a:pt x="289" y="1673"/>
                      </a:lnTo>
                      <a:lnTo>
                        <a:pt x="284" y="1645"/>
                      </a:lnTo>
                      <a:lnTo>
                        <a:pt x="276" y="1558"/>
                      </a:lnTo>
                      <a:lnTo>
                        <a:pt x="269" y="1478"/>
                      </a:lnTo>
                      <a:lnTo>
                        <a:pt x="264" y="1403"/>
                      </a:lnTo>
                      <a:lnTo>
                        <a:pt x="259" y="1337"/>
                      </a:lnTo>
                      <a:lnTo>
                        <a:pt x="255" y="1276"/>
                      </a:lnTo>
                      <a:lnTo>
                        <a:pt x="252" y="1220"/>
                      </a:lnTo>
                      <a:lnTo>
                        <a:pt x="249" y="1170"/>
                      </a:lnTo>
                      <a:lnTo>
                        <a:pt x="247" y="1126"/>
                      </a:lnTo>
                      <a:lnTo>
                        <a:pt x="246" y="1086"/>
                      </a:lnTo>
                      <a:lnTo>
                        <a:pt x="246" y="1050"/>
                      </a:lnTo>
                      <a:lnTo>
                        <a:pt x="246" y="1019"/>
                      </a:lnTo>
                      <a:lnTo>
                        <a:pt x="246" y="993"/>
                      </a:lnTo>
                      <a:lnTo>
                        <a:pt x="247" y="969"/>
                      </a:lnTo>
                      <a:lnTo>
                        <a:pt x="248" y="949"/>
                      </a:lnTo>
                      <a:lnTo>
                        <a:pt x="249" y="932"/>
                      </a:lnTo>
                      <a:lnTo>
                        <a:pt x="252" y="917"/>
                      </a:lnTo>
                      <a:lnTo>
                        <a:pt x="254" y="904"/>
                      </a:lnTo>
                      <a:lnTo>
                        <a:pt x="256" y="894"/>
                      </a:lnTo>
                      <a:lnTo>
                        <a:pt x="258" y="885"/>
                      </a:lnTo>
                      <a:lnTo>
                        <a:pt x="261" y="877"/>
                      </a:lnTo>
                      <a:lnTo>
                        <a:pt x="264" y="871"/>
                      </a:lnTo>
                      <a:lnTo>
                        <a:pt x="266" y="864"/>
                      </a:lnTo>
                      <a:lnTo>
                        <a:pt x="268" y="858"/>
                      </a:lnTo>
                      <a:lnTo>
                        <a:pt x="274" y="848"/>
                      </a:lnTo>
                      <a:lnTo>
                        <a:pt x="282" y="838"/>
                      </a:lnTo>
                      <a:lnTo>
                        <a:pt x="289" y="827"/>
                      </a:lnTo>
                      <a:lnTo>
                        <a:pt x="302" y="817"/>
                      </a:lnTo>
                      <a:lnTo>
                        <a:pt x="315" y="806"/>
                      </a:lnTo>
                      <a:lnTo>
                        <a:pt x="333" y="796"/>
                      </a:lnTo>
                      <a:lnTo>
                        <a:pt x="354" y="786"/>
                      </a:lnTo>
                      <a:lnTo>
                        <a:pt x="379" y="777"/>
                      </a:lnTo>
                      <a:lnTo>
                        <a:pt x="410" y="770"/>
                      </a:lnTo>
                      <a:lnTo>
                        <a:pt x="447" y="762"/>
                      </a:lnTo>
                      <a:lnTo>
                        <a:pt x="489" y="756"/>
                      </a:lnTo>
                      <a:lnTo>
                        <a:pt x="538" y="752"/>
                      </a:lnTo>
                      <a:lnTo>
                        <a:pt x="538" y="579"/>
                      </a:lnTo>
                      <a:lnTo>
                        <a:pt x="509" y="599"/>
                      </a:lnTo>
                      <a:lnTo>
                        <a:pt x="478" y="615"/>
                      </a:lnTo>
                      <a:lnTo>
                        <a:pt x="445" y="630"/>
                      </a:lnTo>
                      <a:lnTo>
                        <a:pt x="407" y="641"/>
                      </a:lnTo>
                      <a:lnTo>
                        <a:pt x="366" y="650"/>
                      </a:lnTo>
                      <a:lnTo>
                        <a:pt x="322" y="655"/>
                      </a:lnTo>
                      <a:lnTo>
                        <a:pt x="273" y="660"/>
                      </a:lnTo>
                      <a:lnTo>
                        <a:pt x="220" y="661"/>
                      </a:lnTo>
                      <a:lnTo>
                        <a:pt x="161" y="660"/>
                      </a:lnTo>
                      <a:lnTo>
                        <a:pt x="96" y="655"/>
                      </a:lnTo>
                      <a:lnTo>
                        <a:pt x="72" y="651"/>
                      </a:lnTo>
                      <a:lnTo>
                        <a:pt x="51" y="642"/>
                      </a:lnTo>
                      <a:lnTo>
                        <a:pt x="33" y="629"/>
                      </a:lnTo>
                      <a:lnTo>
                        <a:pt x="19" y="611"/>
                      </a:lnTo>
                      <a:lnTo>
                        <a:pt x="7" y="591"/>
                      </a:lnTo>
                      <a:lnTo>
                        <a:pt x="1" y="569"/>
                      </a:lnTo>
                      <a:lnTo>
                        <a:pt x="0" y="544"/>
                      </a:lnTo>
                      <a:lnTo>
                        <a:pt x="4" y="521"/>
                      </a:lnTo>
                      <a:lnTo>
                        <a:pt x="14" y="500"/>
                      </a:lnTo>
                      <a:lnTo>
                        <a:pt x="27" y="482"/>
                      </a:lnTo>
                      <a:lnTo>
                        <a:pt x="45" y="467"/>
                      </a:lnTo>
                      <a:lnTo>
                        <a:pt x="65" y="457"/>
                      </a:lnTo>
                      <a:lnTo>
                        <a:pt x="87" y="450"/>
                      </a:lnTo>
                      <a:lnTo>
                        <a:pt x="111" y="449"/>
                      </a:lnTo>
                      <a:lnTo>
                        <a:pt x="164" y="452"/>
                      </a:lnTo>
                      <a:lnTo>
                        <a:pt x="213" y="452"/>
                      </a:lnTo>
                      <a:lnTo>
                        <a:pt x="255" y="449"/>
                      </a:lnTo>
                      <a:lnTo>
                        <a:pt x="294" y="443"/>
                      </a:lnTo>
                      <a:lnTo>
                        <a:pt x="328" y="435"/>
                      </a:lnTo>
                      <a:lnTo>
                        <a:pt x="358" y="426"/>
                      </a:lnTo>
                      <a:lnTo>
                        <a:pt x="385" y="412"/>
                      </a:lnTo>
                      <a:lnTo>
                        <a:pt x="409" y="397"/>
                      </a:lnTo>
                      <a:lnTo>
                        <a:pt x="430" y="379"/>
                      </a:lnTo>
                      <a:lnTo>
                        <a:pt x="449" y="359"/>
                      </a:lnTo>
                      <a:lnTo>
                        <a:pt x="466" y="336"/>
                      </a:lnTo>
                      <a:lnTo>
                        <a:pt x="481" y="311"/>
                      </a:lnTo>
                      <a:lnTo>
                        <a:pt x="496" y="283"/>
                      </a:lnTo>
                      <a:lnTo>
                        <a:pt x="509" y="255"/>
                      </a:lnTo>
                      <a:lnTo>
                        <a:pt x="521" y="222"/>
                      </a:lnTo>
                      <a:lnTo>
                        <a:pt x="535" y="189"/>
                      </a:lnTo>
                      <a:lnTo>
                        <a:pt x="548" y="154"/>
                      </a:lnTo>
                      <a:lnTo>
                        <a:pt x="560" y="126"/>
                      </a:lnTo>
                      <a:lnTo>
                        <a:pt x="577" y="101"/>
                      </a:lnTo>
                      <a:lnTo>
                        <a:pt x="596" y="79"/>
                      </a:lnTo>
                      <a:lnTo>
                        <a:pt x="618" y="59"/>
                      </a:lnTo>
                      <a:lnTo>
                        <a:pt x="642" y="43"/>
                      </a:lnTo>
                      <a:lnTo>
                        <a:pt x="668" y="28"/>
                      </a:lnTo>
                      <a:lnTo>
                        <a:pt x="695" y="17"/>
                      </a:lnTo>
                      <a:lnTo>
                        <a:pt x="722" y="8"/>
                      </a:lnTo>
                      <a:lnTo>
                        <a:pt x="726" y="8"/>
                      </a:lnTo>
                      <a:lnTo>
                        <a:pt x="733" y="6"/>
                      </a:lnTo>
                      <a:lnTo>
                        <a:pt x="747" y="4"/>
                      </a:lnTo>
                      <a:lnTo>
                        <a:pt x="762" y="2"/>
                      </a:lnTo>
                      <a:lnTo>
                        <a:pt x="78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5" name="Freeform 248">
                  <a:extLst>
                    <a:ext uri="{FF2B5EF4-FFF2-40B4-BE49-F238E27FC236}">
                      <a16:creationId xmlns:a16="http://schemas.microsoft.com/office/drawing/2014/main" xmlns="" id="{A8F7389F-CB01-42AF-8C08-4991C74910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1" y="1867"/>
                  <a:ext cx="80" cy="175"/>
                </a:xfrm>
                <a:custGeom>
                  <a:avLst/>
                  <a:gdLst>
                    <a:gd name="T0" fmla="*/ 622 w 721"/>
                    <a:gd name="T1" fmla="*/ 0 h 1570"/>
                    <a:gd name="T2" fmla="*/ 645 w 721"/>
                    <a:gd name="T3" fmla="*/ 2 h 1570"/>
                    <a:gd name="T4" fmla="*/ 666 w 721"/>
                    <a:gd name="T5" fmla="*/ 10 h 1570"/>
                    <a:gd name="T6" fmla="*/ 684 w 721"/>
                    <a:gd name="T7" fmla="*/ 22 h 1570"/>
                    <a:gd name="T8" fmla="*/ 699 w 721"/>
                    <a:gd name="T9" fmla="*/ 36 h 1570"/>
                    <a:gd name="T10" fmla="*/ 711 w 721"/>
                    <a:gd name="T11" fmla="*/ 55 h 1570"/>
                    <a:gd name="T12" fmla="*/ 719 w 721"/>
                    <a:gd name="T13" fmla="*/ 76 h 1570"/>
                    <a:gd name="T14" fmla="*/ 721 w 721"/>
                    <a:gd name="T15" fmla="*/ 99 h 1570"/>
                    <a:gd name="T16" fmla="*/ 721 w 721"/>
                    <a:gd name="T17" fmla="*/ 966 h 1570"/>
                    <a:gd name="T18" fmla="*/ 718 w 721"/>
                    <a:gd name="T19" fmla="*/ 990 h 1570"/>
                    <a:gd name="T20" fmla="*/ 710 w 721"/>
                    <a:gd name="T21" fmla="*/ 1012 h 1570"/>
                    <a:gd name="T22" fmla="*/ 698 w 721"/>
                    <a:gd name="T23" fmla="*/ 1031 h 1570"/>
                    <a:gd name="T24" fmla="*/ 681 w 721"/>
                    <a:gd name="T25" fmla="*/ 1046 h 1570"/>
                    <a:gd name="T26" fmla="*/ 681 w 721"/>
                    <a:gd name="T27" fmla="*/ 1570 h 1570"/>
                    <a:gd name="T28" fmla="*/ 562 w 721"/>
                    <a:gd name="T29" fmla="*/ 1570 h 1570"/>
                    <a:gd name="T30" fmla="*/ 562 w 721"/>
                    <a:gd name="T31" fmla="*/ 1066 h 1570"/>
                    <a:gd name="T32" fmla="*/ 203 w 721"/>
                    <a:gd name="T33" fmla="*/ 1066 h 1570"/>
                    <a:gd name="T34" fmla="*/ 203 w 721"/>
                    <a:gd name="T35" fmla="*/ 1570 h 1570"/>
                    <a:gd name="T36" fmla="*/ 83 w 721"/>
                    <a:gd name="T37" fmla="*/ 1570 h 1570"/>
                    <a:gd name="T38" fmla="*/ 83 w 721"/>
                    <a:gd name="T39" fmla="*/ 1065 h 1570"/>
                    <a:gd name="T40" fmla="*/ 61 w 721"/>
                    <a:gd name="T41" fmla="*/ 1058 h 1570"/>
                    <a:gd name="T42" fmla="*/ 40 w 721"/>
                    <a:gd name="T43" fmla="*/ 1047 h 1570"/>
                    <a:gd name="T44" fmla="*/ 23 w 721"/>
                    <a:gd name="T45" fmla="*/ 1032 h 1570"/>
                    <a:gd name="T46" fmla="*/ 11 w 721"/>
                    <a:gd name="T47" fmla="*/ 1012 h 1570"/>
                    <a:gd name="T48" fmla="*/ 2 w 721"/>
                    <a:gd name="T49" fmla="*/ 991 h 1570"/>
                    <a:gd name="T50" fmla="*/ 0 w 721"/>
                    <a:gd name="T51" fmla="*/ 966 h 1570"/>
                    <a:gd name="T52" fmla="*/ 2 w 721"/>
                    <a:gd name="T53" fmla="*/ 944 h 1570"/>
                    <a:gd name="T54" fmla="*/ 10 w 721"/>
                    <a:gd name="T55" fmla="*/ 923 h 1570"/>
                    <a:gd name="T56" fmla="*/ 21 w 721"/>
                    <a:gd name="T57" fmla="*/ 904 h 1570"/>
                    <a:gd name="T58" fmla="*/ 37 w 721"/>
                    <a:gd name="T59" fmla="*/ 889 h 1570"/>
                    <a:gd name="T60" fmla="*/ 55 w 721"/>
                    <a:gd name="T61" fmla="*/ 877 h 1570"/>
                    <a:gd name="T62" fmla="*/ 77 w 721"/>
                    <a:gd name="T63" fmla="*/ 870 h 1570"/>
                    <a:gd name="T64" fmla="*/ 99 w 721"/>
                    <a:gd name="T65" fmla="*/ 866 h 1570"/>
                    <a:gd name="T66" fmla="*/ 276 w 721"/>
                    <a:gd name="T67" fmla="*/ 866 h 1570"/>
                    <a:gd name="T68" fmla="*/ 315 w 721"/>
                    <a:gd name="T69" fmla="*/ 865 h 1570"/>
                    <a:gd name="T70" fmla="*/ 350 w 721"/>
                    <a:gd name="T71" fmla="*/ 860 h 1570"/>
                    <a:gd name="T72" fmla="*/ 380 w 721"/>
                    <a:gd name="T73" fmla="*/ 852 h 1570"/>
                    <a:gd name="T74" fmla="*/ 406 w 721"/>
                    <a:gd name="T75" fmla="*/ 841 h 1570"/>
                    <a:gd name="T76" fmla="*/ 430 w 721"/>
                    <a:gd name="T77" fmla="*/ 829 h 1570"/>
                    <a:gd name="T78" fmla="*/ 450 w 721"/>
                    <a:gd name="T79" fmla="*/ 813 h 1570"/>
                    <a:gd name="T80" fmla="*/ 466 w 721"/>
                    <a:gd name="T81" fmla="*/ 798 h 1570"/>
                    <a:gd name="T82" fmla="*/ 481 w 721"/>
                    <a:gd name="T83" fmla="*/ 780 h 1570"/>
                    <a:gd name="T84" fmla="*/ 493 w 721"/>
                    <a:gd name="T85" fmla="*/ 762 h 1570"/>
                    <a:gd name="T86" fmla="*/ 502 w 721"/>
                    <a:gd name="T87" fmla="*/ 743 h 1570"/>
                    <a:gd name="T88" fmla="*/ 508 w 721"/>
                    <a:gd name="T89" fmla="*/ 724 h 1570"/>
                    <a:gd name="T90" fmla="*/ 514 w 721"/>
                    <a:gd name="T91" fmla="*/ 707 h 1570"/>
                    <a:gd name="T92" fmla="*/ 518 w 721"/>
                    <a:gd name="T93" fmla="*/ 689 h 1570"/>
                    <a:gd name="T94" fmla="*/ 521 w 721"/>
                    <a:gd name="T95" fmla="*/ 673 h 1570"/>
                    <a:gd name="T96" fmla="*/ 522 w 721"/>
                    <a:gd name="T97" fmla="*/ 658 h 1570"/>
                    <a:gd name="T98" fmla="*/ 523 w 721"/>
                    <a:gd name="T99" fmla="*/ 645 h 1570"/>
                    <a:gd name="T100" fmla="*/ 523 w 721"/>
                    <a:gd name="T101" fmla="*/ 634 h 1570"/>
                    <a:gd name="T102" fmla="*/ 523 w 721"/>
                    <a:gd name="T103" fmla="*/ 627 h 1570"/>
                    <a:gd name="T104" fmla="*/ 522 w 721"/>
                    <a:gd name="T105" fmla="*/ 621 h 1570"/>
                    <a:gd name="T106" fmla="*/ 522 w 721"/>
                    <a:gd name="T107" fmla="*/ 620 h 1570"/>
                    <a:gd name="T108" fmla="*/ 522 w 721"/>
                    <a:gd name="T109" fmla="*/ 99 h 1570"/>
                    <a:gd name="T110" fmla="*/ 525 w 721"/>
                    <a:gd name="T111" fmla="*/ 76 h 1570"/>
                    <a:gd name="T112" fmla="*/ 532 w 721"/>
                    <a:gd name="T113" fmla="*/ 55 h 1570"/>
                    <a:gd name="T114" fmla="*/ 544 w 721"/>
                    <a:gd name="T115" fmla="*/ 36 h 1570"/>
                    <a:gd name="T116" fmla="*/ 559 w 721"/>
                    <a:gd name="T117" fmla="*/ 22 h 1570"/>
                    <a:gd name="T118" fmla="*/ 578 w 721"/>
                    <a:gd name="T119" fmla="*/ 10 h 1570"/>
                    <a:gd name="T120" fmla="*/ 598 w 721"/>
                    <a:gd name="T121" fmla="*/ 2 h 1570"/>
                    <a:gd name="T122" fmla="*/ 622 w 721"/>
                    <a:gd name="T123" fmla="*/ 0 h 15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21" h="1570">
                      <a:moveTo>
                        <a:pt x="622" y="0"/>
                      </a:moveTo>
                      <a:lnTo>
                        <a:pt x="645" y="2"/>
                      </a:lnTo>
                      <a:lnTo>
                        <a:pt x="666" y="10"/>
                      </a:lnTo>
                      <a:lnTo>
                        <a:pt x="684" y="22"/>
                      </a:lnTo>
                      <a:lnTo>
                        <a:pt x="699" y="36"/>
                      </a:lnTo>
                      <a:lnTo>
                        <a:pt x="711" y="55"/>
                      </a:lnTo>
                      <a:lnTo>
                        <a:pt x="719" y="76"/>
                      </a:lnTo>
                      <a:lnTo>
                        <a:pt x="721" y="99"/>
                      </a:lnTo>
                      <a:lnTo>
                        <a:pt x="721" y="966"/>
                      </a:lnTo>
                      <a:lnTo>
                        <a:pt x="718" y="990"/>
                      </a:lnTo>
                      <a:lnTo>
                        <a:pt x="710" y="1012"/>
                      </a:lnTo>
                      <a:lnTo>
                        <a:pt x="698" y="1031"/>
                      </a:lnTo>
                      <a:lnTo>
                        <a:pt x="681" y="1046"/>
                      </a:lnTo>
                      <a:lnTo>
                        <a:pt x="681" y="1570"/>
                      </a:lnTo>
                      <a:lnTo>
                        <a:pt x="562" y="1570"/>
                      </a:lnTo>
                      <a:lnTo>
                        <a:pt x="562" y="1066"/>
                      </a:lnTo>
                      <a:lnTo>
                        <a:pt x="203" y="1066"/>
                      </a:lnTo>
                      <a:lnTo>
                        <a:pt x="203" y="1570"/>
                      </a:lnTo>
                      <a:lnTo>
                        <a:pt x="83" y="1570"/>
                      </a:lnTo>
                      <a:lnTo>
                        <a:pt x="83" y="1065"/>
                      </a:lnTo>
                      <a:lnTo>
                        <a:pt x="61" y="1058"/>
                      </a:lnTo>
                      <a:lnTo>
                        <a:pt x="40" y="1047"/>
                      </a:lnTo>
                      <a:lnTo>
                        <a:pt x="23" y="1032"/>
                      </a:lnTo>
                      <a:lnTo>
                        <a:pt x="11" y="1012"/>
                      </a:lnTo>
                      <a:lnTo>
                        <a:pt x="2" y="991"/>
                      </a:lnTo>
                      <a:lnTo>
                        <a:pt x="0" y="966"/>
                      </a:lnTo>
                      <a:lnTo>
                        <a:pt x="2" y="944"/>
                      </a:lnTo>
                      <a:lnTo>
                        <a:pt x="10" y="923"/>
                      </a:lnTo>
                      <a:lnTo>
                        <a:pt x="21" y="904"/>
                      </a:lnTo>
                      <a:lnTo>
                        <a:pt x="37" y="889"/>
                      </a:lnTo>
                      <a:lnTo>
                        <a:pt x="55" y="877"/>
                      </a:lnTo>
                      <a:lnTo>
                        <a:pt x="77" y="870"/>
                      </a:lnTo>
                      <a:lnTo>
                        <a:pt x="99" y="866"/>
                      </a:lnTo>
                      <a:lnTo>
                        <a:pt x="276" y="866"/>
                      </a:lnTo>
                      <a:lnTo>
                        <a:pt x="315" y="865"/>
                      </a:lnTo>
                      <a:lnTo>
                        <a:pt x="350" y="860"/>
                      </a:lnTo>
                      <a:lnTo>
                        <a:pt x="380" y="852"/>
                      </a:lnTo>
                      <a:lnTo>
                        <a:pt x="406" y="841"/>
                      </a:lnTo>
                      <a:lnTo>
                        <a:pt x="430" y="829"/>
                      </a:lnTo>
                      <a:lnTo>
                        <a:pt x="450" y="813"/>
                      </a:lnTo>
                      <a:lnTo>
                        <a:pt x="466" y="798"/>
                      </a:lnTo>
                      <a:lnTo>
                        <a:pt x="481" y="780"/>
                      </a:lnTo>
                      <a:lnTo>
                        <a:pt x="493" y="762"/>
                      </a:lnTo>
                      <a:lnTo>
                        <a:pt x="502" y="743"/>
                      </a:lnTo>
                      <a:lnTo>
                        <a:pt x="508" y="724"/>
                      </a:lnTo>
                      <a:lnTo>
                        <a:pt x="514" y="707"/>
                      </a:lnTo>
                      <a:lnTo>
                        <a:pt x="518" y="689"/>
                      </a:lnTo>
                      <a:lnTo>
                        <a:pt x="521" y="673"/>
                      </a:lnTo>
                      <a:lnTo>
                        <a:pt x="522" y="658"/>
                      </a:lnTo>
                      <a:lnTo>
                        <a:pt x="523" y="645"/>
                      </a:lnTo>
                      <a:lnTo>
                        <a:pt x="523" y="634"/>
                      </a:lnTo>
                      <a:lnTo>
                        <a:pt x="523" y="627"/>
                      </a:lnTo>
                      <a:lnTo>
                        <a:pt x="522" y="621"/>
                      </a:lnTo>
                      <a:lnTo>
                        <a:pt x="522" y="620"/>
                      </a:lnTo>
                      <a:lnTo>
                        <a:pt x="522" y="99"/>
                      </a:lnTo>
                      <a:lnTo>
                        <a:pt x="525" y="76"/>
                      </a:lnTo>
                      <a:lnTo>
                        <a:pt x="532" y="55"/>
                      </a:lnTo>
                      <a:lnTo>
                        <a:pt x="544" y="36"/>
                      </a:lnTo>
                      <a:lnTo>
                        <a:pt x="559" y="22"/>
                      </a:lnTo>
                      <a:lnTo>
                        <a:pt x="578" y="10"/>
                      </a:lnTo>
                      <a:lnTo>
                        <a:pt x="598" y="2"/>
                      </a:lnTo>
                      <a:lnTo>
                        <a:pt x="62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54" name="Right Bracket 53">
            <a:extLst>
              <a:ext uri="{FF2B5EF4-FFF2-40B4-BE49-F238E27FC236}">
                <a16:creationId xmlns:a16="http://schemas.microsoft.com/office/drawing/2014/main" xmlns="" id="{469D71E8-A13F-4E07-8547-3C3FD2FA6A82}"/>
              </a:ext>
            </a:extLst>
          </p:cNvPr>
          <p:cNvSpPr/>
          <p:nvPr/>
        </p:nvSpPr>
        <p:spPr>
          <a:xfrm>
            <a:off x="7452273" y="2664028"/>
            <a:ext cx="230399" cy="1723863"/>
          </a:xfrm>
          <a:prstGeom prst="rightBracket">
            <a:avLst/>
          </a:prstGeom>
          <a:noFill/>
          <a:ln w="9525" cap="flat" cmpd="sng">
            <a:solidFill>
              <a:schemeClr val="accent5"/>
            </a:solidFill>
            <a:prstDash val="solid"/>
            <a:round/>
          </a:ln>
          <a:effectLst/>
          <a:sp3d/>
          <a:extLst>
            <a:ext uri="{AF507438-7753-43e0-B8FC-AC1667EBCBE1}">
              <a14:hiddenEffects xmlns:a14="http://schemas.microsoft.com/office/drawing/2010/main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BE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5" name="Right Bracket 54">
            <a:extLst>
              <a:ext uri="{FF2B5EF4-FFF2-40B4-BE49-F238E27FC236}">
                <a16:creationId xmlns:a16="http://schemas.microsoft.com/office/drawing/2014/main" xmlns="" id="{05374A8C-3418-41A9-AA6D-4F0D2856CABF}"/>
              </a:ext>
            </a:extLst>
          </p:cNvPr>
          <p:cNvSpPr/>
          <p:nvPr/>
        </p:nvSpPr>
        <p:spPr>
          <a:xfrm>
            <a:off x="7452272" y="4722229"/>
            <a:ext cx="230399" cy="1723863"/>
          </a:xfrm>
          <a:prstGeom prst="rightBracket">
            <a:avLst/>
          </a:prstGeom>
          <a:noFill/>
          <a:ln w="9525" cap="flat" cmpd="sng">
            <a:solidFill>
              <a:schemeClr val="accent5"/>
            </a:solidFill>
            <a:prstDash val="solid"/>
            <a:round/>
          </a:ln>
          <a:effectLst/>
          <a:sp3d/>
          <a:extLst>
            <a:ext uri="{AF507438-7753-43e0-B8FC-AC1667EBCBE1}">
              <a14:hiddenEffects xmlns:a14="http://schemas.microsoft.com/office/drawing/2010/main">
                <a:effectLst>
                  <a:outerShdw blurRad="381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BE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6" name="RBContent22">
            <a:extLst>
              <a:ext uri="{FF2B5EF4-FFF2-40B4-BE49-F238E27FC236}">
                <a16:creationId xmlns:a16="http://schemas.microsoft.com/office/drawing/2014/main" xmlns="" id="{EDAFD297-48A6-4242-82A7-FE9927DF84D8}"/>
              </a:ext>
            </a:extLst>
          </p:cNvPr>
          <p:cNvSpPr txBox="1">
            <a:spLocks/>
          </p:cNvSpPr>
          <p:nvPr/>
        </p:nvSpPr>
        <p:spPr>
          <a:xfrm>
            <a:off x="7842281" y="3269479"/>
            <a:ext cx="4171919" cy="51296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86514" lvl="1" indent="-186514"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l día 1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e centra en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“Inspirar” y “Mezclar'</a:t>
            </a:r>
            <a:r>
              <a:rPr lang="en-U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'</a:t>
            </a:r>
          </a:p>
          <a:p>
            <a:pPr marL="186514" lvl="1" indent="-186514"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Énfasis en el 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intercambio de experiencias </a:t>
            </a:r>
          </a:p>
        </p:txBody>
      </p:sp>
      <p:sp>
        <p:nvSpPr>
          <p:cNvPr id="57" name="RBContent22">
            <a:extLst>
              <a:ext uri="{FF2B5EF4-FFF2-40B4-BE49-F238E27FC236}">
                <a16:creationId xmlns:a16="http://schemas.microsoft.com/office/drawing/2014/main" xmlns="" id="{48CA81E5-AA47-4C1D-AA0A-6CAB0F8A6A36}"/>
              </a:ext>
            </a:extLst>
          </p:cNvPr>
          <p:cNvSpPr txBox="1">
            <a:spLocks/>
          </p:cNvSpPr>
          <p:nvPr/>
        </p:nvSpPr>
        <p:spPr>
          <a:xfrm>
            <a:off x="7842279" y="5212264"/>
            <a:ext cx="3980279" cy="51296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86514" lvl="1" indent="-186514"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l 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día 2 </a:t>
            </a: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e dirigirá a 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“Preparar” y “Iniciar”</a:t>
            </a:r>
          </a:p>
          <a:p>
            <a:pPr marL="186514" lvl="1" indent="-186514">
              <a:spcBef>
                <a:spcPts val="400"/>
              </a:spcBef>
              <a:buSzPct val="100000"/>
              <a:buFont typeface="Arial Narrow" panose="020B0606020202030204" pitchFamily="34" charset="0"/>
              <a:buChar char="&gt;"/>
            </a:pPr>
            <a:r>
              <a:rPr lang="es-ES" sz="15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Énfasis en las </a:t>
            </a:r>
            <a:r>
              <a:rPr lang="es-ES" sz="15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esiones de trabajo</a:t>
            </a:r>
            <a:endParaRPr lang="en-US" sz="15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59" name="Subtitle">
            <a:extLst>
              <a:ext uri="{FF2B5EF4-FFF2-40B4-BE49-F238E27FC236}">
                <a16:creationId xmlns:a16="http://schemas.microsoft.com/office/drawing/2014/main" xmlns="" id="{105E3CCE-FE71-4F03-B366-1A1E74083864}"/>
              </a:ext>
            </a:extLst>
          </p:cNvPr>
          <p:cNvSpPr txBox="1">
            <a:spLocks/>
          </p:cNvSpPr>
          <p:nvPr/>
        </p:nvSpPr>
        <p:spPr>
          <a:xfrm>
            <a:off x="2812632" y="258645"/>
            <a:ext cx="9009929" cy="5262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l propósito del </a:t>
            </a: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seminario es </a:t>
            </a: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crear los equipos de la </a:t>
            </a: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ciudad/regi</a:t>
            </a: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ón</a:t>
            </a: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, </a:t>
            </a: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inspirar y preparar el trabajo de asesoramiento técnico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8D8DD4E3-1F92-4A1D-930A-AF71F7D64004}"/>
              </a:ext>
            </a:extLst>
          </p:cNvPr>
          <p:cNvGrpSpPr/>
          <p:nvPr/>
        </p:nvGrpSpPr>
        <p:grpSpPr>
          <a:xfrm>
            <a:off x="2812632" y="909313"/>
            <a:ext cx="9379368" cy="987859"/>
            <a:chOff x="2874979" y="1147956"/>
            <a:chExt cx="8589930" cy="804123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36C9EE7B-BAD9-46BB-97DC-D7CBB30FC4B3}"/>
                </a:ext>
              </a:extLst>
            </p:cNvPr>
            <p:cNvSpPr/>
            <p:nvPr/>
          </p:nvSpPr>
          <p:spPr>
            <a:xfrm>
              <a:off x="2874979" y="1147956"/>
              <a:ext cx="8589930" cy="776647"/>
            </a:xfrm>
            <a:prstGeom prst="rect">
              <a:avLst/>
            </a:prstGeom>
            <a:solidFill>
              <a:srgbClr val="FFFFFF"/>
            </a:solidFill>
            <a:ln w="9525" cap="flat" cmpd="sng">
              <a:solidFill>
                <a:schemeClr val="accent6"/>
              </a:solidFill>
              <a:prstDash val="solid"/>
              <a:round/>
            </a:ln>
            <a:effectLst/>
            <a:sp3d/>
            <a:extLst>
              <a:ext uri="{AF507438-7753-43e0-B8FC-AC1667EBCBE1}">
                <a14:hiddenEffects xmlns:a14="http://schemas.microsoft.com/office/drawing/2010/main">
                  <a:effectLst>
                    <a:outerShdw blurRad="38100" dist="23000" dir="5400000" rotWithShape="0">
                      <a:srgbClr val="000000">
                        <a:alpha val="35000"/>
                      </a:srgbClr>
                    </a:outerShdw>
                  </a:effectLst>
                </a14:hiddenEffects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304793" indent="0">
                <a:lnSpc>
                  <a:spcPct val="100000"/>
                </a:lnSpc>
                <a:buClrTx/>
                <a:buNone/>
              </a:pPr>
              <a:r>
                <a:rPr lang="es-ES" b="0" dirty="0">
                  <a:latin typeface="Helvetica" charset="0"/>
                  <a:cs typeface="Helvetica" charset="0"/>
                </a:rPr>
                <a:t>El </a:t>
              </a:r>
              <a:r>
                <a:rPr lang="es-ES" dirty="0">
                  <a:latin typeface="Helvetica" charset="0"/>
                  <a:cs typeface="Helvetica" charset="0"/>
                </a:rPr>
                <a:t>primer seminario </a:t>
              </a:r>
              <a:r>
                <a:rPr lang="es-ES" b="0" dirty="0">
                  <a:latin typeface="Helvetica" charset="0"/>
                  <a:cs typeface="Helvetica" charset="0"/>
                </a:rPr>
                <a:t>se organiza en torno a </a:t>
              </a:r>
              <a:r>
                <a:rPr lang="es-ES" dirty="0">
                  <a:latin typeface="Helvetica" charset="0"/>
                  <a:cs typeface="Helvetica" charset="0"/>
                </a:rPr>
                <a:t>4 objetivos</a:t>
              </a:r>
              <a:r>
                <a:rPr lang="es-ES" b="0" dirty="0">
                  <a:latin typeface="Helvetica" charset="0"/>
                  <a:cs typeface="Helvetica" charset="0"/>
                </a:rPr>
                <a:t>, `Preparar', `Inspirar', `Iniciar' y `Mezclar', y tiene como </a:t>
              </a:r>
              <a:r>
                <a:rPr lang="es-ES" dirty="0">
                  <a:latin typeface="Helvetica" charset="0"/>
                  <a:cs typeface="Helvetica" charset="0"/>
                </a:rPr>
                <a:t>objetivo</a:t>
              </a:r>
              <a:r>
                <a:rPr lang="es-ES" b="0" dirty="0">
                  <a:latin typeface="Helvetica" charset="0"/>
                  <a:cs typeface="Helvetica" charset="0"/>
                </a:rPr>
                <a:t>:</a:t>
              </a:r>
            </a:p>
            <a:p>
              <a:pPr marL="304793" indent="0">
                <a:lnSpc>
                  <a:spcPct val="100000"/>
                </a:lnSpc>
                <a:buClrTx/>
                <a:buNone/>
              </a:pPr>
              <a:endParaRPr kumimoji="0" lang="en-US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" charset="0"/>
                <a:ea typeface="+mj-ea"/>
                <a:cs typeface="Helvetica" charset="0"/>
                <a:sym typeface="Arial"/>
              </a:endParaRPr>
            </a:p>
            <a:p>
              <a:pPr marL="304793" indent="0">
                <a:lnSpc>
                  <a:spcPct val="100000"/>
                </a:lnSpc>
                <a:buClrTx/>
                <a:buNone/>
              </a:pPr>
              <a:endParaRPr lang="en-US" sz="1500" b="0" dirty="0">
                <a:solidFill>
                  <a:srgbClr val="000000"/>
                </a:solidFill>
                <a:latin typeface="Helvetica" charset="0"/>
                <a:ea typeface="+mj-ea"/>
                <a:cs typeface="Helvetica" charset="0"/>
                <a:sym typeface="Arial"/>
              </a:endParaRPr>
            </a:p>
            <a:p>
              <a:pPr marL="304793" indent="0">
                <a:lnSpc>
                  <a:spcPct val="100000"/>
                </a:lnSpc>
                <a:buClrTx/>
                <a:buNone/>
              </a:pPr>
              <a:endParaRPr kumimoji="0" lang="fr-BE" sz="15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sp>
          <p:nvSpPr>
            <p:cNvPr id="60" name="RBContent60">
              <a:extLst>
                <a:ext uri="{FF2B5EF4-FFF2-40B4-BE49-F238E27FC236}">
                  <a16:creationId xmlns:a16="http://schemas.microsoft.com/office/drawing/2014/main" xmlns="" id="{63E7217A-CB80-48D1-B1C5-2E90EC9EBD7D}"/>
                </a:ext>
              </a:extLst>
            </p:cNvPr>
            <p:cNvSpPr txBox="1">
              <a:spLocks/>
            </p:cNvSpPr>
            <p:nvPr/>
          </p:nvSpPr>
          <p:spPr>
            <a:xfrm>
              <a:off x="3048521" y="1410930"/>
              <a:ext cx="2065115" cy="5411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202554" lvl="1" indent="-202554">
                <a:lnSpc>
                  <a:spcPct val="90000"/>
                </a:lnSpc>
                <a:spcBef>
                  <a:spcPts val="400"/>
                </a:spcBef>
                <a:buSzPct val="100000"/>
                <a:buFont typeface="Arial Narrow" panose="020B0606020202030204" pitchFamily="34" charset="0"/>
                <a:buChar char="&gt;"/>
              </a:pP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resentar</a:t>
              </a:r>
              <a:r>
                <a:rPr lang="es-E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a los equipos de la ciudad &amp; permitirles </a:t>
              </a: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onocer</a:t>
              </a:r>
              <a:r>
                <a:rPr lang="es-E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a sus </a:t>
              </a:r>
              <a:r>
                <a:rPr lang="es-ES" sz="120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ompañeros y líderes </a:t>
              </a:r>
              <a:r>
                <a:rPr lang="es-ES" sz="1200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de equipo</a:t>
              </a:r>
              <a:endParaRPr lang="en-US" sz="1200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61" name="RBContent60">
              <a:extLst>
                <a:ext uri="{FF2B5EF4-FFF2-40B4-BE49-F238E27FC236}">
                  <a16:creationId xmlns:a16="http://schemas.microsoft.com/office/drawing/2014/main" xmlns="" id="{7F514E6B-1926-4427-AD4A-16807DE7737D}"/>
                </a:ext>
              </a:extLst>
            </p:cNvPr>
            <p:cNvSpPr txBox="1">
              <a:spLocks/>
            </p:cNvSpPr>
            <p:nvPr/>
          </p:nvSpPr>
          <p:spPr>
            <a:xfrm>
              <a:off x="5269369" y="1412061"/>
              <a:ext cx="2064452" cy="43968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202554" lvl="1" indent="-202554">
                <a:lnSpc>
                  <a:spcPct val="90000"/>
                </a:lnSpc>
                <a:spcBef>
                  <a:spcPts val="400"/>
                </a:spcBef>
                <a:buSzPct val="100000"/>
                <a:buFont typeface="Arial Narrow" panose="020B0606020202030204" pitchFamily="34" charset="0"/>
                <a:buChar char="&gt;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ompartir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la </a:t>
              </a: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iniciativa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ctual y las mejores </a:t>
              </a: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rácticas</a:t>
              </a:r>
              <a:endParaRPr lang="en-US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62" name="RBContent60">
              <a:extLst>
                <a:ext uri="{FF2B5EF4-FFF2-40B4-BE49-F238E27FC236}">
                  <a16:creationId xmlns:a16="http://schemas.microsoft.com/office/drawing/2014/main" xmlns="" id="{A9C984CF-2CF8-4714-B7DF-6342FA296073}"/>
                </a:ext>
              </a:extLst>
            </p:cNvPr>
            <p:cNvSpPr txBox="1">
              <a:spLocks/>
            </p:cNvSpPr>
            <p:nvPr/>
          </p:nvSpPr>
          <p:spPr>
            <a:xfrm>
              <a:off x="9400457" y="1412061"/>
              <a:ext cx="2064452" cy="43968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202554" lvl="1" indent="-202554">
                <a:lnSpc>
                  <a:spcPct val="90000"/>
                </a:lnSpc>
                <a:spcBef>
                  <a:spcPts val="400"/>
                </a:spcBef>
                <a:buSzPct val="100000"/>
                <a:buFont typeface="Arial Narrow" panose="020B0606020202030204" pitchFamily="34" charset="0"/>
                <a:buChar char="&gt;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Iniciar un trabajo concreto a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medida a nivel de la ciudad</a:t>
              </a:r>
            </a:p>
          </p:txBody>
        </p:sp>
        <p:sp>
          <p:nvSpPr>
            <p:cNvPr id="63" name="RBContent60">
              <a:extLst>
                <a:ext uri="{FF2B5EF4-FFF2-40B4-BE49-F238E27FC236}">
                  <a16:creationId xmlns:a16="http://schemas.microsoft.com/office/drawing/2014/main" xmlns="" id="{4E48349D-2601-4659-8F6C-98E6483429DA}"/>
                </a:ext>
              </a:extLst>
            </p:cNvPr>
            <p:cNvSpPr txBox="1">
              <a:spLocks/>
            </p:cNvSpPr>
            <p:nvPr/>
          </p:nvSpPr>
          <p:spPr>
            <a:xfrm>
              <a:off x="7279503" y="1412061"/>
              <a:ext cx="2064452" cy="43968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202554" lvl="1" indent="-202554">
                <a:lnSpc>
                  <a:spcPct val="90000"/>
                </a:lnSpc>
                <a:spcBef>
                  <a:spcPts val="400"/>
                </a:spcBef>
                <a:buSzPct val="100000"/>
                <a:buFont typeface="Arial Narrow" panose="020B0606020202030204" pitchFamily="34" charset="0"/>
                <a:buChar char="&gt;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Formación en la trayectoria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de la transformación digital</a:t>
              </a:r>
              <a:endParaRPr lang="en-US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8737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3FFA422-8D72-4BFD-933D-0EEA6BB5A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RBContent16">
            <a:extLst>
              <a:ext uri="{FF2B5EF4-FFF2-40B4-BE49-F238E27FC236}">
                <a16:creationId xmlns:a16="http://schemas.microsoft.com/office/drawing/2014/main" xmlns="" id="{269E20F2-B7EB-4F20-AF27-41535DB3AFF0}"/>
              </a:ext>
            </a:extLst>
          </p:cNvPr>
          <p:cNvSpPr txBox="1">
            <a:spLocks/>
          </p:cNvSpPr>
          <p:nvPr/>
        </p:nvSpPr>
        <p:spPr>
          <a:xfrm>
            <a:off x="2805836" y="884312"/>
            <a:ext cx="3925081" cy="166500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lvl="1">
              <a:spcBef>
                <a:spcPts val="533"/>
              </a:spcBef>
              <a:buSzPct val="100000"/>
            </a:pPr>
            <a:r>
              <a:rPr lang="es-ES" sz="1367" b="0" dirty="0">
                <a:latin typeface="Helvetica" charset="0"/>
                <a:ea typeface="Helvetica" charset="0"/>
                <a:cs typeface="Helvetica" charset="0"/>
                <a:sym typeface="+mn-lt"/>
              </a:rPr>
              <a:t>El equipo de </a:t>
            </a:r>
            <a:r>
              <a:rPr lang="es-ES" sz="1367" dirty="0">
                <a:latin typeface="Helvetica" charset="0"/>
                <a:ea typeface="Helvetica" charset="0"/>
                <a:cs typeface="Helvetica" charset="0"/>
                <a:sym typeface="+mn-lt"/>
              </a:rPr>
              <a:t>expertos</a:t>
            </a:r>
            <a:r>
              <a:rPr lang="es-ES" sz="1367" b="0" dirty="0">
                <a:latin typeface="Helvetica" charset="0"/>
                <a:ea typeface="Helvetica" charset="0"/>
                <a:cs typeface="Helvetica" charset="0"/>
                <a:sym typeface="+mn-lt"/>
              </a:rPr>
              <a:t> apoya y guía a su ciudad en el camino de la transformación digital y la modernización industrial, proporcionando: </a:t>
            </a:r>
          </a:p>
          <a:p>
            <a:pPr marL="285750" lvl="1" indent="-285750">
              <a:spcBef>
                <a:spcPts val="533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367" b="0" dirty="0">
                <a:latin typeface="Helvetica" charset="0"/>
                <a:ea typeface="Helvetica" charset="0"/>
                <a:cs typeface="Helvetica" charset="0"/>
                <a:sym typeface="+mn-lt"/>
              </a:rPr>
              <a:t>Asesoramiento práctico sobre políticas y formación</a:t>
            </a:r>
          </a:p>
          <a:p>
            <a:pPr marL="285750" lvl="1" indent="-285750">
              <a:spcBef>
                <a:spcPts val="533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367" b="0" dirty="0">
                <a:latin typeface="Helvetica" charset="0"/>
                <a:ea typeface="Helvetica" charset="0"/>
                <a:cs typeface="Helvetica" charset="0"/>
                <a:sym typeface="+mn-lt"/>
              </a:rPr>
              <a:t>Orientación y asesoramiento a medida</a:t>
            </a:r>
          </a:p>
          <a:p>
            <a:pPr marL="285750" lvl="1" indent="-285750">
              <a:spcBef>
                <a:spcPts val="533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367" b="0" dirty="0">
                <a:latin typeface="Helvetica" charset="0"/>
                <a:ea typeface="Helvetica" charset="0"/>
                <a:cs typeface="Helvetica" charset="0"/>
                <a:sym typeface="+mn-lt"/>
              </a:rPr>
              <a:t>Servicios de facilitación y presentación</a:t>
            </a:r>
            <a:endParaRPr lang="en-GB" sz="1367" b="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xmlns="" id="{B439C6D6-593B-4A34-B9E0-8E9D0285CC56}"/>
              </a:ext>
            </a:extLst>
          </p:cNvPr>
          <p:cNvSpPr>
            <a:spLocks noEditPoints="1"/>
          </p:cNvSpPr>
          <p:nvPr/>
        </p:nvSpPr>
        <p:spPr bwMode="auto">
          <a:xfrm>
            <a:off x="4562201" y="2627795"/>
            <a:ext cx="1993696" cy="2004979"/>
          </a:xfrm>
          <a:custGeom>
            <a:avLst/>
            <a:gdLst>
              <a:gd name="T0" fmla="*/ 647 w 654"/>
              <a:gd name="T1" fmla="*/ 272 h 658"/>
              <a:gd name="T2" fmla="*/ 628 w 654"/>
              <a:gd name="T3" fmla="*/ 262 h 658"/>
              <a:gd name="T4" fmla="*/ 571 w 654"/>
              <a:gd name="T5" fmla="*/ 215 h 658"/>
              <a:gd name="T6" fmla="*/ 591 w 654"/>
              <a:gd name="T7" fmla="*/ 156 h 658"/>
              <a:gd name="T8" fmla="*/ 592 w 654"/>
              <a:gd name="T9" fmla="*/ 135 h 658"/>
              <a:gd name="T10" fmla="*/ 535 w 654"/>
              <a:gd name="T11" fmla="*/ 72 h 658"/>
              <a:gd name="T12" fmla="*/ 518 w 654"/>
              <a:gd name="T13" fmla="*/ 64 h 658"/>
              <a:gd name="T14" fmla="*/ 500 w 654"/>
              <a:gd name="T15" fmla="*/ 66 h 658"/>
              <a:gd name="T16" fmla="*/ 448 w 654"/>
              <a:gd name="T17" fmla="*/ 86 h 658"/>
              <a:gd name="T18" fmla="*/ 398 w 654"/>
              <a:gd name="T19" fmla="*/ 68 h 658"/>
              <a:gd name="T20" fmla="*/ 388 w 654"/>
              <a:gd name="T21" fmla="*/ 13 h 658"/>
              <a:gd name="T22" fmla="*/ 371 w 654"/>
              <a:gd name="T23" fmla="*/ 1 h 658"/>
              <a:gd name="T24" fmla="*/ 286 w 654"/>
              <a:gd name="T25" fmla="*/ 1 h 658"/>
              <a:gd name="T26" fmla="*/ 268 w 654"/>
              <a:gd name="T27" fmla="*/ 13 h 658"/>
              <a:gd name="T28" fmla="*/ 259 w 654"/>
              <a:gd name="T29" fmla="*/ 68 h 658"/>
              <a:gd name="T30" fmla="*/ 208 w 654"/>
              <a:gd name="T31" fmla="*/ 87 h 658"/>
              <a:gd name="T32" fmla="*/ 153 w 654"/>
              <a:gd name="T33" fmla="*/ 66 h 658"/>
              <a:gd name="T34" fmla="*/ 132 w 654"/>
              <a:gd name="T35" fmla="*/ 65 h 658"/>
              <a:gd name="T36" fmla="*/ 69 w 654"/>
              <a:gd name="T37" fmla="*/ 123 h 658"/>
              <a:gd name="T38" fmla="*/ 61 w 654"/>
              <a:gd name="T39" fmla="*/ 139 h 658"/>
              <a:gd name="T40" fmla="*/ 64 w 654"/>
              <a:gd name="T41" fmla="*/ 157 h 658"/>
              <a:gd name="T42" fmla="*/ 84 w 654"/>
              <a:gd name="T43" fmla="*/ 217 h 658"/>
              <a:gd name="T44" fmla="*/ 26 w 654"/>
              <a:gd name="T45" fmla="*/ 265 h 658"/>
              <a:gd name="T46" fmla="*/ 7 w 654"/>
              <a:gd name="T47" fmla="*/ 275 h 658"/>
              <a:gd name="T48" fmla="*/ 0 w 654"/>
              <a:gd name="T49" fmla="*/ 295 h 658"/>
              <a:gd name="T50" fmla="*/ 3 w 654"/>
              <a:gd name="T51" fmla="*/ 380 h 658"/>
              <a:gd name="T52" fmla="*/ 19 w 654"/>
              <a:gd name="T53" fmla="*/ 394 h 658"/>
              <a:gd name="T54" fmla="*/ 79 w 654"/>
              <a:gd name="T55" fmla="*/ 421 h 658"/>
              <a:gd name="T56" fmla="*/ 67 w 654"/>
              <a:gd name="T57" fmla="*/ 495 h 658"/>
              <a:gd name="T58" fmla="*/ 60 w 654"/>
              <a:gd name="T59" fmla="*/ 516 h 658"/>
              <a:gd name="T60" fmla="*/ 69 w 654"/>
              <a:gd name="T61" fmla="*/ 535 h 658"/>
              <a:gd name="T62" fmla="*/ 130 w 654"/>
              <a:gd name="T63" fmla="*/ 593 h 658"/>
              <a:gd name="T64" fmla="*/ 148 w 654"/>
              <a:gd name="T65" fmla="*/ 594 h 658"/>
              <a:gd name="T66" fmla="*/ 196 w 654"/>
              <a:gd name="T67" fmla="*/ 559 h 658"/>
              <a:gd name="T68" fmla="*/ 255 w 654"/>
              <a:gd name="T69" fmla="*/ 584 h 658"/>
              <a:gd name="T70" fmla="*/ 266 w 654"/>
              <a:gd name="T71" fmla="*/ 645 h 658"/>
              <a:gd name="T72" fmla="*/ 283 w 654"/>
              <a:gd name="T73" fmla="*/ 657 h 658"/>
              <a:gd name="T74" fmla="*/ 368 w 654"/>
              <a:gd name="T75" fmla="*/ 657 h 658"/>
              <a:gd name="T76" fmla="*/ 386 w 654"/>
              <a:gd name="T77" fmla="*/ 645 h 658"/>
              <a:gd name="T78" fmla="*/ 396 w 654"/>
              <a:gd name="T79" fmla="*/ 586 h 658"/>
              <a:gd name="T80" fmla="*/ 459 w 654"/>
              <a:gd name="T81" fmla="*/ 560 h 658"/>
              <a:gd name="T82" fmla="*/ 508 w 654"/>
              <a:gd name="T83" fmla="*/ 594 h 658"/>
              <a:gd name="T84" fmla="*/ 529 w 654"/>
              <a:gd name="T85" fmla="*/ 590 h 658"/>
              <a:gd name="T86" fmla="*/ 589 w 654"/>
              <a:gd name="T87" fmla="*/ 531 h 658"/>
              <a:gd name="T88" fmla="*/ 593 w 654"/>
              <a:gd name="T89" fmla="*/ 513 h 658"/>
              <a:gd name="T90" fmla="*/ 587 w 654"/>
              <a:gd name="T91" fmla="*/ 496 h 658"/>
              <a:gd name="T92" fmla="*/ 579 w 654"/>
              <a:gd name="T93" fmla="*/ 419 h 658"/>
              <a:gd name="T94" fmla="*/ 635 w 654"/>
              <a:gd name="T95" fmla="*/ 391 h 658"/>
              <a:gd name="T96" fmla="*/ 651 w 654"/>
              <a:gd name="T97" fmla="*/ 377 h 658"/>
              <a:gd name="T98" fmla="*/ 654 w 654"/>
              <a:gd name="T99" fmla="*/ 292 h 658"/>
              <a:gd name="T100" fmla="*/ 97 w 654"/>
              <a:gd name="T101" fmla="*/ 329 h 658"/>
              <a:gd name="T102" fmla="*/ 327 w 654"/>
              <a:gd name="T103" fmla="*/ 559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54" h="658">
                <a:moveTo>
                  <a:pt x="654" y="284"/>
                </a:moveTo>
                <a:cubicBezTo>
                  <a:pt x="651" y="278"/>
                  <a:pt x="651" y="278"/>
                  <a:pt x="651" y="278"/>
                </a:cubicBezTo>
                <a:cubicBezTo>
                  <a:pt x="647" y="272"/>
                  <a:pt x="647" y="272"/>
                  <a:pt x="647" y="272"/>
                </a:cubicBezTo>
                <a:cubicBezTo>
                  <a:pt x="642" y="267"/>
                  <a:pt x="642" y="267"/>
                  <a:pt x="642" y="267"/>
                </a:cubicBezTo>
                <a:cubicBezTo>
                  <a:pt x="635" y="264"/>
                  <a:pt x="635" y="264"/>
                  <a:pt x="635" y="264"/>
                </a:cubicBezTo>
                <a:cubicBezTo>
                  <a:pt x="628" y="262"/>
                  <a:pt x="628" y="262"/>
                  <a:pt x="628" y="262"/>
                </a:cubicBezTo>
                <a:cubicBezTo>
                  <a:pt x="586" y="257"/>
                  <a:pt x="586" y="257"/>
                  <a:pt x="586" y="257"/>
                </a:cubicBezTo>
                <a:cubicBezTo>
                  <a:pt x="580" y="236"/>
                  <a:pt x="580" y="236"/>
                  <a:pt x="580" y="236"/>
                </a:cubicBezTo>
                <a:cubicBezTo>
                  <a:pt x="571" y="215"/>
                  <a:pt x="571" y="215"/>
                  <a:pt x="571" y="215"/>
                </a:cubicBezTo>
                <a:cubicBezTo>
                  <a:pt x="561" y="195"/>
                  <a:pt x="561" y="195"/>
                  <a:pt x="561" y="195"/>
                </a:cubicBezTo>
                <a:cubicBezTo>
                  <a:pt x="587" y="162"/>
                  <a:pt x="587" y="162"/>
                  <a:pt x="587" y="162"/>
                </a:cubicBezTo>
                <a:cubicBezTo>
                  <a:pt x="591" y="156"/>
                  <a:pt x="591" y="156"/>
                  <a:pt x="591" y="156"/>
                </a:cubicBezTo>
                <a:cubicBezTo>
                  <a:pt x="593" y="149"/>
                  <a:pt x="593" y="149"/>
                  <a:pt x="593" y="149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2" y="135"/>
                  <a:pt x="592" y="135"/>
                  <a:pt x="592" y="135"/>
                </a:cubicBezTo>
                <a:cubicBezTo>
                  <a:pt x="589" y="128"/>
                  <a:pt x="589" y="128"/>
                  <a:pt x="589" y="128"/>
                </a:cubicBezTo>
                <a:cubicBezTo>
                  <a:pt x="585" y="122"/>
                  <a:pt x="585" y="122"/>
                  <a:pt x="585" y="122"/>
                </a:cubicBezTo>
                <a:cubicBezTo>
                  <a:pt x="535" y="72"/>
                  <a:pt x="535" y="72"/>
                  <a:pt x="535" y="72"/>
                </a:cubicBezTo>
                <a:cubicBezTo>
                  <a:pt x="530" y="68"/>
                  <a:pt x="530" y="68"/>
                  <a:pt x="530" y="68"/>
                </a:cubicBezTo>
                <a:cubicBezTo>
                  <a:pt x="524" y="65"/>
                  <a:pt x="524" y="65"/>
                  <a:pt x="524" y="65"/>
                </a:cubicBezTo>
                <a:cubicBezTo>
                  <a:pt x="518" y="64"/>
                  <a:pt x="518" y="64"/>
                  <a:pt x="518" y="64"/>
                </a:cubicBezTo>
                <a:cubicBezTo>
                  <a:pt x="512" y="63"/>
                  <a:pt x="512" y="63"/>
                  <a:pt x="512" y="63"/>
                </a:cubicBezTo>
                <a:cubicBezTo>
                  <a:pt x="506" y="64"/>
                  <a:pt x="506" y="64"/>
                  <a:pt x="506" y="64"/>
                </a:cubicBezTo>
                <a:cubicBezTo>
                  <a:pt x="500" y="66"/>
                  <a:pt x="500" y="66"/>
                  <a:pt x="500" y="66"/>
                </a:cubicBezTo>
                <a:cubicBezTo>
                  <a:pt x="495" y="70"/>
                  <a:pt x="495" y="70"/>
                  <a:pt x="495" y="70"/>
                </a:cubicBezTo>
                <a:cubicBezTo>
                  <a:pt x="463" y="95"/>
                  <a:pt x="463" y="95"/>
                  <a:pt x="463" y="95"/>
                </a:cubicBezTo>
                <a:cubicBezTo>
                  <a:pt x="448" y="86"/>
                  <a:pt x="448" y="86"/>
                  <a:pt x="448" y="86"/>
                </a:cubicBezTo>
                <a:cubicBezTo>
                  <a:pt x="432" y="79"/>
                  <a:pt x="432" y="79"/>
                  <a:pt x="432" y="79"/>
                </a:cubicBezTo>
                <a:cubicBezTo>
                  <a:pt x="415" y="73"/>
                  <a:pt x="415" y="73"/>
                  <a:pt x="415" y="73"/>
                </a:cubicBezTo>
                <a:cubicBezTo>
                  <a:pt x="398" y="68"/>
                  <a:pt x="398" y="68"/>
                  <a:pt x="398" y="68"/>
                </a:cubicBezTo>
                <a:cubicBezTo>
                  <a:pt x="394" y="27"/>
                  <a:pt x="394" y="27"/>
                  <a:pt x="394" y="27"/>
                </a:cubicBezTo>
                <a:cubicBezTo>
                  <a:pt x="392" y="20"/>
                  <a:pt x="392" y="20"/>
                  <a:pt x="392" y="20"/>
                </a:cubicBezTo>
                <a:cubicBezTo>
                  <a:pt x="388" y="13"/>
                  <a:pt x="388" y="13"/>
                  <a:pt x="388" y="13"/>
                </a:cubicBezTo>
                <a:cubicBezTo>
                  <a:pt x="384" y="8"/>
                  <a:pt x="384" y="8"/>
                  <a:pt x="384" y="8"/>
                </a:cubicBezTo>
                <a:cubicBezTo>
                  <a:pt x="378" y="3"/>
                  <a:pt x="378" y="3"/>
                  <a:pt x="378" y="3"/>
                </a:cubicBezTo>
                <a:cubicBezTo>
                  <a:pt x="371" y="1"/>
                  <a:pt x="371" y="1"/>
                  <a:pt x="371" y="1"/>
                </a:cubicBezTo>
                <a:cubicBezTo>
                  <a:pt x="364" y="0"/>
                  <a:pt x="364" y="0"/>
                  <a:pt x="364" y="0"/>
                </a:cubicBezTo>
                <a:cubicBezTo>
                  <a:pt x="293" y="0"/>
                  <a:pt x="293" y="0"/>
                  <a:pt x="293" y="0"/>
                </a:cubicBezTo>
                <a:cubicBezTo>
                  <a:pt x="286" y="1"/>
                  <a:pt x="286" y="1"/>
                  <a:pt x="286" y="1"/>
                </a:cubicBezTo>
                <a:cubicBezTo>
                  <a:pt x="279" y="3"/>
                  <a:pt x="279" y="3"/>
                  <a:pt x="279" y="3"/>
                </a:cubicBezTo>
                <a:cubicBezTo>
                  <a:pt x="273" y="8"/>
                  <a:pt x="273" y="8"/>
                  <a:pt x="273" y="8"/>
                </a:cubicBezTo>
                <a:cubicBezTo>
                  <a:pt x="268" y="13"/>
                  <a:pt x="268" y="13"/>
                  <a:pt x="268" y="13"/>
                </a:cubicBezTo>
                <a:cubicBezTo>
                  <a:pt x="265" y="20"/>
                  <a:pt x="265" y="20"/>
                  <a:pt x="265" y="20"/>
                </a:cubicBezTo>
                <a:cubicBezTo>
                  <a:pt x="263" y="27"/>
                  <a:pt x="263" y="27"/>
                  <a:pt x="263" y="27"/>
                </a:cubicBezTo>
                <a:cubicBezTo>
                  <a:pt x="259" y="68"/>
                  <a:pt x="259" y="68"/>
                  <a:pt x="259" y="68"/>
                </a:cubicBezTo>
                <a:cubicBezTo>
                  <a:pt x="241" y="73"/>
                  <a:pt x="241" y="73"/>
                  <a:pt x="241" y="73"/>
                </a:cubicBezTo>
                <a:cubicBezTo>
                  <a:pt x="224" y="79"/>
                  <a:pt x="224" y="79"/>
                  <a:pt x="224" y="79"/>
                </a:cubicBezTo>
                <a:cubicBezTo>
                  <a:pt x="208" y="87"/>
                  <a:pt x="208" y="87"/>
                  <a:pt x="208" y="87"/>
                </a:cubicBezTo>
                <a:cubicBezTo>
                  <a:pt x="192" y="96"/>
                  <a:pt x="192" y="96"/>
                  <a:pt x="192" y="96"/>
                </a:cubicBezTo>
                <a:cubicBezTo>
                  <a:pt x="159" y="70"/>
                  <a:pt x="159" y="70"/>
                  <a:pt x="159" y="70"/>
                </a:cubicBezTo>
                <a:cubicBezTo>
                  <a:pt x="153" y="66"/>
                  <a:pt x="153" y="66"/>
                  <a:pt x="153" y="66"/>
                </a:cubicBezTo>
                <a:cubicBezTo>
                  <a:pt x="146" y="64"/>
                  <a:pt x="146" y="64"/>
                  <a:pt x="146" y="64"/>
                </a:cubicBezTo>
                <a:cubicBezTo>
                  <a:pt x="139" y="64"/>
                  <a:pt x="139" y="64"/>
                  <a:pt x="139" y="64"/>
                </a:cubicBezTo>
                <a:cubicBezTo>
                  <a:pt x="132" y="65"/>
                  <a:pt x="132" y="65"/>
                  <a:pt x="132" y="65"/>
                </a:cubicBezTo>
                <a:cubicBezTo>
                  <a:pt x="125" y="68"/>
                  <a:pt x="125" y="68"/>
                  <a:pt x="125" y="68"/>
                </a:cubicBezTo>
                <a:cubicBezTo>
                  <a:pt x="119" y="72"/>
                  <a:pt x="119" y="72"/>
                  <a:pt x="119" y="72"/>
                </a:cubicBezTo>
                <a:cubicBezTo>
                  <a:pt x="69" y="123"/>
                  <a:pt x="69" y="123"/>
                  <a:pt x="69" y="123"/>
                </a:cubicBezTo>
                <a:cubicBezTo>
                  <a:pt x="65" y="127"/>
                  <a:pt x="65" y="127"/>
                  <a:pt x="65" y="127"/>
                </a:cubicBezTo>
                <a:cubicBezTo>
                  <a:pt x="63" y="133"/>
                  <a:pt x="63" y="133"/>
                  <a:pt x="63" y="133"/>
                </a:cubicBezTo>
                <a:cubicBezTo>
                  <a:pt x="61" y="139"/>
                  <a:pt x="61" y="139"/>
                  <a:pt x="61" y="139"/>
                </a:cubicBezTo>
                <a:cubicBezTo>
                  <a:pt x="60" y="145"/>
                  <a:pt x="60" y="145"/>
                  <a:pt x="60" y="145"/>
                </a:cubicBezTo>
                <a:cubicBezTo>
                  <a:pt x="62" y="151"/>
                  <a:pt x="62" y="151"/>
                  <a:pt x="62" y="151"/>
                </a:cubicBezTo>
                <a:cubicBezTo>
                  <a:pt x="64" y="157"/>
                  <a:pt x="64" y="157"/>
                  <a:pt x="64" y="157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94" y="197"/>
                  <a:pt x="94" y="197"/>
                  <a:pt x="94" y="197"/>
                </a:cubicBezTo>
                <a:cubicBezTo>
                  <a:pt x="84" y="217"/>
                  <a:pt x="84" y="217"/>
                  <a:pt x="84" y="217"/>
                </a:cubicBezTo>
                <a:cubicBezTo>
                  <a:pt x="76" y="238"/>
                  <a:pt x="76" y="238"/>
                  <a:pt x="76" y="238"/>
                </a:cubicBezTo>
                <a:cubicBezTo>
                  <a:pt x="70" y="260"/>
                  <a:pt x="70" y="260"/>
                  <a:pt x="70" y="260"/>
                </a:cubicBezTo>
                <a:cubicBezTo>
                  <a:pt x="26" y="265"/>
                  <a:pt x="26" y="265"/>
                  <a:pt x="26" y="265"/>
                </a:cubicBezTo>
                <a:cubicBezTo>
                  <a:pt x="19" y="267"/>
                  <a:pt x="19" y="267"/>
                  <a:pt x="19" y="267"/>
                </a:cubicBezTo>
                <a:cubicBezTo>
                  <a:pt x="13" y="270"/>
                  <a:pt x="13" y="270"/>
                  <a:pt x="13" y="270"/>
                </a:cubicBezTo>
                <a:cubicBezTo>
                  <a:pt x="7" y="275"/>
                  <a:pt x="7" y="275"/>
                  <a:pt x="7" y="275"/>
                </a:cubicBezTo>
                <a:cubicBezTo>
                  <a:pt x="3" y="281"/>
                  <a:pt x="3" y="281"/>
                  <a:pt x="3" y="281"/>
                </a:cubicBezTo>
                <a:cubicBezTo>
                  <a:pt x="1" y="287"/>
                  <a:pt x="1" y="287"/>
                  <a:pt x="1" y="287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66"/>
                  <a:pt x="0" y="366"/>
                  <a:pt x="0" y="366"/>
                </a:cubicBezTo>
                <a:cubicBezTo>
                  <a:pt x="1" y="374"/>
                  <a:pt x="1" y="374"/>
                  <a:pt x="1" y="374"/>
                </a:cubicBezTo>
                <a:cubicBezTo>
                  <a:pt x="3" y="380"/>
                  <a:pt x="3" y="380"/>
                  <a:pt x="3" y="380"/>
                </a:cubicBezTo>
                <a:cubicBezTo>
                  <a:pt x="7" y="386"/>
                  <a:pt x="7" y="386"/>
                  <a:pt x="7" y="386"/>
                </a:cubicBezTo>
                <a:cubicBezTo>
                  <a:pt x="13" y="390"/>
                  <a:pt x="13" y="390"/>
                  <a:pt x="13" y="390"/>
                </a:cubicBezTo>
                <a:cubicBezTo>
                  <a:pt x="19" y="394"/>
                  <a:pt x="19" y="394"/>
                  <a:pt x="19" y="394"/>
                </a:cubicBezTo>
                <a:cubicBezTo>
                  <a:pt x="26" y="396"/>
                  <a:pt x="26" y="396"/>
                  <a:pt x="26" y="396"/>
                </a:cubicBezTo>
                <a:cubicBezTo>
                  <a:pt x="72" y="401"/>
                  <a:pt x="72" y="401"/>
                  <a:pt x="72" y="401"/>
                </a:cubicBezTo>
                <a:cubicBezTo>
                  <a:pt x="79" y="421"/>
                  <a:pt x="79" y="421"/>
                  <a:pt x="79" y="421"/>
                </a:cubicBezTo>
                <a:cubicBezTo>
                  <a:pt x="87" y="440"/>
                  <a:pt x="87" y="440"/>
                  <a:pt x="87" y="440"/>
                </a:cubicBezTo>
                <a:cubicBezTo>
                  <a:pt x="96" y="459"/>
                  <a:pt x="96" y="459"/>
                  <a:pt x="96" y="459"/>
                </a:cubicBezTo>
                <a:cubicBezTo>
                  <a:pt x="67" y="495"/>
                  <a:pt x="67" y="495"/>
                  <a:pt x="67" y="495"/>
                </a:cubicBezTo>
                <a:cubicBezTo>
                  <a:pt x="63" y="502"/>
                  <a:pt x="63" y="502"/>
                  <a:pt x="63" y="502"/>
                </a:cubicBezTo>
                <a:cubicBezTo>
                  <a:pt x="61" y="509"/>
                  <a:pt x="61" y="509"/>
                  <a:pt x="61" y="509"/>
                </a:cubicBezTo>
                <a:cubicBezTo>
                  <a:pt x="60" y="516"/>
                  <a:pt x="60" y="516"/>
                  <a:pt x="60" y="516"/>
                </a:cubicBezTo>
                <a:cubicBezTo>
                  <a:pt x="62" y="523"/>
                  <a:pt x="62" y="523"/>
                  <a:pt x="62" y="523"/>
                </a:cubicBezTo>
                <a:cubicBezTo>
                  <a:pt x="65" y="530"/>
                  <a:pt x="65" y="530"/>
                  <a:pt x="65" y="530"/>
                </a:cubicBezTo>
                <a:cubicBezTo>
                  <a:pt x="69" y="535"/>
                  <a:pt x="69" y="535"/>
                  <a:pt x="69" y="535"/>
                </a:cubicBezTo>
                <a:cubicBezTo>
                  <a:pt x="119" y="586"/>
                  <a:pt x="119" y="586"/>
                  <a:pt x="119" y="586"/>
                </a:cubicBezTo>
                <a:cubicBezTo>
                  <a:pt x="124" y="590"/>
                  <a:pt x="124" y="590"/>
                  <a:pt x="124" y="590"/>
                </a:cubicBezTo>
                <a:cubicBezTo>
                  <a:pt x="130" y="593"/>
                  <a:pt x="130" y="593"/>
                  <a:pt x="130" y="593"/>
                </a:cubicBezTo>
                <a:cubicBezTo>
                  <a:pt x="136" y="594"/>
                  <a:pt x="136" y="594"/>
                  <a:pt x="136" y="594"/>
                </a:cubicBezTo>
                <a:cubicBezTo>
                  <a:pt x="142" y="594"/>
                  <a:pt x="142" y="594"/>
                  <a:pt x="142" y="594"/>
                </a:cubicBezTo>
                <a:cubicBezTo>
                  <a:pt x="148" y="594"/>
                  <a:pt x="148" y="594"/>
                  <a:pt x="148" y="594"/>
                </a:cubicBezTo>
                <a:cubicBezTo>
                  <a:pt x="154" y="591"/>
                  <a:pt x="154" y="591"/>
                  <a:pt x="154" y="591"/>
                </a:cubicBezTo>
                <a:cubicBezTo>
                  <a:pt x="159" y="588"/>
                  <a:pt x="159" y="588"/>
                  <a:pt x="159" y="588"/>
                </a:cubicBezTo>
                <a:cubicBezTo>
                  <a:pt x="196" y="559"/>
                  <a:pt x="196" y="559"/>
                  <a:pt x="196" y="559"/>
                </a:cubicBezTo>
                <a:cubicBezTo>
                  <a:pt x="215" y="569"/>
                  <a:pt x="215" y="569"/>
                  <a:pt x="215" y="569"/>
                </a:cubicBezTo>
                <a:cubicBezTo>
                  <a:pt x="234" y="577"/>
                  <a:pt x="234" y="577"/>
                  <a:pt x="234" y="577"/>
                </a:cubicBezTo>
                <a:cubicBezTo>
                  <a:pt x="255" y="584"/>
                  <a:pt x="255" y="584"/>
                  <a:pt x="255" y="584"/>
                </a:cubicBezTo>
                <a:cubicBezTo>
                  <a:pt x="261" y="631"/>
                  <a:pt x="261" y="631"/>
                  <a:pt x="261" y="631"/>
                </a:cubicBezTo>
                <a:cubicBezTo>
                  <a:pt x="262" y="638"/>
                  <a:pt x="262" y="638"/>
                  <a:pt x="262" y="638"/>
                </a:cubicBezTo>
                <a:cubicBezTo>
                  <a:pt x="266" y="645"/>
                  <a:pt x="266" y="645"/>
                  <a:pt x="266" y="645"/>
                </a:cubicBezTo>
                <a:cubicBezTo>
                  <a:pt x="270" y="650"/>
                  <a:pt x="270" y="650"/>
                  <a:pt x="270" y="650"/>
                </a:cubicBezTo>
                <a:cubicBezTo>
                  <a:pt x="276" y="654"/>
                  <a:pt x="276" y="654"/>
                  <a:pt x="276" y="654"/>
                </a:cubicBezTo>
                <a:cubicBezTo>
                  <a:pt x="283" y="657"/>
                  <a:pt x="283" y="657"/>
                  <a:pt x="283" y="657"/>
                </a:cubicBezTo>
                <a:cubicBezTo>
                  <a:pt x="290" y="658"/>
                  <a:pt x="290" y="658"/>
                  <a:pt x="290" y="658"/>
                </a:cubicBezTo>
                <a:cubicBezTo>
                  <a:pt x="361" y="658"/>
                  <a:pt x="361" y="658"/>
                  <a:pt x="361" y="658"/>
                </a:cubicBezTo>
                <a:cubicBezTo>
                  <a:pt x="368" y="657"/>
                  <a:pt x="368" y="657"/>
                  <a:pt x="368" y="657"/>
                </a:cubicBezTo>
                <a:cubicBezTo>
                  <a:pt x="375" y="654"/>
                  <a:pt x="375" y="654"/>
                  <a:pt x="375" y="654"/>
                </a:cubicBezTo>
                <a:cubicBezTo>
                  <a:pt x="381" y="650"/>
                  <a:pt x="381" y="650"/>
                  <a:pt x="381" y="650"/>
                </a:cubicBezTo>
                <a:cubicBezTo>
                  <a:pt x="386" y="645"/>
                  <a:pt x="386" y="645"/>
                  <a:pt x="386" y="645"/>
                </a:cubicBezTo>
                <a:cubicBezTo>
                  <a:pt x="389" y="638"/>
                  <a:pt x="389" y="638"/>
                  <a:pt x="389" y="638"/>
                </a:cubicBezTo>
                <a:cubicBezTo>
                  <a:pt x="391" y="631"/>
                  <a:pt x="391" y="631"/>
                  <a:pt x="391" y="631"/>
                </a:cubicBezTo>
                <a:cubicBezTo>
                  <a:pt x="396" y="586"/>
                  <a:pt x="396" y="586"/>
                  <a:pt x="396" y="586"/>
                </a:cubicBezTo>
                <a:cubicBezTo>
                  <a:pt x="418" y="579"/>
                  <a:pt x="418" y="579"/>
                  <a:pt x="418" y="579"/>
                </a:cubicBezTo>
                <a:cubicBezTo>
                  <a:pt x="439" y="570"/>
                  <a:pt x="439" y="570"/>
                  <a:pt x="439" y="570"/>
                </a:cubicBezTo>
                <a:cubicBezTo>
                  <a:pt x="459" y="560"/>
                  <a:pt x="459" y="560"/>
                  <a:pt x="459" y="560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1" y="592"/>
                  <a:pt x="501" y="592"/>
                  <a:pt x="501" y="592"/>
                </a:cubicBezTo>
                <a:cubicBezTo>
                  <a:pt x="508" y="594"/>
                  <a:pt x="508" y="594"/>
                  <a:pt x="508" y="594"/>
                </a:cubicBezTo>
                <a:cubicBezTo>
                  <a:pt x="515" y="595"/>
                  <a:pt x="515" y="595"/>
                  <a:pt x="515" y="595"/>
                </a:cubicBezTo>
                <a:cubicBezTo>
                  <a:pt x="522" y="593"/>
                  <a:pt x="522" y="593"/>
                  <a:pt x="522" y="593"/>
                </a:cubicBezTo>
                <a:cubicBezTo>
                  <a:pt x="529" y="590"/>
                  <a:pt x="529" y="590"/>
                  <a:pt x="529" y="590"/>
                </a:cubicBezTo>
                <a:cubicBezTo>
                  <a:pt x="535" y="586"/>
                  <a:pt x="535" y="586"/>
                  <a:pt x="535" y="586"/>
                </a:cubicBezTo>
                <a:cubicBezTo>
                  <a:pt x="585" y="535"/>
                  <a:pt x="585" y="535"/>
                  <a:pt x="585" y="535"/>
                </a:cubicBezTo>
                <a:cubicBezTo>
                  <a:pt x="589" y="531"/>
                  <a:pt x="589" y="531"/>
                  <a:pt x="589" y="531"/>
                </a:cubicBezTo>
                <a:cubicBezTo>
                  <a:pt x="591" y="525"/>
                  <a:pt x="591" y="525"/>
                  <a:pt x="591" y="525"/>
                </a:cubicBezTo>
                <a:cubicBezTo>
                  <a:pt x="593" y="519"/>
                  <a:pt x="593" y="519"/>
                  <a:pt x="593" y="519"/>
                </a:cubicBezTo>
                <a:cubicBezTo>
                  <a:pt x="593" y="513"/>
                  <a:pt x="593" y="513"/>
                  <a:pt x="593" y="513"/>
                </a:cubicBezTo>
                <a:cubicBezTo>
                  <a:pt x="592" y="507"/>
                  <a:pt x="592" y="507"/>
                  <a:pt x="592" y="507"/>
                </a:cubicBezTo>
                <a:cubicBezTo>
                  <a:pt x="590" y="501"/>
                  <a:pt x="590" y="501"/>
                  <a:pt x="590" y="501"/>
                </a:cubicBezTo>
                <a:cubicBezTo>
                  <a:pt x="587" y="496"/>
                  <a:pt x="587" y="496"/>
                  <a:pt x="587" y="496"/>
                </a:cubicBezTo>
                <a:cubicBezTo>
                  <a:pt x="560" y="460"/>
                  <a:pt x="560" y="460"/>
                  <a:pt x="560" y="460"/>
                </a:cubicBezTo>
                <a:cubicBezTo>
                  <a:pt x="570" y="440"/>
                  <a:pt x="570" y="440"/>
                  <a:pt x="570" y="440"/>
                </a:cubicBezTo>
                <a:cubicBezTo>
                  <a:pt x="579" y="419"/>
                  <a:pt x="579" y="419"/>
                  <a:pt x="579" y="419"/>
                </a:cubicBezTo>
                <a:cubicBezTo>
                  <a:pt x="585" y="398"/>
                  <a:pt x="585" y="398"/>
                  <a:pt x="585" y="398"/>
                </a:cubicBezTo>
                <a:cubicBezTo>
                  <a:pt x="628" y="393"/>
                  <a:pt x="628" y="393"/>
                  <a:pt x="628" y="393"/>
                </a:cubicBezTo>
                <a:cubicBezTo>
                  <a:pt x="635" y="391"/>
                  <a:pt x="635" y="391"/>
                  <a:pt x="635" y="391"/>
                </a:cubicBezTo>
                <a:cubicBezTo>
                  <a:pt x="642" y="387"/>
                  <a:pt x="642" y="387"/>
                  <a:pt x="642" y="387"/>
                </a:cubicBezTo>
                <a:cubicBezTo>
                  <a:pt x="647" y="383"/>
                  <a:pt x="647" y="383"/>
                  <a:pt x="647" y="383"/>
                </a:cubicBezTo>
                <a:cubicBezTo>
                  <a:pt x="651" y="377"/>
                  <a:pt x="651" y="377"/>
                  <a:pt x="651" y="377"/>
                </a:cubicBezTo>
                <a:cubicBezTo>
                  <a:pt x="654" y="370"/>
                  <a:pt x="654" y="370"/>
                  <a:pt x="654" y="370"/>
                </a:cubicBezTo>
                <a:cubicBezTo>
                  <a:pt x="654" y="363"/>
                  <a:pt x="654" y="363"/>
                  <a:pt x="654" y="363"/>
                </a:cubicBezTo>
                <a:cubicBezTo>
                  <a:pt x="654" y="292"/>
                  <a:pt x="654" y="292"/>
                  <a:pt x="654" y="292"/>
                </a:cubicBezTo>
                <a:lnTo>
                  <a:pt x="654" y="284"/>
                </a:lnTo>
                <a:close/>
                <a:moveTo>
                  <a:pt x="327" y="559"/>
                </a:moveTo>
                <a:cubicBezTo>
                  <a:pt x="200" y="559"/>
                  <a:pt x="97" y="456"/>
                  <a:pt x="97" y="329"/>
                </a:cubicBezTo>
                <a:cubicBezTo>
                  <a:pt x="97" y="201"/>
                  <a:pt x="200" y="98"/>
                  <a:pt x="327" y="98"/>
                </a:cubicBezTo>
                <a:cubicBezTo>
                  <a:pt x="454" y="98"/>
                  <a:pt x="557" y="201"/>
                  <a:pt x="557" y="329"/>
                </a:cubicBezTo>
                <a:cubicBezTo>
                  <a:pt x="557" y="456"/>
                  <a:pt x="454" y="559"/>
                  <a:pt x="327" y="55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0" tIns="0" rIns="0" bIns="143764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GB" sz="2533" dirty="0">
              <a:solidFill>
                <a:schemeClr val="accent6">
                  <a:lumMod val="100000"/>
                </a:schemeClr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xmlns="" id="{E6699C6E-E6F9-4C41-A5C4-75D08DD47E36}"/>
              </a:ext>
            </a:extLst>
          </p:cNvPr>
          <p:cNvSpPr>
            <a:spLocks noEditPoints="1"/>
          </p:cNvSpPr>
          <p:nvPr/>
        </p:nvSpPr>
        <p:spPr bwMode="auto">
          <a:xfrm rot="1372716">
            <a:off x="6395553" y="1796451"/>
            <a:ext cx="1993696" cy="2004979"/>
          </a:xfrm>
          <a:custGeom>
            <a:avLst/>
            <a:gdLst>
              <a:gd name="T0" fmla="*/ 647 w 654"/>
              <a:gd name="T1" fmla="*/ 272 h 658"/>
              <a:gd name="T2" fmla="*/ 628 w 654"/>
              <a:gd name="T3" fmla="*/ 262 h 658"/>
              <a:gd name="T4" fmla="*/ 571 w 654"/>
              <a:gd name="T5" fmla="*/ 215 h 658"/>
              <a:gd name="T6" fmla="*/ 591 w 654"/>
              <a:gd name="T7" fmla="*/ 156 h 658"/>
              <a:gd name="T8" fmla="*/ 592 w 654"/>
              <a:gd name="T9" fmla="*/ 135 h 658"/>
              <a:gd name="T10" fmla="*/ 535 w 654"/>
              <a:gd name="T11" fmla="*/ 72 h 658"/>
              <a:gd name="T12" fmla="*/ 518 w 654"/>
              <a:gd name="T13" fmla="*/ 64 h 658"/>
              <a:gd name="T14" fmla="*/ 500 w 654"/>
              <a:gd name="T15" fmla="*/ 66 h 658"/>
              <a:gd name="T16" fmla="*/ 448 w 654"/>
              <a:gd name="T17" fmla="*/ 86 h 658"/>
              <a:gd name="T18" fmla="*/ 398 w 654"/>
              <a:gd name="T19" fmla="*/ 68 h 658"/>
              <a:gd name="T20" fmla="*/ 388 w 654"/>
              <a:gd name="T21" fmla="*/ 13 h 658"/>
              <a:gd name="T22" fmla="*/ 371 w 654"/>
              <a:gd name="T23" fmla="*/ 1 h 658"/>
              <a:gd name="T24" fmla="*/ 286 w 654"/>
              <a:gd name="T25" fmla="*/ 1 h 658"/>
              <a:gd name="T26" fmla="*/ 268 w 654"/>
              <a:gd name="T27" fmla="*/ 13 h 658"/>
              <a:gd name="T28" fmla="*/ 259 w 654"/>
              <a:gd name="T29" fmla="*/ 68 h 658"/>
              <a:gd name="T30" fmla="*/ 208 w 654"/>
              <a:gd name="T31" fmla="*/ 87 h 658"/>
              <a:gd name="T32" fmla="*/ 153 w 654"/>
              <a:gd name="T33" fmla="*/ 66 h 658"/>
              <a:gd name="T34" fmla="*/ 132 w 654"/>
              <a:gd name="T35" fmla="*/ 65 h 658"/>
              <a:gd name="T36" fmla="*/ 69 w 654"/>
              <a:gd name="T37" fmla="*/ 123 h 658"/>
              <a:gd name="T38" fmla="*/ 61 w 654"/>
              <a:gd name="T39" fmla="*/ 139 h 658"/>
              <a:gd name="T40" fmla="*/ 64 w 654"/>
              <a:gd name="T41" fmla="*/ 157 h 658"/>
              <a:gd name="T42" fmla="*/ 84 w 654"/>
              <a:gd name="T43" fmla="*/ 217 h 658"/>
              <a:gd name="T44" fmla="*/ 26 w 654"/>
              <a:gd name="T45" fmla="*/ 265 h 658"/>
              <a:gd name="T46" fmla="*/ 7 w 654"/>
              <a:gd name="T47" fmla="*/ 275 h 658"/>
              <a:gd name="T48" fmla="*/ 0 w 654"/>
              <a:gd name="T49" fmla="*/ 295 h 658"/>
              <a:gd name="T50" fmla="*/ 3 w 654"/>
              <a:gd name="T51" fmla="*/ 380 h 658"/>
              <a:gd name="T52" fmla="*/ 19 w 654"/>
              <a:gd name="T53" fmla="*/ 394 h 658"/>
              <a:gd name="T54" fmla="*/ 79 w 654"/>
              <a:gd name="T55" fmla="*/ 421 h 658"/>
              <a:gd name="T56" fmla="*/ 67 w 654"/>
              <a:gd name="T57" fmla="*/ 495 h 658"/>
              <a:gd name="T58" fmla="*/ 60 w 654"/>
              <a:gd name="T59" fmla="*/ 516 h 658"/>
              <a:gd name="T60" fmla="*/ 69 w 654"/>
              <a:gd name="T61" fmla="*/ 535 h 658"/>
              <a:gd name="T62" fmla="*/ 130 w 654"/>
              <a:gd name="T63" fmla="*/ 593 h 658"/>
              <a:gd name="T64" fmla="*/ 148 w 654"/>
              <a:gd name="T65" fmla="*/ 594 h 658"/>
              <a:gd name="T66" fmla="*/ 196 w 654"/>
              <a:gd name="T67" fmla="*/ 559 h 658"/>
              <a:gd name="T68" fmla="*/ 255 w 654"/>
              <a:gd name="T69" fmla="*/ 584 h 658"/>
              <a:gd name="T70" fmla="*/ 266 w 654"/>
              <a:gd name="T71" fmla="*/ 645 h 658"/>
              <a:gd name="T72" fmla="*/ 283 w 654"/>
              <a:gd name="T73" fmla="*/ 657 h 658"/>
              <a:gd name="T74" fmla="*/ 368 w 654"/>
              <a:gd name="T75" fmla="*/ 657 h 658"/>
              <a:gd name="T76" fmla="*/ 386 w 654"/>
              <a:gd name="T77" fmla="*/ 645 h 658"/>
              <a:gd name="T78" fmla="*/ 396 w 654"/>
              <a:gd name="T79" fmla="*/ 586 h 658"/>
              <a:gd name="T80" fmla="*/ 459 w 654"/>
              <a:gd name="T81" fmla="*/ 560 h 658"/>
              <a:gd name="T82" fmla="*/ 508 w 654"/>
              <a:gd name="T83" fmla="*/ 594 h 658"/>
              <a:gd name="T84" fmla="*/ 529 w 654"/>
              <a:gd name="T85" fmla="*/ 590 h 658"/>
              <a:gd name="T86" fmla="*/ 589 w 654"/>
              <a:gd name="T87" fmla="*/ 531 h 658"/>
              <a:gd name="T88" fmla="*/ 593 w 654"/>
              <a:gd name="T89" fmla="*/ 513 h 658"/>
              <a:gd name="T90" fmla="*/ 587 w 654"/>
              <a:gd name="T91" fmla="*/ 496 h 658"/>
              <a:gd name="T92" fmla="*/ 579 w 654"/>
              <a:gd name="T93" fmla="*/ 419 h 658"/>
              <a:gd name="T94" fmla="*/ 635 w 654"/>
              <a:gd name="T95" fmla="*/ 391 h 658"/>
              <a:gd name="T96" fmla="*/ 651 w 654"/>
              <a:gd name="T97" fmla="*/ 377 h 658"/>
              <a:gd name="T98" fmla="*/ 654 w 654"/>
              <a:gd name="T99" fmla="*/ 292 h 658"/>
              <a:gd name="T100" fmla="*/ 97 w 654"/>
              <a:gd name="T101" fmla="*/ 329 h 658"/>
              <a:gd name="T102" fmla="*/ 327 w 654"/>
              <a:gd name="T103" fmla="*/ 559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54" h="658">
                <a:moveTo>
                  <a:pt x="654" y="284"/>
                </a:moveTo>
                <a:cubicBezTo>
                  <a:pt x="651" y="278"/>
                  <a:pt x="651" y="278"/>
                  <a:pt x="651" y="278"/>
                </a:cubicBezTo>
                <a:cubicBezTo>
                  <a:pt x="647" y="272"/>
                  <a:pt x="647" y="272"/>
                  <a:pt x="647" y="272"/>
                </a:cubicBezTo>
                <a:cubicBezTo>
                  <a:pt x="642" y="267"/>
                  <a:pt x="642" y="267"/>
                  <a:pt x="642" y="267"/>
                </a:cubicBezTo>
                <a:cubicBezTo>
                  <a:pt x="635" y="264"/>
                  <a:pt x="635" y="264"/>
                  <a:pt x="635" y="264"/>
                </a:cubicBezTo>
                <a:cubicBezTo>
                  <a:pt x="628" y="262"/>
                  <a:pt x="628" y="262"/>
                  <a:pt x="628" y="262"/>
                </a:cubicBezTo>
                <a:cubicBezTo>
                  <a:pt x="586" y="257"/>
                  <a:pt x="586" y="257"/>
                  <a:pt x="586" y="257"/>
                </a:cubicBezTo>
                <a:cubicBezTo>
                  <a:pt x="580" y="236"/>
                  <a:pt x="580" y="236"/>
                  <a:pt x="580" y="236"/>
                </a:cubicBezTo>
                <a:cubicBezTo>
                  <a:pt x="571" y="215"/>
                  <a:pt x="571" y="215"/>
                  <a:pt x="571" y="215"/>
                </a:cubicBezTo>
                <a:cubicBezTo>
                  <a:pt x="561" y="195"/>
                  <a:pt x="561" y="195"/>
                  <a:pt x="561" y="195"/>
                </a:cubicBezTo>
                <a:cubicBezTo>
                  <a:pt x="587" y="162"/>
                  <a:pt x="587" y="162"/>
                  <a:pt x="587" y="162"/>
                </a:cubicBezTo>
                <a:cubicBezTo>
                  <a:pt x="591" y="156"/>
                  <a:pt x="591" y="156"/>
                  <a:pt x="591" y="156"/>
                </a:cubicBezTo>
                <a:cubicBezTo>
                  <a:pt x="593" y="149"/>
                  <a:pt x="593" y="149"/>
                  <a:pt x="593" y="149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2" y="135"/>
                  <a:pt x="592" y="135"/>
                  <a:pt x="592" y="135"/>
                </a:cubicBezTo>
                <a:cubicBezTo>
                  <a:pt x="589" y="128"/>
                  <a:pt x="589" y="128"/>
                  <a:pt x="589" y="128"/>
                </a:cubicBezTo>
                <a:cubicBezTo>
                  <a:pt x="585" y="122"/>
                  <a:pt x="585" y="122"/>
                  <a:pt x="585" y="122"/>
                </a:cubicBezTo>
                <a:cubicBezTo>
                  <a:pt x="535" y="72"/>
                  <a:pt x="535" y="72"/>
                  <a:pt x="535" y="72"/>
                </a:cubicBezTo>
                <a:cubicBezTo>
                  <a:pt x="530" y="68"/>
                  <a:pt x="530" y="68"/>
                  <a:pt x="530" y="68"/>
                </a:cubicBezTo>
                <a:cubicBezTo>
                  <a:pt x="524" y="65"/>
                  <a:pt x="524" y="65"/>
                  <a:pt x="524" y="65"/>
                </a:cubicBezTo>
                <a:cubicBezTo>
                  <a:pt x="518" y="64"/>
                  <a:pt x="518" y="64"/>
                  <a:pt x="518" y="64"/>
                </a:cubicBezTo>
                <a:cubicBezTo>
                  <a:pt x="512" y="63"/>
                  <a:pt x="512" y="63"/>
                  <a:pt x="512" y="63"/>
                </a:cubicBezTo>
                <a:cubicBezTo>
                  <a:pt x="506" y="64"/>
                  <a:pt x="506" y="64"/>
                  <a:pt x="506" y="64"/>
                </a:cubicBezTo>
                <a:cubicBezTo>
                  <a:pt x="500" y="66"/>
                  <a:pt x="500" y="66"/>
                  <a:pt x="500" y="66"/>
                </a:cubicBezTo>
                <a:cubicBezTo>
                  <a:pt x="495" y="70"/>
                  <a:pt x="495" y="70"/>
                  <a:pt x="495" y="70"/>
                </a:cubicBezTo>
                <a:cubicBezTo>
                  <a:pt x="463" y="95"/>
                  <a:pt x="463" y="95"/>
                  <a:pt x="463" y="95"/>
                </a:cubicBezTo>
                <a:cubicBezTo>
                  <a:pt x="448" y="86"/>
                  <a:pt x="448" y="86"/>
                  <a:pt x="448" y="86"/>
                </a:cubicBezTo>
                <a:cubicBezTo>
                  <a:pt x="432" y="79"/>
                  <a:pt x="432" y="79"/>
                  <a:pt x="432" y="79"/>
                </a:cubicBezTo>
                <a:cubicBezTo>
                  <a:pt x="415" y="73"/>
                  <a:pt x="415" y="73"/>
                  <a:pt x="415" y="73"/>
                </a:cubicBezTo>
                <a:cubicBezTo>
                  <a:pt x="398" y="68"/>
                  <a:pt x="398" y="68"/>
                  <a:pt x="398" y="68"/>
                </a:cubicBezTo>
                <a:cubicBezTo>
                  <a:pt x="394" y="27"/>
                  <a:pt x="394" y="27"/>
                  <a:pt x="394" y="27"/>
                </a:cubicBezTo>
                <a:cubicBezTo>
                  <a:pt x="392" y="20"/>
                  <a:pt x="392" y="20"/>
                  <a:pt x="392" y="20"/>
                </a:cubicBezTo>
                <a:cubicBezTo>
                  <a:pt x="388" y="13"/>
                  <a:pt x="388" y="13"/>
                  <a:pt x="388" y="13"/>
                </a:cubicBezTo>
                <a:cubicBezTo>
                  <a:pt x="384" y="8"/>
                  <a:pt x="384" y="8"/>
                  <a:pt x="384" y="8"/>
                </a:cubicBezTo>
                <a:cubicBezTo>
                  <a:pt x="378" y="3"/>
                  <a:pt x="378" y="3"/>
                  <a:pt x="378" y="3"/>
                </a:cubicBezTo>
                <a:cubicBezTo>
                  <a:pt x="371" y="1"/>
                  <a:pt x="371" y="1"/>
                  <a:pt x="371" y="1"/>
                </a:cubicBezTo>
                <a:cubicBezTo>
                  <a:pt x="364" y="0"/>
                  <a:pt x="364" y="0"/>
                  <a:pt x="364" y="0"/>
                </a:cubicBezTo>
                <a:cubicBezTo>
                  <a:pt x="293" y="0"/>
                  <a:pt x="293" y="0"/>
                  <a:pt x="293" y="0"/>
                </a:cubicBezTo>
                <a:cubicBezTo>
                  <a:pt x="286" y="1"/>
                  <a:pt x="286" y="1"/>
                  <a:pt x="286" y="1"/>
                </a:cubicBezTo>
                <a:cubicBezTo>
                  <a:pt x="279" y="3"/>
                  <a:pt x="279" y="3"/>
                  <a:pt x="279" y="3"/>
                </a:cubicBezTo>
                <a:cubicBezTo>
                  <a:pt x="273" y="8"/>
                  <a:pt x="273" y="8"/>
                  <a:pt x="273" y="8"/>
                </a:cubicBezTo>
                <a:cubicBezTo>
                  <a:pt x="268" y="13"/>
                  <a:pt x="268" y="13"/>
                  <a:pt x="268" y="13"/>
                </a:cubicBezTo>
                <a:cubicBezTo>
                  <a:pt x="265" y="20"/>
                  <a:pt x="265" y="20"/>
                  <a:pt x="265" y="20"/>
                </a:cubicBezTo>
                <a:cubicBezTo>
                  <a:pt x="263" y="27"/>
                  <a:pt x="263" y="27"/>
                  <a:pt x="263" y="27"/>
                </a:cubicBezTo>
                <a:cubicBezTo>
                  <a:pt x="259" y="68"/>
                  <a:pt x="259" y="68"/>
                  <a:pt x="259" y="68"/>
                </a:cubicBezTo>
                <a:cubicBezTo>
                  <a:pt x="241" y="73"/>
                  <a:pt x="241" y="73"/>
                  <a:pt x="241" y="73"/>
                </a:cubicBezTo>
                <a:cubicBezTo>
                  <a:pt x="224" y="79"/>
                  <a:pt x="224" y="79"/>
                  <a:pt x="224" y="79"/>
                </a:cubicBezTo>
                <a:cubicBezTo>
                  <a:pt x="208" y="87"/>
                  <a:pt x="208" y="87"/>
                  <a:pt x="208" y="87"/>
                </a:cubicBezTo>
                <a:cubicBezTo>
                  <a:pt x="192" y="96"/>
                  <a:pt x="192" y="96"/>
                  <a:pt x="192" y="96"/>
                </a:cubicBezTo>
                <a:cubicBezTo>
                  <a:pt x="159" y="70"/>
                  <a:pt x="159" y="70"/>
                  <a:pt x="159" y="70"/>
                </a:cubicBezTo>
                <a:cubicBezTo>
                  <a:pt x="153" y="66"/>
                  <a:pt x="153" y="66"/>
                  <a:pt x="153" y="66"/>
                </a:cubicBezTo>
                <a:cubicBezTo>
                  <a:pt x="146" y="64"/>
                  <a:pt x="146" y="64"/>
                  <a:pt x="146" y="64"/>
                </a:cubicBezTo>
                <a:cubicBezTo>
                  <a:pt x="139" y="64"/>
                  <a:pt x="139" y="64"/>
                  <a:pt x="139" y="64"/>
                </a:cubicBezTo>
                <a:cubicBezTo>
                  <a:pt x="132" y="65"/>
                  <a:pt x="132" y="65"/>
                  <a:pt x="132" y="65"/>
                </a:cubicBezTo>
                <a:cubicBezTo>
                  <a:pt x="125" y="68"/>
                  <a:pt x="125" y="68"/>
                  <a:pt x="125" y="68"/>
                </a:cubicBezTo>
                <a:cubicBezTo>
                  <a:pt x="119" y="72"/>
                  <a:pt x="119" y="72"/>
                  <a:pt x="119" y="72"/>
                </a:cubicBezTo>
                <a:cubicBezTo>
                  <a:pt x="69" y="123"/>
                  <a:pt x="69" y="123"/>
                  <a:pt x="69" y="123"/>
                </a:cubicBezTo>
                <a:cubicBezTo>
                  <a:pt x="65" y="127"/>
                  <a:pt x="65" y="127"/>
                  <a:pt x="65" y="127"/>
                </a:cubicBezTo>
                <a:cubicBezTo>
                  <a:pt x="63" y="133"/>
                  <a:pt x="63" y="133"/>
                  <a:pt x="63" y="133"/>
                </a:cubicBezTo>
                <a:cubicBezTo>
                  <a:pt x="61" y="139"/>
                  <a:pt x="61" y="139"/>
                  <a:pt x="61" y="139"/>
                </a:cubicBezTo>
                <a:cubicBezTo>
                  <a:pt x="60" y="145"/>
                  <a:pt x="60" y="145"/>
                  <a:pt x="60" y="145"/>
                </a:cubicBezTo>
                <a:cubicBezTo>
                  <a:pt x="62" y="151"/>
                  <a:pt x="62" y="151"/>
                  <a:pt x="62" y="151"/>
                </a:cubicBezTo>
                <a:cubicBezTo>
                  <a:pt x="64" y="157"/>
                  <a:pt x="64" y="157"/>
                  <a:pt x="64" y="157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94" y="197"/>
                  <a:pt x="94" y="197"/>
                  <a:pt x="94" y="197"/>
                </a:cubicBezTo>
                <a:cubicBezTo>
                  <a:pt x="84" y="217"/>
                  <a:pt x="84" y="217"/>
                  <a:pt x="84" y="217"/>
                </a:cubicBezTo>
                <a:cubicBezTo>
                  <a:pt x="76" y="238"/>
                  <a:pt x="76" y="238"/>
                  <a:pt x="76" y="238"/>
                </a:cubicBezTo>
                <a:cubicBezTo>
                  <a:pt x="70" y="260"/>
                  <a:pt x="70" y="260"/>
                  <a:pt x="70" y="260"/>
                </a:cubicBezTo>
                <a:cubicBezTo>
                  <a:pt x="26" y="265"/>
                  <a:pt x="26" y="265"/>
                  <a:pt x="26" y="265"/>
                </a:cubicBezTo>
                <a:cubicBezTo>
                  <a:pt x="19" y="267"/>
                  <a:pt x="19" y="267"/>
                  <a:pt x="19" y="267"/>
                </a:cubicBezTo>
                <a:cubicBezTo>
                  <a:pt x="13" y="270"/>
                  <a:pt x="13" y="270"/>
                  <a:pt x="13" y="270"/>
                </a:cubicBezTo>
                <a:cubicBezTo>
                  <a:pt x="7" y="275"/>
                  <a:pt x="7" y="275"/>
                  <a:pt x="7" y="275"/>
                </a:cubicBezTo>
                <a:cubicBezTo>
                  <a:pt x="3" y="281"/>
                  <a:pt x="3" y="281"/>
                  <a:pt x="3" y="281"/>
                </a:cubicBezTo>
                <a:cubicBezTo>
                  <a:pt x="1" y="287"/>
                  <a:pt x="1" y="287"/>
                  <a:pt x="1" y="287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66"/>
                  <a:pt x="0" y="366"/>
                  <a:pt x="0" y="366"/>
                </a:cubicBezTo>
                <a:cubicBezTo>
                  <a:pt x="1" y="374"/>
                  <a:pt x="1" y="374"/>
                  <a:pt x="1" y="374"/>
                </a:cubicBezTo>
                <a:cubicBezTo>
                  <a:pt x="3" y="380"/>
                  <a:pt x="3" y="380"/>
                  <a:pt x="3" y="380"/>
                </a:cubicBezTo>
                <a:cubicBezTo>
                  <a:pt x="7" y="386"/>
                  <a:pt x="7" y="386"/>
                  <a:pt x="7" y="386"/>
                </a:cubicBezTo>
                <a:cubicBezTo>
                  <a:pt x="13" y="390"/>
                  <a:pt x="13" y="390"/>
                  <a:pt x="13" y="390"/>
                </a:cubicBezTo>
                <a:cubicBezTo>
                  <a:pt x="19" y="394"/>
                  <a:pt x="19" y="394"/>
                  <a:pt x="19" y="394"/>
                </a:cubicBezTo>
                <a:cubicBezTo>
                  <a:pt x="26" y="396"/>
                  <a:pt x="26" y="396"/>
                  <a:pt x="26" y="396"/>
                </a:cubicBezTo>
                <a:cubicBezTo>
                  <a:pt x="72" y="401"/>
                  <a:pt x="72" y="401"/>
                  <a:pt x="72" y="401"/>
                </a:cubicBezTo>
                <a:cubicBezTo>
                  <a:pt x="79" y="421"/>
                  <a:pt x="79" y="421"/>
                  <a:pt x="79" y="421"/>
                </a:cubicBezTo>
                <a:cubicBezTo>
                  <a:pt x="87" y="440"/>
                  <a:pt x="87" y="440"/>
                  <a:pt x="87" y="440"/>
                </a:cubicBezTo>
                <a:cubicBezTo>
                  <a:pt x="96" y="459"/>
                  <a:pt x="96" y="459"/>
                  <a:pt x="96" y="459"/>
                </a:cubicBezTo>
                <a:cubicBezTo>
                  <a:pt x="67" y="495"/>
                  <a:pt x="67" y="495"/>
                  <a:pt x="67" y="495"/>
                </a:cubicBezTo>
                <a:cubicBezTo>
                  <a:pt x="63" y="502"/>
                  <a:pt x="63" y="502"/>
                  <a:pt x="63" y="502"/>
                </a:cubicBezTo>
                <a:cubicBezTo>
                  <a:pt x="61" y="509"/>
                  <a:pt x="61" y="509"/>
                  <a:pt x="61" y="509"/>
                </a:cubicBezTo>
                <a:cubicBezTo>
                  <a:pt x="60" y="516"/>
                  <a:pt x="60" y="516"/>
                  <a:pt x="60" y="516"/>
                </a:cubicBezTo>
                <a:cubicBezTo>
                  <a:pt x="62" y="523"/>
                  <a:pt x="62" y="523"/>
                  <a:pt x="62" y="523"/>
                </a:cubicBezTo>
                <a:cubicBezTo>
                  <a:pt x="65" y="530"/>
                  <a:pt x="65" y="530"/>
                  <a:pt x="65" y="530"/>
                </a:cubicBezTo>
                <a:cubicBezTo>
                  <a:pt x="69" y="535"/>
                  <a:pt x="69" y="535"/>
                  <a:pt x="69" y="535"/>
                </a:cubicBezTo>
                <a:cubicBezTo>
                  <a:pt x="119" y="586"/>
                  <a:pt x="119" y="586"/>
                  <a:pt x="119" y="586"/>
                </a:cubicBezTo>
                <a:cubicBezTo>
                  <a:pt x="124" y="590"/>
                  <a:pt x="124" y="590"/>
                  <a:pt x="124" y="590"/>
                </a:cubicBezTo>
                <a:cubicBezTo>
                  <a:pt x="130" y="593"/>
                  <a:pt x="130" y="593"/>
                  <a:pt x="130" y="593"/>
                </a:cubicBezTo>
                <a:cubicBezTo>
                  <a:pt x="136" y="594"/>
                  <a:pt x="136" y="594"/>
                  <a:pt x="136" y="594"/>
                </a:cubicBezTo>
                <a:cubicBezTo>
                  <a:pt x="142" y="594"/>
                  <a:pt x="142" y="594"/>
                  <a:pt x="142" y="594"/>
                </a:cubicBezTo>
                <a:cubicBezTo>
                  <a:pt x="148" y="594"/>
                  <a:pt x="148" y="594"/>
                  <a:pt x="148" y="594"/>
                </a:cubicBezTo>
                <a:cubicBezTo>
                  <a:pt x="154" y="591"/>
                  <a:pt x="154" y="591"/>
                  <a:pt x="154" y="591"/>
                </a:cubicBezTo>
                <a:cubicBezTo>
                  <a:pt x="159" y="588"/>
                  <a:pt x="159" y="588"/>
                  <a:pt x="159" y="588"/>
                </a:cubicBezTo>
                <a:cubicBezTo>
                  <a:pt x="196" y="559"/>
                  <a:pt x="196" y="559"/>
                  <a:pt x="196" y="559"/>
                </a:cubicBezTo>
                <a:cubicBezTo>
                  <a:pt x="215" y="569"/>
                  <a:pt x="215" y="569"/>
                  <a:pt x="215" y="569"/>
                </a:cubicBezTo>
                <a:cubicBezTo>
                  <a:pt x="234" y="577"/>
                  <a:pt x="234" y="577"/>
                  <a:pt x="234" y="577"/>
                </a:cubicBezTo>
                <a:cubicBezTo>
                  <a:pt x="255" y="584"/>
                  <a:pt x="255" y="584"/>
                  <a:pt x="255" y="584"/>
                </a:cubicBezTo>
                <a:cubicBezTo>
                  <a:pt x="261" y="631"/>
                  <a:pt x="261" y="631"/>
                  <a:pt x="261" y="631"/>
                </a:cubicBezTo>
                <a:cubicBezTo>
                  <a:pt x="262" y="638"/>
                  <a:pt x="262" y="638"/>
                  <a:pt x="262" y="638"/>
                </a:cubicBezTo>
                <a:cubicBezTo>
                  <a:pt x="266" y="645"/>
                  <a:pt x="266" y="645"/>
                  <a:pt x="266" y="645"/>
                </a:cubicBezTo>
                <a:cubicBezTo>
                  <a:pt x="270" y="650"/>
                  <a:pt x="270" y="650"/>
                  <a:pt x="270" y="650"/>
                </a:cubicBezTo>
                <a:cubicBezTo>
                  <a:pt x="276" y="654"/>
                  <a:pt x="276" y="654"/>
                  <a:pt x="276" y="654"/>
                </a:cubicBezTo>
                <a:cubicBezTo>
                  <a:pt x="283" y="657"/>
                  <a:pt x="283" y="657"/>
                  <a:pt x="283" y="657"/>
                </a:cubicBezTo>
                <a:cubicBezTo>
                  <a:pt x="290" y="658"/>
                  <a:pt x="290" y="658"/>
                  <a:pt x="290" y="658"/>
                </a:cubicBezTo>
                <a:cubicBezTo>
                  <a:pt x="361" y="658"/>
                  <a:pt x="361" y="658"/>
                  <a:pt x="361" y="658"/>
                </a:cubicBezTo>
                <a:cubicBezTo>
                  <a:pt x="368" y="657"/>
                  <a:pt x="368" y="657"/>
                  <a:pt x="368" y="657"/>
                </a:cubicBezTo>
                <a:cubicBezTo>
                  <a:pt x="375" y="654"/>
                  <a:pt x="375" y="654"/>
                  <a:pt x="375" y="654"/>
                </a:cubicBezTo>
                <a:cubicBezTo>
                  <a:pt x="381" y="650"/>
                  <a:pt x="381" y="650"/>
                  <a:pt x="381" y="650"/>
                </a:cubicBezTo>
                <a:cubicBezTo>
                  <a:pt x="386" y="645"/>
                  <a:pt x="386" y="645"/>
                  <a:pt x="386" y="645"/>
                </a:cubicBezTo>
                <a:cubicBezTo>
                  <a:pt x="389" y="638"/>
                  <a:pt x="389" y="638"/>
                  <a:pt x="389" y="638"/>
                </a:cubicBezTo>
                <a:cubicBezTo>
                  <a:pt x="391" y="631"/>
                  <a:pt x="391" y="631"/>
                  <a:pt x="391" y="631"/>
                </a:cubicBezTo>
                <a:cubicBezTo>
                  <a:pt x="396" y="586"/>
                  <a:pt x="396" y="586"/>
                  <a:pt x="396" y="586"/>
                </a:cubicBezTo>
                <a:cubicBezTo>
                  <a:pt x="418" y="579"/>
                  <a:pt x="418" y="579"/>
                  <a:pt x="418" y="579"/>
                </a:cubicBezTo>
                <a:cubicBezTo>
                  <a:pt x="439" y="570"/>
                  <a:pt x="439" y="570"/>
                  <a:pt x="439" y="570"/>
                </a:cubicBezTo>
                <a:cubicBezTo>
                  <a:pt x="459" y="560"/>
                  <a:pt x="459" y="560"/>
                  <a:pt x="459" y="560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1" y="592"/>
                  <a:pt x="501" y="592"/>
                  <a:pt x="501" y="592"/>
                </a:cubicBezTo>
                <a:cubicBezTo>
                  <a:pt x="508" y="594"/>
                  <a:pt x="508" y="594"/>
                  <a:pt x="508" y="594"/>
                </a:cubicBezTo>
                <a:cubicBezTo>
                  <a:pt x="515" y="595"/>
                  <a:pt x="515" y="595"/>
                  <a:pt x="515" y="595"/>
                </a:cubicBezTo>
                <a:cubicBezTo>
                  <a:pt x="522" y="593"/>
                  <a:pt x="522" y="593"/>
                  <a:pt x="522" y="593"/>
                </a:cubicBezTo>
                <a:cubicBezTo>
                  <a:pt x="529" y="590"/>
                  <a:pt x="529" y="590"/>
                  <a:pt x="529" y="590"/>
                </a:cubicBezTo>
                <a:cubicBezTo>
                  <a:pt x="535" y="586"/>
                  <a:pt x="535" y="586"/>
                  <a:pt x="535" y="586"/>
                </a:cubicBezTo>
                <a:cubicBezTo>
                  <a:pt x="585" y="535"/>
                  <a:pt x="585" y="535"/>
                  <a:pt x="585" y="535"/>
                </a:cubicBezTo>
                <a:cubicBezTo>
                  <a:pt x="589" y="531"/>
                  <a:pt x="589" y="531"/>
                  <a:pt x="589" y="531"/>
                </a:cubicBezTo>
                <a:cubicBezTo>
                  <a:pt x="591" y="525"/>
                  <a:pt x="591" y="525"/>
                  <a:pt x="591" y="525"/>
                </a:cubicBezTo>
                <a:cubicBezTo>
                  <a:pt x="593" y="519"/>
                  <a:pt x="593" y="519"/>
                  <a:pt x="593" y="519"/>
                </a:cubicBezTo>
                <a:cubicBezTo>
                  <a:pt x="593" y="513"/>
                  <a:pt x="593" y="513"/>
                  <a:pt x="593" y="513"/>
                </a:cubicBezTo>
                <a:cubicBezTo>
                  <a:pt x="592" y="507"/>
                  <a:pt x="592" y="507"/>
                  <a:pt x="592" y="507"/>
                </a:cubicBezTo>
                <a:cubicBezTo>
                  <a:pt x="590" y="501"/>
                  <a:pt x="590" y="501"/>
                  <a:pt x="590" y="501"/>
                </a:cubicBezTo>
                <a:cubicBezTo>
                  <a:pt x="587" y="496"/>
                  <a:pt x="587" y="496"/>
                  <a:pt x="587" y="496"/>
                </a:cubicBezTo>
                <a:cubicBezTo>
                  <a:pt x="560" y="460"/>
                  <a:pt x="560" y="460"/>
                  <a:pt x="560" y="460"/>
                </a:cubicBezTo>
                <a:cubicBezTo>
                  <a:pt x="570" y="440"/>
                  <a:pt x="570" y="440"/>
                  <a:pt x="570" y="440"/>
                </a:cubicBezTo>
                <a:cubicBezTo>
                  <a:pt x="579" y="419"/>
                  <a:pt x="579" y="419"/>
                  <a:pt x="579" y="419"/>
                </a:cubicBezTo>
                <a:cubicBezTo>
                  <a:pt x="585" y="398"/>
                  <a:pt x="585" y="398"/>
                  <a:pt x="585" y="398"/>
                </a:cubicBezTo>
                <a:cubicBezTo>
                  <a:pt x="628" y="393"/>
                  <a:pt x="628" y="393"/>
                  <a:pt x="628" y="393"/>
                </a:cubicBezTo>
                <a:cubicBezTo>
                  <a:pt x="635" y="391"/>
                  <a:pt x="635" y="391"/>
                  <a:pt x="635" y="391"/>
                </a:cubicBezTo>
                <a:cubicBezTo>
                  <a:pt x="642" y="387"/>
                  <a:pt x="642" y="387"/>
                  <a:pt x="642" y="387"/>
                </a:cubicBezTo>
                <a:cubicBezTo>
                  <a:pt x="647" y="383"/>
                  <a:pt x="647" y="383"/>
                  <a:pt x="647" y="383"/>
                </a:cubicBezTo>
                <a:cubicBezTo>
                  <a:pt x="651" y="377"/>
                  <a:pt x="651" y="377"/>
                  <a:pt x="651" y="377"/>
                </a:cubicBezTo>
                <a:cubicBezTo>
                  <a:pt x="654" y="370"/>
                  <a:pt x="654" y="370"/>
                  <a:pt x="654" y="370"/>
                </a:cubicBezTo>
                <a:cubicBezTo>
                  <a:pt x="654" y="363"/>
                  <a:pt x="654" y="363"/>
                  <a:pt x="654" y="363"/>
                </a:cubicBezTo>
                <a:cubicBezTo>
                  <a:pt x="654" y="292"/>
                  <a:pt x="654" y="292"/>
                  <a:pt x="654" y="292"/>
                </a:cubicBezTo>
                <a:lnTo>
                  <a:pt x="654" y="284"/>
                </a:lnTo>
                <a:close/>
                <a:moveTo>
                  <a:pt x="327" y="559"/>
                </a:moveTo>
                <a:cubicBezTo>
                  <a:pt x="200" y="559"/>
                  <a:pt x="97" y="456"/>
                  <a:pt x="97" y="329"/>
                </a:cubicBezTo>
                <a:cubicBezTo>
                  <a:pt x="97" y="201"/>
                  <a:pt x="200" y="98"/>
                  <a:pt x="327" y="98"/>
                </a:cubicBezTo>
                <a:cubicBezTo>
                  <a:pt x="454" y="98"/>
                  <a:pt x="557" y="201"/>
                  <a:pt x="557" y="329"/>
                </a:cubicBezTo>
                <a:cubicBezTo>
                  <a:pt x="557" y="456"/>
                  <a:pt x="454" y="559"/>
                  <a:pt x="327" y="55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GB" sz="2533" dirty="0">
              <a:solidFill>
                <a:schemeClr val="accent6">
                  <a:lumMod val="100000"/>
                </a:schemeClr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0DE5ED1-C713-4726-BEAC-185DC592B49C}"/>
              </a:ext>
            </a:extLst>
          </p:cNvPr>
          <p:cNvSpPr/>
          <p:nvPr/>
        </p:nvSpPr>
        <p:spPr>
          <a:xfrm>
            <a:off x="6543879" y="2321386"/>
            <a:ext cx="1697044" cy="821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  <a:buSzPct val="100000"/>
            </a:pPr>
            <a:r>
              <a:rPr lang="en-GB" sz="1600" dirty="0" err="1">
                <a:latin typeface="Helvetica" charset="0"/>
                <a:ea typeface="Helvetica" charset="0"/>
                <a:cs typeface="Helvetica" charset="0"/>
              </a:rPr>
              <a:t>Seminarios</a:t>
            </a:r>
            <a:r>
              <a:rPr lang="en-GB" sz="1600" dirty="0"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en-GB" sz="1600" dirty="0" err="1">
                <a:latin typeface="Helvetica" charset="0"/>
                <a:ea typeface="Helvetica" charset="0"/>
                <a:cs typeface="Helvetica" charset="0"/>
              </a:rPr>
              <a:t>académicos</a:t>
            </a:r>
            <a:r>
              <a:rPr lang="en-GB" sz="1600" dirty="0">
                <a:latin typeface="Helvetica" charset="0"/>
                <a:ea typeface="Helvetica" charset="0"/>
                <a:cs typeface="Helvetica" charset="0"/>
              </a:rPr>
              <a:t> </a:t>
            </a:r>
          </a:p>
          <a:p>
            <a:pPr algn="ctr">
              <a:lnSpc>
                <a:spcPct val="90000"/>
              </a:lnSpc>
              <a:spcBef>
                <a:spcPts val="533"/>
              </a:spcBef>
              <a:buSzPct val="100000"/>
            </a:pPr>
            <a:r>
              <a:rPr lang="en-GB" sz="1600" dirty="0">
                <a:latin typeface="Helvetica" charset="0"/>
                <a:ea typeface="Helvetica" charset="0"/>
                <a:cs typeface="Helvetica" charset="0"/>
              </a:rPr>
              <a:t>(</a:t>
            </a:r>
            <a:r>
              <a:rPr lang="en-GB" sz="1600" dirty="0" err="1">
                <a:latin typeface="Helvetica" charset="0"/>
                <a:ea typeface="Helvetica" charset="0"/>
                <a:cs typeface="Helvetica" charset="0"/>
              </a:rPr>
              <a:t>capacidades</a:t>
            </a:r>
            <a:r>
              <a:rPr lang="en-GB" sz="1600" dirty="0">
                <a:latin typeface="Helvetica" charset="0"/>
                <a:ea typeface="Helvetica" charset="0"/>
                <a:cs typeface="Helvetica" charset="0"/>
              </a:rPr>
              <a:t>)</a:t>
            </a:r>
            <a:endParaRPr lang="en-GB" sz="160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E836602-0B38-4A55-89CC-E6C555AC729A}"/>
              </a:ext>
            </a:extLst>
          </p:cNvPr>
          <p:cNvSpPr/>
          <p:nvPr/>
        </p:nvSpPr>
        <p:spPr>
          <a:xfrm>
            <a:off x="4822930" y="3224238"/>
            <a:ext cx="1472238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  <a:buSzPct val="100000"/>
            </a:pPr>
            <a:r>
              <a:rPr lang="es-ES" sz="1400" dirty="0">
                <a:latin typeface="Helvetica" charset="0"/>
                <a:ea typeface="Helvetica" charset="0"/>
                <a:cs typeface="Helvetica" charset="0"/>
              </a:rPr>
              <a:t>Servicios de asesoramiento sobre el terreno</a:t>
            </a:r>
            <a:endParaRPr lang="en-GB" sz="140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xmlns="" id="{CDCFCAAF-B3FF-410D-AFA5-3122DD36732C}"/>
              </a:ext>
            </a:extLst>
          </p:cNvPr>
          <p:cNvSpPr>
            <a:spLocks noEditPoints="1"/>
          </p:cNvSpPr>
          <p:nvPr/>
        </p:nvSpPr>
        <p:spPr bwMode="auto">
          <a:xfrm rot="742225">
            <a:off x="6964408" y="3716868"/>
            <a:ext cx="1993696" cy="2004979"/>
          </a:xfrm>
          <a:custGeom>
            <a:avLst/>
            <a:gdLst>
              <a:gd name="T0" fmla="*/ 647 w 654"/>
              <a:gd name="T1" fmla="*/ 272 h 658"/>
              <a:gd name="T2" fmla="*/ 628 w 654"/>
              <a:gd name="T3" fmla="*/ 262 h 658"/>
              <a:gd name="T4" fmla="*/ 571 w 654"/>
              <a:gd name="T5" fmla="*/ 215 h 658"/>
              <a:gd name="T6" fmla="*/ 591 w 654"/>
              <a:gd name="T7" fmla="*/ 156 h 658"/>
              <a:gd name="T8" fmla="*/ 592 w 654"/>
              <a:gd name="T9" fmla="*/ 135 h 658"/>
              <a:gd name="T10" fmla="*/ 535 w 654"/>
              <a:gd name="T11" fmla="*/ 72 h 658"/>
              <a:gd name="T12" fmla="*/ 518 w 654"/>
              <a:gd name="T13" fmla="*/ 64 h 658"/>
              <a:gd name="T14" fmla="*/ 500 w 654"/>
              <a:gd name="T15" fmla="*/ 66 h 658"/>
              <a:gd name="T16" fmla="*/ 448 w 654"/>
              <a:gd name="T17" fmla="*/ 86 h 658"/>
              <a:gd name="T18" fmla="*/ 398 w 654"/>
              <a:gd name="T19" fmla="*/ 68 h 658"/>
              <a:gd name="T20" fmla="*/ 388 w 654"/>
              <a:gd name="T21" fmla="*/ 13 h 658"/>
              <a:gd name="T22" fmla="*/ 371 w 654"/>
              <a:gd name="T23" fmla="*/ 1 h 658"/>
              <a:gd name="T24" fmla="*/ 286 w 654"/>
              <a:gd name="T25" fmla="*/ 1 h 658"/>
              <a:gd name="T26" fmla="*/ 268 w 654"/>
              <a:gd name="T27" fmla="*/ 13 h 658"/>
              <a:gd name="T28" fmla="*/ 259 w 654"/>
              <a:gd name="T29" fmla="*/ 68 h 658"/>
              <a:gd name="T30" fmla="*/ 208 w 654"/>
              <a:gd name="T31" fmla="*/ 87 h 658"/>
              <a:gd name="T32" fmla="*/ 153 w 654"/>
              <a:gd name="T33" fmla="*/ 66 h 658"/>
              <a:gd name="T34" fmla="*/ 132 w 654"/>
              <a:gd name="T35" fmla="*/ 65 h 658"/>
              <a:gd name="T36" fmla="*/ 69 w 654"/>
              <a:gd name="T37" fmla="*/ 123 h 658"/>
              <a:gd name="T38" fmla="*/ 61 w 654"/>
              <a:gd name="T39" fmla="*/ 139 h 658"/>
              <a:gd name="T40" fmla="*/ 64 w 654"/>
              <a:gd name="T41" fmla="*/ 157 h 658"/>
              <a:gd name="T42" fmla="*/ 84 w 654"/>
              <a:gd name="T43" fmla="*/ 217 h 658"/>
              <a:gd name="T44" fmla="*/ 26 w 654"/>
              <a:gd name="T45" fmla="*/ 265 h 658"/>
              <a:gd name="T46" fmla="*/ 7 w 654"/>
              <a:gd name="T47" fmla="*/ 275 h 658"/>
              <a:gd name="T48" fmla="*/ 0 w 654"/>
              <a:gd name="T49" fmla="*/ 295 h 658"/>
              <a:gd name="T50" fmla="*/ 3 w 654"/>
              <a:gd name="T51" fmla="*/ 380 h 658"/>
              <a:gd name="T52" fmla="*/ 19 w 654"/>
              <a:gd name="T53" fmla="*/ 394 h 658"/>
              <a:gd name="T54" fmla="*/ 79 w 654"/>
              <a:gd name="T55" fmla="*/ 421 h 658"/>
              <a:gd name="T56" fmla="*/ 67 w 654"/>
              <a:gd name="T57" fmla="*/ 495 h 658"/>
              <a:gd name="T58" fmla="*/ 60 w 654"/>
              <a:gd name="T59" fmla="*/ 516 h 658"/>
              <a:gd name="T60" fmla="*/ 69 w 654"/>
              <a:gd name="T61" fmla="*/ 535 h 658"/>
              <a:gd name="T62" fmla="*/ 130 w 654"/>
              <a:gd name="T63" fmla="*/ 593 h 658"/>
              <a:gd name="T64" fmla="*/ 148 w 654"/>
              <a:gd name="T65" fmla="*/ 594 h 658"/>
              <a:gd name="T66" fmla="*/ 196 w 654"/>
              <a:gd name="T67" fmla="*/ 559 h 658"/>
              <a:gd name="T68" fmla="*/ 255 w 654"/>
              <a:gd name="T69" fmla="*/ 584 h 658"/>
              <a:gd name="T70" fmla="*/ 266 w 654"/>
              <a:gd name="T71" fmla="*/ 645 h 658"/>
              <a:gd name="T72" fmla="*/ 283 w 654"/>
              <a:gd name="T73" fmla="*/ 657 h 658"/>
              <a:gd name="T74" fmla="*/ 368 w 654"/>
              <a:gd name="T75" fmla="*/ 657 h 658"/>
              <a:gd name="T76" fmla="*/ 386 w 654"/>
              <a:gd name="T77" fmla="*/ 645 h 658"/>
              <a:gd name="T78" fmla="*/ 396 w 654"/>
              <a:gd name="T79" fmla="*/ 586 h 658"/>
              <a:gd name="T80" fmla="*/ 459 w 654"/>
              <a:gd name="T81" fmla="*/ 560 h 658"/>
              <a:gd name="T82" fmla="*/ 508 w 654"/>
              <a:gd name="T83" fmla="*/ 594 h 658"/>
              <a:gd name="T84" fmla="*/ 529 w 654"/>
              <a:gd name="T85" fmla="*/ 590 h 658"/>
              <a:gd name="T86" fmla="*/ 589 w 654"/>
              <a:gd name="T87" fmla="*/ 531 h 658"/>
              <a:gd name="T88" fmla="*/ 593 w 654"/>
              <a:gd name="T89" fmla="*/ 513 h 658"/>
              <a:gd name="T90" fmla="*/ 587 w 654"/>
              <a:gd name="T91" fmla="*/ 496 h 658"/>
              <a:gd name="T92" fmla="*/ 579 w 654"/>
              <a:gd name="T93" fmla="*/ 419 h 658"/>
              <a:gd name="T94" fmla="*/ 635 w 654"/>
              <a:gd name="T95" fmla="*/ 391 h 658"/>
              <a:gd name="T96" fmla="*/ 651 w 654"/>
              <a:gd name="T97" fmla="*/ 377 h 658"/>
              <a:gd name="T98" fmla="*/ 654 w 654"/>
              <a:gd name="T99" fmla="*/ 292 h 658"/>
              <a:gd name="T100" fmla="*/ 97 w 654"/>
              <a:gd name="T101" fmla="*/ 329 h 658"/>
              <a:gd name="T102" fmla="*/ 327 w 654"/>
              <a:gd name="T103" fmla="*/ 559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54" h="658">
                <a:moveTo>
                  <a:pt x="654" y="284"/>
                </a:moveTo>
                <a:cubicBezTo>
                  <a:pt x="651" y="278"/>
                  <a:pt x="651" y="278"/>
                  <a:pt x="651" y="278"/>
                </a:cubicBezTo>
                <a:cubicBezTo>
                  <a:pt x="647" y="272"/>
                  <a:pt x="647" y="272"/>
                  <a:pt x="647" y="272"/>
                </a:cubicBezTo>
                <a:cubicBezTo>
                  <a:pt x="642" y="267"/>
                  <a:pt x="642" y="267"/>
                  <a:pt x="642" y="267"/>
                </a:cubicBezTo>
                <a:cubicBezTo>
                  <a:pt x="635" y="264"/>
                  <a:pt x="635" y="264"/>
                  <a:pt x="635" y="264"/>
                </a:cubicBezTo>
                <a:cubicBezTo>
                  <a:pt x="628" y="262"/>
                  <a:pt x="628" y="262"/>
                  <a:pt x="628" y="262"/>
                </a:cubicBezTo>
                <a:cubicBezTo>
                  <a:pt x="586" y="257"/>
                  <a:pt x="586" y="257"/>
                  <a:pt x="586" y="257"/>
                </a:cubicBezTo>
                <a:cubicBezTo>
                  <a:pt x="580" y="236"/>
                  <a:pt x="580" y="236"/>
                  <a:pt x="580" y="236"/>
                </a:cubicBezTo>
                <a:cubicBezTo>
                  <a:pt x="571" y="215"/>
                  <a:pt x="571" y="215"/>
                  <a:pt x="571" y="215"/>
                </a:cubicBezTo>
                <a:cubicBezTo>
                  <a:pt x="561" y="195"/>
                  <a:pt x="561" y="195"/>
                  <a:pt x="561" y="195"/>
                </a:cubicBezTo>
                <a:cubicBezTo>
                  <a:pt x="587" y="162"/>
                  <a:pt x="587" y="162"/>
                  <a:pt x="587" y="162"/>
                </a:cubicBezTo>
                <a:cubicBezTo>
                  <a:pt x="591" y="156"/>
                  <a:pt x="591" y="156"/>
                  <a:pt x="591" y="156"/>
                </a:cubicBezTo>
                <a:cubicBezTo>
                  <a:pt x="593" y="149"/>
                  <a:pt x="593" y="149"/>
                  <a:pt x="593" y="149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2" y="135"/>
                  <a:pt x="592" y="135"/>
                  <a:pt x="592" y="135"/>
                </a:cubicBezTo>
                <a:cubicBezTo>
                  <a:pt x="589" y="128"/>
                  <a:pt x="589" y="128"/>
                  <a:pt x="589" y="128"/>
                </a:cubicBezTo>
                <a:cubicBezTo>
                  <a:pt x="585" y="122"/>
                  <a:pt x="585" y="122"/>
                  <a:pt x="585" y="122"/>
                </a:cubicBezTo>
                <a:cubicBezTo>
                  <a:pt x="535" y="72"/>
                  <a:pt x="535" y="72"/>
                  <a:pt x="535" y="72"/>
                </a:cubicBezTo>
                <a:cubicBezTo>
                  <a:pt x="530" y="68"/>
                  <a:pt x="530" y="68"/>
                  <a:pt x="530" y="68"/>
                </a:cubicBezTo>
                <a:cubicBezTo>
                  <a:pt x="524" y="65"/>
                  <a:pt x="524" y="65"/>
                  <a:pt x="524" y="65"/>
                </a:cubicBezTo>
                <a:cubicBezTo>
                  <a:pt x="518" y="64"/>
                  <a:pt x="518" y="64"/>
                  <a:pt x="518" y="64"/>
                </a:cubicBezTo>
                <a:cubicBezTo>
                  <a:pt x="512" y="63"/>
                  <a:pt x="512" y="63"/>
                  <a:pt x="512" y="63"/>
                </a:cubicBezTo>
                <a:cubicBezTo>
                  <a:pt x="506" y="64"/>
                  <a:pt x="506" y="64"/>
                  <a:pt x="506" y="64"/>
                </a:cubicBezTo>
                <a:cubicBezTo>
                  <a:pt x="500" y="66"/>
                  <a:pt x="500" y="66"/>
                  <a:pt x="500" y="66"/>
                </a:cubicBezTo>
                <a:cubicBezTo>
                  <a:pt x="495" y="70"/>
                  <a:pt x="495" y="70"/>
                  <a:pt x="495" y="70"/>
                </a:cubicBezTo>
                <a:cubicBezTo>
                  <a:pt x="463" y="95"/>
                  <a:pt x="463" y="95"/>
                  <a:pt x="463" y="95"/>
                </a:cubicBezTo>
                <a:cubicBezTo>
                  <a:pt x="448" y="86"/>
                  <a:pt x="448" y="86"/>
                  <a:pt x="448" y="86"/>
                </a:cubicBezTo>
                <a:cubicBezTo>
                  <a:pt x="432" y="79"/>
                  <a:pt x="432" y="79"/>
                  <a:pt x="432" y="79"/>
                </a:cubicBezTo>
                <a:cubicBezTo>
                  <a:pt x="415" y="73"/>
                  <a:pt x="415" y="73"/>
                  <a:pt x="415" y="73"/>
                </a:cubicBezTo>
                <a:cubicBezTo>
                  <a:pt x="398" y="68"/>
                  <a:pt x="398" y="68"/>
                  <a:pt x="398" y="68"/>
                </a:cubicBezTo>
                <a:cubicBezTo>
                  <a:pt x="394" y="27"/>
                  <a:pt x="394" y="27"/>
                  <a:pt x="394" y="27"/>
                </a:cubicBezTo>
                <a:cubicBezTo>
                  <a:pt x="392" y="20"/>
                  <a:pt x="392" y="20"/>
                  <a:pt x="392" y="20"/>
                </a:cubicBezTo>
                <a:cubicBezTo>
                  <a:pt x="388" y="13"/>
                  <a:pt x="388" y="13"/>
                  <a:pt x="388" y="13"/>
                </a:cubicBezTo>
                <a:cubicBezTo>
                  <a:pt x="384" y="8"/>
                  <a:pt x="384" y="8"/>
                  <a:pt x="384" y="8"/>
                </a:cubicBezTo>
                <a:cubicBezTo>
                  <a:pt x="378" y="3"/>
                  <a:pt x="378" y="3"/>
                  <a:pt x="378" y="3"/>
                </a:cubicBezTo>
                <a:cubicBezTo>
                  <a:pt x="371" y="1"/>
                  <a:pt x="371" y="1"/>
                  <a:pt x="371" y="1"/>
                </a:cubicBezTo>
                <a:cubicBezTo>
                  <a:pt x="364" y="0"/>
                  <a:pt x="364" y="0"/>
                  <a:pt x="364" y="0"/>
                </a:cubicBezTo>
                <a:cubicBezTo>
                  <a:pt x="293" y="0"/>
                  <a:pt x="293" y="0"/>
                  <a:pt x="293" y="0"/>
                </a:cubicBezTo>
                <a:cubicBezTo>
                  <a:pt x="286" y="1"/>
                  <a:pt x="286" y="1"/>
                  <a:pt x="286" y="1"/>
                </a:cubicBezTo>
                <a:cubicBezTo>
                  <a:pt x="279" y="3"/>
                  <a:pt x="279" y="3"/>
                  <a:pt x="279" y="3"/>
                </a:cubicBezTo>
                <a:cubicBezTo>
                  <a:pt x="273" y="8"/>
                  <a:pt x="273" y="8"/>
                  <a:pt x="273" y="8"/>
                </a:cubicBezTo>
                <a:cubicBezTo>
                  <a:pt x="268" y="13"/>
                  <a:pt x="268" y="13"/>
                  <a:pt x="268" y="13"/>
                </a:cubicBezTo>
                <a:cubicBezTo>
                  <a:pt x="265" y="20"/>
                  <a:pt x="265" y="20"/>
                  <a:pt x="265" y="20"/>
                </a:cubicBezTo>
                <a:cubicBezTo>
                  <a:pt x="263" y="27"/>
                  <a:pt x="263" y="27"/>
                  <a:pt x="263" y="27"/>
                </a:cubicBezTo>
                <a:cubicBezTo>
                  <a:pt x="259" y="68"/>
                  <a:pt x="259" y="68"/>
                  <a:pt x="259" y="68"/>
                </a:cubicBezTo>
                <a:cubicBezTo>
                  <a:pt x="241" y="73"/>
                  <a:pt x="241" y="73"/>
                  <a:pt x="241" y="73"/>
                </a:cubicBezTo>
                <a:cubicBezTo>
                  <a:pt x="224" y="79"/>
                  <a:pt x="224" y="79"/>
                  <a:pt x="224" y="79"/>
                </a:cubicBezTo>
                <a:cubicBezTo>
                  <a:pt x="208" y="87"/>
                  <a:pt x="208" y="87"/>
                  <a:pt x="208" y="87"/>
                </a:cubicBezTo>
                <a:cubicBezTo>
                  <a:pt x="192" y="96"/>
                  <a:pt x="192" y="96"/>
                  <a:pt x="192" y="96"/>
                </a:cubicBezTo>
                <a:cubicBezTo>
                  <a:pt x="159" y="70"/>
                  <a:pt x="159" y="70"/>
                  <a:pt x="159" y="70"/>
                </a:cubicBezTo>
                <a:cubicBezTo>
                  <a:pt x="153" y="66"/>
                  <a:pt x="153" y="66"/>
                  <a:pt x="153" y="66"/>
                </a:cubicBezTo>
                <a:cubicBezTo>
                  <a:pt x="146" y="64"/>
                  <a:pt x="146" y="64"/>
                  <a:pt x="146" y="64"/>
                </a:cubicBezTo>
                <a:cubicBezTo>
                  <a:pt x="139" y="64"/>
                  <a:pt x="139" y="64"/>
                  <a:pt x="139" y="64"/>
                </a:cubicBezTo>
                <a:cubicBezTo>
                  <a:pt x="132" y="65"/>
                  <a:pt x="132" y="65"/>
                  <a:pt x="132" y="65"/>
                </a:cubicBezTo>
                <a:cubicBezTo>
                  <a:pt x="125" y="68"/>
                  <a:pt x="125" y="68"/>
                  <a:pt x="125" y="68"/>
                </a:cubicBezTo>
                <a:cubicBezTo>
                  <a:pt x="119" y="72"/>
                  <a:pt x="119" y="72"/>
                  <a:pt x="119" y="72"/>
                </a:cubicBezTo>
                <a:cubicBezTo>
                  <a:pt x="69" y="123"/>
                  <a:pt x="69" y="123"/>
                  <a:pt x="69" y="123"/>
                </a:cubicBezTo>
                <a:cubicBezTo>
                  <a:pt x="65" y="127"/>
                  <a:pt x="65" y="127"/>
                  <a:pt x="65" y="127"/>
                </a:cubicBezTo>
                <a:cubicBezTo>
                  <a:pt x="63" y="133"/>
                  <a:pt x="63" y="133"/>
                  <a:pt x="63" y="133"/>
                </a:cubicBezTo>
                <a:cubicBezTo>
                  <a:pt x="61" y="139"/>
                  <a:pt x="61" y="139"/>
                  <a:pt x="61" y="139"/>
                </a:cubicBezTo>
                <a:cubicBezTo>
                  <a:pt x="60" y="145"/>
                  <a:pt x="60" y="145"/>
                  <a:pt x="60" y="145"/>
                </a:cubicBezTo>
                <a:cubicBezTo>
                  <a:pt x="62" y="151"/>
                  <a:pt x="62" y="151"/>
                  <a:pt x="62" y="151"/>
                </a:cubicBezTo>
                <a:cubicBezTo>
                  <a:pt x="64" y="157"/>
                  <a:pt x="64" y="157"/>
                  <a:pt x="64" y="157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94" y="197"/>
                  <a:pt x="94" y="197"/>
                  <a:pt x="94" y="197"/>
                </a:cubicBezTo>
                <a:cubicBezTo>
                  <a:pt x="84" y="217"/>
                  <a:pt x="84" y="217"/>
                  <a:pt x="84" y="217"/>
                </a:cubicBezTo>
                <a:cubicBezTo>
                  <a:pt x="76" y="238"/>
                  <a:pt x="76" y="238"/>
                  <a:pt x="76" y="238"/>
                </a:cubicBezTo>
                <a:cubicBezTo>
                  <a:pt x="70" y="260"/>
                  <a:pt x="70" y="260"/>
                  <a:pt x="70" y="260"/>
                </a:cubicBezTo>
                <a:cubicBezTo>
                  <a:pt x="26" y="265"/>
                  <a:pt x="26" y="265"/>
                  <a:pt x="26" y="265"/>
                </a:cubicBezTo>
                <a:cubicBezTo>
                  <a:pt x="19" y="267"/>
                  <a:pt x="19" y="267"/>
                  <a:pt x="19" y="267"/>
                </a:cubicBezTo>
                <a:cubicBezTo>
                  <a:pt x="13" y="270"/>
                  <a:pt x="13" y="270"/>
                  <a:pt x="13" y="270"/>
                </a:cubicBezTo>
                <a:cubicBezTo>
                  <a:pt x="7" y="275"/>
                  <a:pt x="7" y="275"/>
                  <a:pt x="7" y="275"/>
                </a:cubicBezTo>
                <a:cubicBezTo>
                  <a:pt x="3" y="281"/>
                  <a:pt x="3" y="281"/>
                  <a:pt x="3" y="281"/>
                </a:cubicBezTo>
                <a:cubicBezTo>
                  <a:pt x="1" y="287"/>
                  <a:pt x="1" y="287"/>
                  <a:pt x="1" y="287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66"/>
                  <a:pt x="0" y="366"/>
                  <a:pt x="0" y="366"/>
                </a:cubicBezTo>
                <a:cubicBezTo>
                  <a:pt x="1" y="374"/>
                  <a:pt x="1" y="374"/>
                  <a:pt x="1" y="374"/>
                </a:cubicBezTo>
                <a:cubicBezTo>
                  <a:pt x="3" y="380"/>
                  <a:pt x="3" y="380"/>
                  <a:pt x="3" y="380"/>
                </a:cubicBezTo>
                <a:cubicBezTo>
                  <a:pt x="7" y="386"/>
                  <a:pt x="7" y="386"/>
                  <a:pt x="7" y="386"/>
                </a:cubicBezTo>
                <a:cubicBezTo>
                  <a:pt x="13" y="390"/>
                  <a:pt x="13" y="390"/>
                  <a:pt x="13" y="390"/>
                </a:cubicBezTo>
                <a:cubicBezTo>
                  <a:pt x="19" y="394"/>
                  <a:pt x="19" y="394"/>
                  <a:pt x="19" y="394"/>
                </a:cubicBezTo>
                <a:cubicBezTo>
                  <a:pt x="26" y="396"/>
                  <a:pt x="26" y="396"/>
                  <a:pt x="26" y="396"/>
                </a:cubicBezTo>
                <a:cubicBezTo>
                  <a:pt x="72" y="401"/>
                  <a:pt x="72" y="401"/>
                  <a:pt x="72" y="401"/>
                </a:cubicBezTo>
                <a:cubicBezTo>
                  <a:pt x="79" y="421"/>
                  <a:pt x="79" y="421"/>
                  <a:pt x="79" y="421"/>
                </a:cubicBezTo>
                <a:cubicBezTo>
                  <a:pt x="87" y="440"/>
                  <a:pt x="87" y="440"/>
                  <a:pt x="87" y="440"/>
                </a:cubicBezTo>
                <a:cubicBezTo>
                  <a:pt x="96" y="459"/>
                  <a:pt x="96" y="459"/>
                  <a:pt x="96" y="459"/>
                </a:cubicBezTo>
                <a:cubicBezTo>
                  <a:pt x="67" y="495"/>
                  <a:pt x="67" y="495"/>
                  <a:pt x="67" y="495"/>
                </a:cubicBezTo>
                <a:cubicBezTo>
                  <a:pt x="63" y="502"/>
                  <a:pt x="63" y="502"/>
                  <a:pt x="63" y="502"/>
                </a:cubicBezTo>
                <a:cubicBezTo>
                  <a:pt x="61" y="509"/>
                  <a:pt x="61" y="509"/>
                  <a:pt x="61" y="509"/>
                </a:cubicBezTo>
                <a:cubicBezTo>
                  <a:pt x="60" y="516"/>
                  <a:pt x="60" y="516"/>
                  <a:pt x="60" y="516"/>
                </a:cubicBezTo>
                <a:cubicBezTo>
                  <a:pt x="62" y="523"/>
                  <a:pt x="62" y="523"/>
                  <a:pt x="62" y="523"/>
                </a:cubicBezTo>
                <a:cubicBezTo>
                  <a:pt x="65" y="530"/>
                  <a:pt x="65" y="530"/>
                  <a:pt x="65" y="530"/>
                </a:cubicBezTo>
                <a:cubicBezTo>
                  <a:pt x="69" y="535"/>
                  <a:pt x="69" y="535"/>
                  <a:pt x="69" y="535"/>
                </a:cubicBezTo>
                <a:cubicBezTo>
                  <a:pt x="119" y="586"/>
                  <a:pt x="119" y="586"/>
                  <a:pt x="119" y="586"/>
                </a:cubicBezTo>
                <a:cubicBezTo>
                  <a:pt x="124" y="590"/>
                  <a:pt x="124" y="590"/>
                  <a:pt x="124" y="590"/>
                </a:cubicBezTo>
                <a:cubicBezTo>
                  <a:pt x="130" y="593"/>
                  <a:pt x="130" y="593"/>
                  <a:pt x="130" y="593"/>
                </a:cubicBezTo>
                <a:cubicBezTo>
                  <a:pt x="136" y="594"/>
                  <a:pt x="136" y="594"/>
                  <a:pt x="136" y="594"/>
                </a:cubicBezTo>
                <a:cubicBezTo>
                  <a:pt x="142" y="594"/>
                  <a:pt x="142" y="594"/>
                  <a:pt x="142" y="594"/>
                </a:cubicBezTo>
                <a:cubicBezTo>
                  <a:pt x="148" y="594"/>
                  <a:pt x="148" y="594"/>
                  <a:pt x="148" y="594"/>
                </a:cubicBezTo>
                <a:cubicBezTo>
                  <a:pt x="154" y="591"/>
                  <a:pt x="154" y="591"/>
                  <a:pt x="154" y="591"/>
                </a:cubicBezTo>
                <a:cubicBezTo>
                  <a:pt x="159" y="588"/>
                  <a:pt x="159" y="588"/>
                  <a:pt x="159" y="588"/>
                </a:cubicBezTo>
                <a:cubicBezTo>
                  <a:pt x="196" y="559"/>
                  <a:pt x="196" y="559"/>
                  <a:pt x="196" y="559"/>
                </a:cubicBezTo>
                <a:cubicBezTo>
                  <a:pt x="215" y="569"/>
                  <a:pt x="215" y="569"/>
                  <a:pt x="215" y="569"/>
                </a:cubicBezTo>
                <a:cubicBezTo>
                  <a:pt x="234" y="577"/>
                  <a:pt x="234" y="577"/>
                  <a:pt x="234" y="577"/>
                </a:cubicBezTo>
                <a:cubicBezTo>
                  <a:pt x="255" y="584"/>
                  <a:pt x="255" y="584"/>
                  <a:pt x="255" y="584"/>
                </a:cubicBezTo>
                <a:cubicBezTo>
                  <a:pt x="261" y="631"/>
                  <a:pt x="261" y="631"/>
                  <a:pt x="261" y="631"/>
                </a:cubicBezTo>
                <a:cubicBezTo>
                  <a:pt x="262" y="638"/>
                  <a:pt x="262" y="638"/>
                  <a:pt x="262" y="638"/>
                </a:cubicBezTo>
                <a:cubicBezTo>
                  <a:pt x="266" y="645"/>
                  <a:pt x="266" y="645"/>
                  <a:pt x="266" y="645"/>
                </a:cubicBezTo>
                <a:cubicBezTo>
                  <a:pt x="270" y="650"/>
                  <a:pt x="270" y="650"/>
                  <a:pt x="270" y="650"/>
                </a:cubicBezTo>
                <a:cubicBezTo>
                  <a:pt x="276" y="654"/>
                  <a:pt x="276" y="654"/>
                  <a:pt x="276" y="654"/>
                </a:cubicBezTo>
                <a:cubicBezTo>
                  <a:pt x="283" y="657"/>
                  <a:pt x="283" y="657"/>
                  <a:pt x="283" y="657"/>
                </a:cubicBezTo>
                <a:cubicBezTo>
                  <a:pt x="290" y="658"/>
                  <a:pt x="290" y="658"/>
                  <a:pt x="290" y="658"/>
                </a:cubicBezTo>
                <a:cubicBezTo>
                  <a:pt x="361" y="658"/>
                  <a:pt x="361" y="658"/>
                  <a:pt x="361" y="658"/>
                </a:cubicBezTo>
                <a:cubicBezTo>
                  <a:pt x="368" y="657"/>
                  <a:pt x="368" y="657"/>
                  <a:pt x="368" y="657"/>
                </a:cubicBezTo>
                <a:cubicBezTo>
                  <a:pt x="375" y="654"/>
                  <a:pt x="375" y="654"/>
                  <a:pt x="375" y="654"/>
                </a:cubicBezTo>
                <a:cubicBezTo>
                  <a:pt x="381" y="650"/>
                  <a:pt x="381" y="650"/>
                  <a:pt x="381" y="650"/>
                </a:cubicBezTo>
                <a:cubicBezTo>
                  <a:pt x="386" y="645"/>
                  <a:pt x="386" y="645"/>
                  <a:pt x="386" y="645"/>
                </a:cubicBezTo>
                <a:cubicBezTo>
                  <a:pt x="389" y="638"/>
                  <a:pt x="389" y="638"/>
                  <a:pt x="389" y="638"/>
                </a:cubicBezTo>
                <a:cubicBezTo>
                  <a:pt x="391" y="631"/>
                  <a:pt x="391" y="631"/>
                  <a:pt x="391" y="631"/>
                </a:cubicBezTo>
                <a:cubicBezTo>
                  <a:pt x="396" y="586"/>
                  <a:pt x="396" y="586"/>
                  <a:pt x="396" y="586"/>
                </a:cubicBezTo>
                <a:cubicBezTo>
                  <a:pt x="418" y="579"/>
                  <a:pt x="418" y="579"/>
                  <a:pt x="418" y="579"/>
                </a:cubicBezTo>
                <a:cubicBezTo>
                  <a:pt x="439" y="570"/>
                  <a:pt x="439" y="570"/>
                  <a:pt x="439" y="570"/>
                </a:cubicBezTo>
                <a:cubicBezTo>
                  <a:pt x="459" y="560"/>
                  <a:pt x="459" y="560"/>
                  <a:pt x="459" y="560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1" y="592"/>
                  <a:pt x="501" y="592"/>
                  <a:pt x="501" y="592"/>
                </a:cubicBezTo>
                <a:cubicBezTo>
                  <a:pt x="508" y="594"/>
                  <a:pt x="508" y="594"/>
                  <a:pt x="508" y="594"/>
                </a:cubicBezTo>
                <a:cubicBezTo>
                  <a:pt x="515" y="595"/>
                  <a:pt x="515" y="595"/>
                  <a:pt x="515" y="595"/>
                </a:cubicBezTo>
                <a:cubicBezTo>
                  <a:pt x="522" y="593"/>
                  <a:pt x="522" y="593"/>
                  <a:pt x="522" y="593"/>
                </a:cubicBezTo>
                <a:cubicBezTo>
                  <a:pt x="529" y="590"/>
                  <a:pt x="529" y="590"/>
                  <a:pt x="529" y="590"/>
                </a:cubicBezTo>
                <a:cubicBezTo>
                  <a:pt x="535" y="586"/>
                  <a:pt x="535" y="586"/>
                  <a:pt x="535" y="586"/>
                </a:cubicBezTo>
                <a:cubicBezTo>
                  <a:pt x="585" y="535"/>
                  <a:pt x="585" y="535"/>
                  <a:pt x="585" y="535"/>
                </a:cubicBezTo>
                <a:cubicBezTo>
                  <a:pt x="589" y="531"/>
                  <a:pt x="589" y="531"/>
                  <a:pt x="589" y="531"/>
                </a:cubicBezTo>
                <a:cubicBezTo>
                  <a:pt x="591" y="525"/>
                  <a:pt x="591" y="525"/>
                  <a:pt x="591" y="525"/>
                </a:cubicBezTo>
                <a:cubicBezTo>
                  <a:pt x="593" y="519"/>
                  <a:pt x="593" y="519"/>
                  <a:pt x="593" y="519"/>
                </a:cubicBezTo>
                <a:cubicBezTo>
                  <a:pt x="593" y="513"/>
                  <a:pt x="593" y="513"/>
                  <a:pt x="593" y="513"/>
                </a:cubicBezTo>
                <a:cubicBezTo>
                  <a:pt x="592" y="507"/>
                  <a:pt x="592" y="507"/>
                  <a:pt x="592" y="507"/>
                </a:cubicBezTo>
                <a:cubicBezTo>
                  <a:pt x="590" y="501"/>
                  <a:pt x="590" y="501"/>
                  <a:pt x="590" y="501"/>
                </a:cubicBezTo>
                <a:cubicBezTo>
                  <a:pt x="587" y="496"/>
                  <a:pt x="587" y="496"/>
                  <a:pt x="587" y="496"/>
                </a:cubicBezTo>
                <a:cubicBezTo>
                  <a:pt x="560" y="460"/>
                  <a:pt x="560" y="460"/>
                  <a:pt x="560" y="460"/>
                </a:cubicBezTo>
                <a:cubicBezTo>
                  <a:pt x="570" y="440"/>
                  <a:pt x="570" y="440"/>
                  <a:pt x="570" y="440"/>
                </a:cubicBezTo>
                <a:cubicBezTo>
                  <a:pt x="579" y="419"/>
                  <a:pt x="579" y="419"/>
                  <a:pt x="579" y="419"/>
                </a:cubicBezTo>
                <a:cubicBezTo>
                  <a:pt x="585" y="398"/>
                  <a:pt x="585" y="398"/>
                  <a:pt x="585" y="398"/>
                </a:cubicBezTo>
                <a:cubicBezTo>
                  <a:pt x="628" y="393"/>
                  <a:pt x="628" y="393"/>
                  <a:pt x="628" y="393"/>
                </a:cubicBezTo>
                <a:cubicBezTo>
                  <a:pt x="635" y="391"/>
                  <a:pt x="635" y="391"/>
                  <a:pt x="635" y="391"/>
                </a:cubicBezTo>
                <a:cubicBezTo>
                  <a:pt x="642" y="387"/>
                  <a:pt x="642" y="387"/>
                  <a:pt x="642" y="387"/>
                </a:cubicBezTo>
                <a:cubicBezTo>
                  <a:pt x="647" y="383"/>
                  <a:pt x="647" y="383"/>
                  <a:pt x="647" y="383"/>
                </a:cubicBezTo>
                <a:cubicBezTo>
                  <a:pt x="651" y="377"/>
                  <a:pt x="651" y="377"/>
                  <a:pt x="651" y="377"/>
                </a:cubicBezTo>
                <a:cubicBezTo>
                  <a:pt x="654" y="370"/>
                  <a:pt x="654" y="370"/>
                  <a:pt x="654" y="370"/>
                </a:cubicBezTo>
                <a:cubicBezTo>
                  <a:pt x="654" y="363"/>
                  <a:pt x="654" y="363"/>
                  <a:pt x="654" y="363"/>
                </a:cubicBezTo>
                <a:cubicBezTo>
                  <a:pt x="654" y="292"/>
                  <a:pt x="654" y="292"/>
                  <a:pt x="654" y="292"/>
                </a:cubicBezTo>
                <a:lnTo>
                  <a:pt x="654" y="284"/>
                </a:lnTo>
                <a:close/>
                <a:moveTo>
                  <a:pt x="327" y="559"/>
                </a:moveTo>
                <a:cubicBezTo>
                  <a:pt x="200" y="559"/>
                  <a:pt x="97" y="456"/>
                  <a:pt x="97" y="329"/>
                </a:cubicBezTo>
                <a:cubicBezTo>
                  <a:pt x="97" y="201"/>
                  <a:pt x="200" y="98"/>
                  <a:pt x="327" y="98"/>
                </a:cubicBezTo>
                <a:cubicBezTo>
                  <a:pt x="454" y="98"/>
                  <a:pt x="557" y="201"/>
                  <a:pt x="557" y="329"/>
                </a:cubicBezTo>
                <a:cubicBezTo>
                  <a:pt x="557" y="456"/>
                  <a:pt x="454" y="559"/>
                  <a:pt x="327" y="55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GB" sz="2533" dirty="0">
              <a:solidFill>
                <a:schemeClr val="accent6">
                  <a:lumMod val="100000"/>
                </a:schemeClr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29F1BC8-162D-436C-86D3-5EF8D04AF6D1}"/>
              </a:ext>
            </a:extLst>
          </p:cNvPr>
          <p:cNvSpPr/>
          <p:nvPr/>
        </p:nvSpPr>
        <p:spPr>
          <a:xfrm>
            <a:off x="7112459" y="4393408"/>
            <a:ext cx="1666760" cy="5446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  <a:buSzPct val="100000"/>
            </a:pPr>
            <a:r>
              <a:rPr lang="en-GB" sz="1600" dirty="0">
                <a:latin typeface="Helvetica" charset="0"/>
                <a:ea typeface="Helvetica" charset="0"/>
                <a:cs typeface="Helvetica" charset="0"/>
              </a:rPr>
              <a:t>Red y </a:t>
            </a:r>
            <a:r>
              <a:rPr lang="en-GB" sz="1600" dirty="0" err="1">
                <a:latin typeface="Helvetica" charset="0"/>
                <a:ea typeface="Helvetica" charset="0"/>
                <a:cs typeface="Helvetica" charset="0"/>
              </a:rPr>
              <a:t>asociación</a:t>
            </a:r>
            <a:endParaRPr lang="en-GB" sz="160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12" name="RBContent16">
            <a:extLst>
              <a:ext uri="{FF2B5EF4-FFF2-40B4-BE49-F238E27FC236}">
                <a16:creationId xmlns:a16="http://schemas.microsoft.com/office/drawing/2014/main" xmlns="" id="{D35CA37C-D5BF-4BC6-96B2-1312583D3B24}"/>
              </a:ext>
            </a:extLst>
          </p:cNvPr>
          <p:cNvSpPr txBox="1">
            <a:spLocks/>
          </p:cNvSpPr>
          <p:nvPr/>
        </p:nvSpPr>
        <p:spPr>
          <a:xfrm>
            <a:off x="8571601" y="884312"/>
            <a:ext cx="3407366" cy="203902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0" lvl="1">
              <a:spcBef>
                <a:spcPts val="533"/>
              </a:spcBef>
              <a:buSzPct val="100000"/>
            </a:pPr>
            <a:r>
              <a:rPr lang="es-ES" sz="1500" b="0" dirty="0">
                <a:latin typeface="Helvetica" charset="0"/>
                <a:ea typeface="Helvetica" charset="0"/>
                <a:cs typeface="Helvetica" charset="0"/>
                <a:sym typeface="+mn-lt"/>
              </a:rPr>
              <a:t>Las</a:t>
            </a:r>
            <a:r>
              <a:rPr lang="es-ES" sz="1500" dirty="0">
                <a:latin typeface="Helvetica" charset="0"/>
                <a:ea typeface="Helvetica" charset="0"/>
                <a:cs typeface="Helvetica" charset="0"/>
                <a:sym typeface="+mn-lt"/>
              </a:rPr>
              <a:t> ciudades </a:t>
            </a:r>
            <a:r>
              <a:rPr lang="es-ES" sz="1500" b="0" dirty="0">
                <a:latin typeface="Helvetica" charset="0"/>
                <a:ea typeface="Helvetica" charset="0"/>
                <a:cs typeface="Helvetica" charset="0"/>
                <a:sym typeface="+mn-lt"/>
              </a:rPr>
              <a:t>se reúnen en seminarios colectivos con sus homólogos para facilitar el aprendizaje, a través de:</a:t>
            </a:r>
          </a:p>
          <a:p>
            <a:pPr marL="285750" lvl="1" indent="-285750">
              <a:spcBef>
                <a:spcPts val="533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b="0" dirty="0">
                <a:latin typeface="Helvetica" charset="0"/>
                <a:ea typeface="Helvetica" charset="0"/>
                <a:cs typeface="Helvetica" charset="0"/>
                <a:sym typeface="+mn-lt"/>
              </a:rPr>
              <a:t>Revisión entre compañeros e intercambio de buenas prácticas</a:t>
            </a:r>
          </a:p>
          <a:p>
            <a:pPr marL="285750" lvl="1" indent="-285750">
              <a:spcBef>
                <a:spcPts val="533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sz="1500" b="0" dirty="0">
                <a:latin typeface="Helvetica" charset="0"/>
                <a:ea typeface="Helvetica" charset="0"/>
                <a:cs typeface="Helvetica" charset="0"/>
                <a:sym typeface="+mn-lt"/>
              </a:rPr>
              <a:t>Eventos en red con otras ciudades modelo</a:t>
            </a:r>
          </a:p>
          <a:p>
            <a:pPr marL="285750" lvl="1" indent="-285750">
              <a:spcBef>
                <a:spcPts val="533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500" b="0" dirty="0" err="1">
                <a:latin typeface="Helvetica" charset="0"/>
                <a:ea typeface="Helvetica" charset="0"/>
                <a:cs typeface="Helvetica" charset="0"/>
                <a:sym typeface="+mn-lt"/>
              </a:rPr>
              <a:t>Formación</a:t>
            </a:r>
            <a:r>
              <a:rPr lang="en-GB" sz="1500" b="0" dirty="0">
                <a:latin typeface="Helvetica" charset="0"/>
                <a:ea typeface="Helvetica" charset="0"/>
                <a:cs typeface="Helvetica" charset="0"/>
                <a:sym typeface="+mn-lt"/>
              </a:rPr>
              <a:t> </a:t>
            </a:r>
            <a:r>
              <a:rPr lang="en-GB" sz="1500" b="0" dirty="0" err="1">
                <a:latin typeface="Helvetica" charset="0"/>
                <a:ea typeface="Helvetica" charset="0"/>
                <a:cs typeface="Helvetica" charset="0"/>
                <a:sym typeface="+mn-lt"/>
              </a:rPr>
              <a:t>metodológica</a:t>
            </a:r>
            <a:endParaRPr lang="en-GB" sz="1500" b="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13" name="RBContent16">
            <a:extLst>
              <a:ext uri="{FF2B5EF4-FFF2-40B4-BE49-F238E27FC236}">
                <a16:creationId xmlns:a16="http://schemas.microsoft.com/office/drawing/2014/main" xmlns="" id="{546FE602-D96D-4252-B330-056D016611DD}"/>
              </a:ext>
            </a:extLst>
          </p:cNvPr>
          <p:cNvSpPr txBox="1">
            <a:spLocks/>
          </p:cNvSpPr>
          <p:nvPr/>
        </p:nvSpPr>
        <p:spPr>
          <a:xfrm>
            <a:off x="9056807" y="4122368"/>
            <a:ext cx="2969942" cy="115416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lvl="1">
              <a:spcBef>
                <a:spcPts val="533"/>
              </a:spcBef>
              <a:buSzPct val="100000"/>
            </a:pPr>
            <a:r>
              <a:rPr lang="es-ES" sz="1500" b="0" dirty="0">
                <a:latin typeface="Helvetica" charset="0"/>
                <a:ea typeface="Helvetica" charset="0"/>
                <a:cs typeface="Helvetica" charset="0"/>
                <a:sym typeface="+mn-lt"/>
              </a:rPr>
              <a:t>Facilita la </a:t>
            </a:r>
            <a:r>
              <a:rPr lang="es-ES" sz="1500" dirty="0">
                <a:latin typeface="Helvetica" charset="0"/>
                <a:ea typeface="Helvetica" charset="0"/>
                <a:cs typeface="Helvetica" charset="0"/>
                <a:sym typeface="+mn-lt"/>
              </a:rPr>
              <a:t>creación y el desarrollo de redes </a:t>
            </a:r>
            <a:r>
              <a:rPr lang="es-ES" sz="1500" b="0" dirty="0">
                <a:latin typeface="Helvetica" charset="0"/>
                <a:ea typeface="Helvetica" charset="0"/>
                <a:cs typeface="Helvetica" charset="0"/>
                <a:sym typeface="+mn-lt"/>
              </a:rPr>
              <a:t>dentro de las ciudades y entre ellas, así como la cooperación con </a:t>
            </a:r>
            <a:r>
              <a:rPr lang="es-ES" sz="1500" dirty="0">
                <a:latin typeface="Helvetica" charset="0"/>
                <a:ea typeface="Helvetica" charset="0"/>
                <a:cs typeface="Helvetica" charset="0"/>
                <a:sym typeface="+mn-lt"/>
              </a:rPr>
              <a:t>iniciativas complementarias.</a:t>
            </a:r>
            <a:endParaRPr lang="en-GB" sz="150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632F69B-1429-48E3-9E37-E627BE79BF94}"/>
              </a:ext>
            </a:extLst>
          </p:cNvPr>
          <p:cNvSpPr/>
          <p:nvPr/>
        </p:nvSpPr>
        <p:spPr>
          <a:xfrm>
            <a:off x="5332020" y="5209888"/>
            <a:ext cx="1465307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  <a:buSzPct val="100000"/>
            </a:pPr>
            <a:r>
              <a:rPr lang="en-GB" sz="1600" dirty="0" err="1">
                <a:latin typeface="Helvetica" charset="0"/>
                <a:ea typeface="Helvetica" charset="0"/>
                <a:cs typeface="Helvetica" charset="0"/>
                <a:sym typeface="+mn-lt"/>
              </a:rPr>
              <a:t>Revisiones</a:t>
            </a:r>
            <a:r>
              <a:rPr lang="en-GB" sz="1600" dirty="0">
                <a:latin typeface="Helvetica" charset="0"/>
                <a:ea typeface="Helvetica" charset="0"/>
                <a:cs typeface="Helvetica" charset="0"/>
                <a:sym typeface="+mn-lt"/>
              </a:rPr>
              <a:t> de </a:t>
            </a:r>
            <a:r>
              <a:rPr lang="en-GB" sz="1600" dirty="0" err="1">
                <a:latin typeface="Helvetica" charset="0"/>
                <a:ea typeface="Helvetica" charset="0"/>
                <a:cs typeface="Helvetica" charset="0"/>
                <a:sym typeface="+mn-lt"/>
              </a:rPr>
              <a:t>compañeros</a:t>
            </a:r>
            <a:endParaRPr lang="en-GB" sz="160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15" name="RBContent16">
            <a:extLst>
              <a:ext uri="{FF2B5EF4-FFF2-40B4-BE49-F238E27FC236}">
                <a16:creationId xmlns:a16="http://schemas.microsoft.com/office/drawing/2014/main" xmlns="" id="{50727FC2-AB42-484C-97E2-84BF7352BDFB}"/>
              </a:ext>
            </a:extLst>
          </p:cNvPr>
          <p:cNvSpPr txBox="1">
            <a:spLocks/>
          </p:cNvSpPr>
          <p:nvPr/>
        </p:nvSpPr>
        <p:spPr>
          <a:xfrm>
            <a:off x="2820927" y="4771113"/>
            <a:ext cx="2248626" cy="184665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lvl="1">
              <a:spcBef>
                <a:spcPts val="533"/>
              </a:spcBef>
              <a:buSzPct val="100000"/>
            </a:pPr>
            <a:r>
              <a:rPr lang="es-ES" sz="1500" b="0" dirty="0">
                <a:latin typeface="Helvetica" charset="0"/>
                <a:ea typeface="Helvetica" charset="0"/>
                <a:cs typeface="Helvetica" charset="0"/>
                <a:sym typeface="+mn-lt"/>
              </a:rPr>
              <a:t>Promover </a:t>
            </a:r>
            <a:r>
              <a:rPr lang="es-ES" sz="1500" dirty="0">
                <a:latin typeface="Helvetica" charset="0"/>
                <a:ea typeface="Helvetica" charset="0"/>
                <a:cs typeface="Helvetica" charset="0"/>
                <a:sym typeface="+mn-lt"/>
              </a:rPr>
              <a:t>la fertilización cruzada</a:t>
            </a:r>
            <a:r>
              <a:rPr lang="es-ES" sz="1500" b="0" dirty="0">
                <a:latin typeface="Helvetica" charset="0"/>
                <a:ea typeface="Helvetica" charset="0"/>
                <a:cs typeface="Helvetica" charset="0"/>
                <a:sym typeface="+mn-lt"/>
              </a:rPr>
              <a:t> de ideas entre los participantes y la evaluación por parte de los compañeros de las estrategias digitales que se están desarrollando como parte del proyecto.</a:t>
            </a:r>
            <a:endParaRPr lang="en-GB" sz="150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xmlns="" id="{0442BEB4-7476-4156-8FE5-E3D8CD4673A2}"/>
              </a:ext>
            </a:extLst>
          </p:cNvPr>
          <p:cNvSpPr>
            <a:spLocks noEditPoints="1"/>
          </p:cNvSpPr>
          <p:nvPr/>
        </p:nvSpPr>
        <p:spPr bwMode="auto">
          <a:xfrm rot="1977633">
            <a:off x="5067826" y="4611062"/>
            <a:ext cx="1993696" cy="2004979"/>
          </a:xfrm>
          <a:custGeom>
            <a:avLst/>
            <a:gdLst>
              <a:gd name="T0" fmla="*/ 647 w 654"/>
              <a:gd name="T1" fmla="*/ 272 h 658"/>
              <a:gd name="T2" fmla="*/ 628 w 654"/>
              <a:gd name="T3" fmla="*/ 262 h 658"/>
              <a:gd name="T4" fmla="*/ 571 w 654"/>
              <a:gd name="T5" fmla="*/ 215 h 658"/>
              <a:gd name="T6" fmla="*/ 591 w 654"/>
              <a:gd name="T7" fmla="*/ 156 h 658"/>
              <a:gd name="T8" fmla="*/ 592 w 654"/>
              <a:gd name="T9" fmla="*/ 135 h 658"/>
              <a:gd name="T10" fmla="*/ 535 w 654"/>
              <a:gd name="T11" fmla="*/ 72 h 658"/>
              <a:gd name="T12" fmla="*/ 518 w 654"/>
              <a:gd name="T13" fmla="*/ 64 h 658"/>
              <a:gd name="T14" fmla="*/ 500 w 654"/>
              <a:gd name="T15" fmla="*/ 66 h 658"/>
              <a:gd name="T16" fmla="*/ 448 w 654"/>
              <a:gd name="T17" fmla="*/ 86 h 658"/>
              <a:gd name="T18" fmla="*/ 398 w 654"/>
              <a:gd name="T19" fmla="*/ 68 h 658"/>
              <a:gd name="T20" fmla="*/ 388 w 654"/>
              <a:gd name="T21" fmla="*/ 13 h 658"/>
              <a:gd name="T22" fmla="*/ 371 w 654"/>
              <a:gd name="T23" fmla="*/ 1 h 658"/>
              <a:gd name="T24" fmla="*/ 286 w 654"/>
              <a:gd name="T25" fmla="*/ 1 h 658"/>
              <a:gd name="T26" fmla="*/ 268 w 654"/>
              <a:gd name="T27" fmla="*/ 13 h 658"/>
              <a:gd name="T28" fmla="*/ 259 w 654"/>
              <a:gd name="T29" fmla="*/ 68 h 658"/>
              <a:gd name="T30" fmla="*/ 208 w 654"/>
              <a:gd name="T31" fmla="*/ 87 h 658"/>
              <a:gd name="T32" fmla="*/ 153 w 654"/>
              <a:gd name="T33" fmla="*/ 66 h 658"/>
              <a:gd name="T34" fmla="*/ 132 w 654"/>
              <a:gd name="T35" fmla="*/ 65 h 658"/>
              <a:gd name="T36" fmla="*/ 69 w 654"/>
              <a:gd name="T37" fmla="*/ 123 h 658"/>
              <a:gd name="T38" fmla="*/ 61 w 654"/>
              <a:gd name="T39" fmla="*/ 139 h 658"/>
              <a:gd name="T40" fmla="*/ 64 w 654"/>
              <a:gd name="T41" fmla="*/ 157 h 658"/>
              <a:gd name="T42" fmla="*/ 84 w 654"/>
              <a:gd name="T43" fmla="*/ 217 h 658"/>
              <a:gd name="T44" fmla="*/ 26 w 654"/>
              <a:gd name="T45" fmla="*/ 265 h 658"/>
              <a:gd name="T46" fmla="*/ 7 w 654"/>
              <a:gd name="T47" fmla="*/ 275 h 658"/>
              <a:gd name="T48" fmla="*/ 0 w 654"/>
              <a:gd name="T49" fmla="*/ 295 h 658"/>
              <a:gd name="T50" fmla="*/ 3 w 654"/>
              <a:gd name="T51" fmla="*/ 380 h 658"/>
              <a:gd name="T52" fmla="*/ 19 w 654"/>
              <a:gd name="T53" fmla="*/ 394 h 658"/>
              <a:gd name="T54" fmla="*/ 79 w 654"/>
              <a:gd name="T55" fmla="*/ 421 h 658"/>
              <a:gd name="T56" fmla="*/ 67 w 654"/>
              <a:gd name="T57" fmla="*/ 495 h 658"/>
              <a:gd name="T58" fmla="*/ 60 w 654"/>
              <a:gd name="T59" fmla="*/ 516 h 658"/>
              <a:gd name="T60" fmla="*/ 69 w 654"/>
              <a:gd name="T61" fmla="*/ 535 h 658"/>
              <a:gd name="T62" fmla="*/ 130 w 654"/>
              <a:gd name="T63" fmla="*/ 593 h 658"/>
              <a:gd name="T64" fmla="*/ 148 w 654"/>
              <a:gd name="T65" fmla="*/ 594 h 658"/>
              <a:gd name="T66" fmla="*/ 196 w 654"/>
              <a:gd name="T67" fmla="*/ 559 h 658"/>
              <a:gd name="T68" fmla="*/ 255 w 654"/>
              <a:gd name="T69" fmla="*/ 584 h 658"/>
              <a:gd name="T70" fmla="*/ 266 w 654"/>
              <a:gd name="T71" fmla="*/ 645 h 658"/>
              <a:gd name="T72" fmla="*/ 283 w 654"/>
              <a:gd name="T73" fmla="*/ 657 h 658"/>
              <a:gd name="T74" fmla="*/ 368 w 654"/>
              <a:gd name="T75" fmla="*/ 657 h 658"/>
              <a:gd name="T76" fmla="*/ 386 w 654"/>
              <a:gd name="T77" fmla="*/ 645 h 658"/>
              <a:gd name="T78" fmla="*/ 396 w 654"/>
              <a:gd name="T79" fmla="*/ 586 h 658"/>
              <a:gd name="T80" fmla="*/ 459 w 654"/>
              <a:gd name="T81" fmla="*/ 560 h 658"/>
              <a:gd name="T82" fmla="*/ 508 w 654"/>
              <a:gd name="T83" fmla="*/ 594 h 658"/>
              <a:gd name="T84" fmla="*/ 529 w 654"/>
              <a:gd name="T85" fmla="*/ 590 h 658"/>
              <a:gd name="T86" fmla="*/ 589 w 654"/>
              <a:gd name="T87" fmla="*/ 531 h 658"/>
              <a:gd name="T88" fmla="*/ 593 w 654"/>
              <a:gd name="T89" fmla="*/ 513 h 658"/>
              <a:gd name="T90" fmla="*/ 587 w 654"/>
              <a:gd name="T91" fmla="*/ 496 h 658"/>
              <a:gd name="T92" fmla="*/ 579 w 654"/>
              <a:gd name="T93" fmla="*/ 419 h 658"/>
              <a:gd name="T94" fmla="*/ 635 w 654"/>
              <a:gd name="T95" fmla="*/ 391 h 658"/>
              <a:gd name="T96" fmla="*/ 651 w 654"/>
              <a:gd name="T97" fmla="*/ 377 h 658"/>
              <a:gd name="T98" fmla="*/ 654 w 654"/>
              <a:gd name="T99" fmla="*/ 292 h 658"/>
              <a:gd name="T100" fmla="*/ 97 w 654"/>
              <a:gd name="T101" fmla="*/ 329 h 658"/>
              <a:gd name="T102" fmla="*/ 327 w 654"/>
              <a:gd name="T103" fmla="*/ 559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54" h="658">
                <a:moveTo>
                  <a:pt x="654" y="284"/>
                </a:moveTo>
                <a:cubicBezTo>
                  <a:pt x="651" y="278"/>
                  <a:pt x="651" y="278"/>
                  <a:pt x="651" y="278"/>
                </a:cubicBezTo>
                <a:cubicBezTo>
                  <a:pt x="647" y="272"/>
                  <a:pt x="647" y="272"/>
                  <a:pt x="647" y="272"/>
                </a:cubicBezTo>
                <a:cubicBezTo>
                  <a:pt x="642" y="267"/>
                  <a:pt x="642" y="267"/>
                  <a:pt x="642" y="267"/>
                </a:cubicBezTo>
                <a:cubicBezTo>
                  <a:pt x="635" y="264"/>
                  <a:pt x="635" y="264"/>
                  <a:pt x="635" y="264"/>
                </a:cubicBezTo>
                <a:cubicBezTo>
                  <a:pt x="628" y="262"/>
                  <a:pt x="628" y="262"/>
                  <a:pt x="628" y="262"/>
                </a:cubicBezTo>
                <a:cubicBezTo>
                  <a:pt x="586" y="257"/>
                  <a:pt x="586" y="257"/>
                  <a:pt x="586" y="257"/>
                </a:cubicBezTo>
                <a:cubicBezTo>
                  <a:pt x="580" y="236"/>
                  <a:pt x="580" y="236"/>
                  <a:pt x="580" y="236"/>
                </a:cubicBezTo>
                <a:cubicBezTo>
                  <a:pt x="571" y="215"/>
                  <a:pt x="571" y="215"/>
                  <a:pt x="571" y="215"/>
                </a:cubicBezTo>
                <a:cubicBezTo>
                  <a:pt x="561" y="195"/>
                  <a:pt x="561" y="195"/>
                  <a:pt x="561" y="195"/>
                </a:cubicBezTo>
                <a:cubicBezTo>
                  <a:pt x="587" y="162"/>
                  <a:pt x="587" y="162"/>
                  <a:pt x="587" y="162"/>
                </a:cubicBezTo>
                <a:cubicBezTo>
                  <a:pt x="591" y="156"/>
                  <a:pt x="591" y="156"/>
                  <a:pt x="591" y="156"/>
                </a:cubicBezTo>
                <a:cubicBezTo>
                  <a:pt x="593" y="149"/>
                  <a:pt x="593" y="149"/>
                  <a:pt x="593" y="149"/>
                </a:cubicBezTo>
                <a:cubicBezTo>
                  <a:pt x="593" y="142"/>
                  <a:pt x="593" y="142"/>
                  <a:pt x="593" y="142"/>
                </a:cubicBezTo>
                <a:cubicBezTo>
                  <a:pt x="592" y="135"/>
                  <a:pt x="592" y="135"/>
                  <a:pt x="592" y="135"/>
                </a:cubicBezTo>
                <a:cubicBezTo>
                  <a:pt x="589" y="128"/>
                  <a:pt x="589" y="128"/>
                  <a:pt x="589" y="128"/>
                </a:cubicBezTo>
                <a:cubicBezTo>
                  <a:pt x="585" y="122"/>
                  <a:pt x="585" y="122"/>
                  <a:pt x="585" y="122"/>
                </a:cubicBezTo>
                <a:cubicBezTo>
                  <a:pt x="535" y="72"/>
                  <a:pt x="535" y="72"/>
                  <a:pt x="535" y="72"/>
                </a:cubicBezTo>
                <a:cubicBezTo>
                  <a:pt x="530" y="68"/>
                  <a:pt x="530" y="68"/>
                  <a:pt x="530" y="68"/>
                </a:cubicBezTo>
                <a:cubicBezTo>
                  <a:pt x="524" y="65"/>
                  <a:pt x="524" y="65"/>
                  <a:pt x="524" y="65"/>
                </a:cubicBezTo>
                <a:cubicBezTo>
                  <a:pt x="518" y="64"/>
                  <a:pt x="518" y="64"/>
                  <a:pt x="518" y="64"/>
                </a:cubicBezTo>
                <a:cubicBezTo>
                  <a:pt x="512" y="63"/>
                  <a:pt x="512" y="63"/>
                  <a:pt x="512" y="63"/>
                </a:cubicBezTo>
                <a:cubicBezTo>
                  <a:pt x="506" y="64"/>
                  <a:pt x="506" y="64"/>
                  <a:pt x="506" y="64"/>
                </a:cubicBezTo>
                <a:cubicBezTo>
                  <a:pt x="500" y="66"/>
                  <a:pt x="500" y="66"/>
                  <a:pt x="500" y="66"/>
                </a:cubicBezTo>
                <a:cubicBezTo>
                  <a:pt x="495" y="70"/>
                  <a:pt x="495" y="70"/>
                  <a:pt x="495" y="70"/>
                </a:cubicBezTo>
                <a:cubicBezTo>
                  <a:pt x="463" y="95"/>
                  <a:pt x="463" y="95"/>
                  <a:pt x="463" y="95"/>
                </a:cubicBezTo>
                <a:cubicBezTo>
                  <a:pt x="448" y="86"/>
                  <a:pt x="448" y="86"/>
                  <a:pt x="448" y="86"/>
                </a:cubicBezTo>
                <a:cubicBezTo>
                  <a:pt x="432" y="79"/>
                  <a:pt x="432" y="79"/>
                  <a:pt x="432" y="79"/>
                </a:cubicBezTo>
                <a:cubicBezTo>
                  <a:pt x="415" y="73"/>
                  <a:pt x="415" y="73"/>
                  <a:pt x="415" y="73"/>
                </a:cubicBezTo>
                <a:cubicBezTo>
                  <a:pt x="398" y="68"/>
                  <a:pt x="398" y="68"/>
                  <a:pt x="398" y="68"/>
                </a:cubicBezTo>
                <a:cubicBezTo>
                  <a:pt x="394" y="27"/>
                  <a:pt x="394" y="27"/>
                  <a:pt x="394" y="27"/>
                </a:cubicBezTo>
                <a:cubicBezTo>
                  <a:pt x="392" y="20"/>
                  <a:pt x="392" y="20"/>
                  <a:pt x="392" y="20"/>
                </a:cubicBezTo>
                <a:cubicBezTo>
                  <a:pt x="388" y="13"/>
                  <a:pt x="388" y="13"/>
                  <a:pt x="388" y="13"/>
                </a:cubicBezTo>
                <a:cubicBezTo>
                  <a:pt x="384" y="8"/>
                  <a:pt x="384" y="8"/>
                  <a:pt x="384" y="8"/>
                </a:cubicBezTo>
                <a:cubicBezTo>
                  <a:pt x="378" y="3"/>
                  <a:pt x="378" y="3"/>
                  <a:pt x="378" y="3"/>
                </a:cubicBezTo>
                <a:cubicBezTo>
                  <a:pt x="371" y="1"/>
                  <a:pt x="371" y="1"/>
                  <a:pt x="371" y="1"/>
                </a:cubicBezTo>
                <a:cubicBezTo>
                  <a:pt x="364" y="0"/>
                  <a:pt x="364" y="0"/>
                  <a:pt x="364" y="0"/>
                </a:cubicBezTo>
                <a:cubicBezTo>
                  <a:pt x="293" y="0"/>
                  <a:pt x="293" y="0"/>
                  <a:pt x="293" y="0"/>
                </a:cubicBezTo>
                <a:cubicBezTo>
                  <a:pt x="286" y="1"/>
                  <a:pt x="286" y="1"/>
                  <a:pt x="286" y="1"/>
                </a:cubicBezTo>
                <a:cubicBezTo>
                  <a:pt x="279" y="3"/>
                  <a:pt x="279" y="3"/>
                  <a:pt x="279" y="3"/>
                </a:cubicBezTo>
                <a:cubicBezTo>
                  <a:pt x="273" y="8"/>
                  <a:pt x="273" y="8"/>
                  <a:pt x="273" y="8"/>
                </a:cubicBezTo>
                <a:cubicBezTo>
                  <a:pt x="268" y="13"/>
                  <a:pt x="268" y="13"/>
                  <a:pt x="268" y="13"/>
                </a:cubicBezTo>
                <a:cubicBezTo>
                  <a:pt x="265" y="20"/>
                  <a:pt x="265" y="20"/>
                  <a:pt x="265" y="20"/>
                </a:cubicBezTo>
                <a:cubicBezTo>
                  <a:pt x="263" y="27"/>
                  <a:pt x="263" y="27"/>
                  <a:pt x="263" y="27"/>
                </a:cubicBezTo>
                <a:cubicBezTo>
                  <a:pt x="259" y="68"/>
                  <a:pt x="259" y="68"/>
                  <a:pt x="259" y="68"/>
                </a:cubicBezTo>
                <a:cubicBezTo>
                  <a:pt x="241" y="73"/>
                  <a:pt x="241" y="73"/>
                  <a:pt x="241" y="73"/>
                </a:cubicBezTo>
                <a:cubicBezTo>
                  <a:pt x="224" y="79"/>
                  <a:pt x="224" y="79"/>
                  <a:pt x="224" y="79"/>
                </a:cubicBezTo>
                <a:cubicBezTo>
                  <a:pt x="208" y="87"/>
                  <a:pt x="208" y="87"/>
                  <a:pt x="208" y="87"/>
                </a:cubicBezTo>
                <a:cubicBezTo>
                  <a:pt x="192" y="96"/>
                  <a:pt x="192" y="96"/>
                  <a:pt x="192" y="96"/>
                </a:cubicBezTo>
                <a:cubicBezTo>
                  <a:pt x="159" y="70"/>
                  <a:pt x="159" y="70"/>
                  <a:pt x="159" y="70"/>
                </a:cubicBezTo>
                <a:cubicBezTo>
                  <a:pt x="153" y="66"/>
                  <a:pt x="153" y="66"/>
                  <a:pt x="153" y="66"/>
                </a:cubicBezTo>
                <a:cubicBezTo>
                  <a:pt x="146" y="64"/>
                  <a:pt x="146" y="64"/>
                  <a:pt x="146" y="64"/>
                </a:cubicBezTo>
                <a:cubicBezTo>
                  <a:pt x="139" y="64"/>
                  <a:pt x="139" y="64"/>
                  <a:pt x="139" y="64"/>
                </a:cubicBezTo>
                <a:cubicBezTo>
                  <a:pt x="132" y="65"/>
                  <a:pt x="132" y="65"/>
                  <a:pt x="132" y="65"/>
                </a:cubicBezTo>
                <a:cubicBezTo>
                  <a:pt x="125" y="68"/>
                  <a:pt x="125" y="68"/>
                  <a:pt x="125" y="68"/>
                </a:cubicBezTo>
                <a:cubicBezTo>
                  <a:pt x="119" y="72"/>
                  <a:pt x="119" y="72"/>
                  <a:pt x="119" y="72"/>
                </a:cubicBezTo>
                <a:cubicBezTo>
                  <a:pt x="69" y="123"/>
                  <a:pt x="69" y="123"/>
                  <a:pt x="69" y="123"/>
                </a:cubicBezTo>
                <a:cubicBezTo>
                  <a:pt x="65" y="127"/>
                  <a:pt x="65" y="127"/>
                  <a:pt x="65" y="127"/>
                </a:cubicBezTo>
                <a:cubicBezTo>
                  <a:pt x="63" y="133"/>
                  <a:pt x="63" y="133"/>
                  <a:pt x="63" y="133"/>
                </a:cubicBezTo>
                <a:cubicBezTo>
                  <a:pt x="61" y="139"/>
                  <a:pt x="61" y="139"/>
                  <a:pt x="61" y="139"/>
                </a:cubicBezTo>
                <a:cubicBezTo>
                  <a:pt x="60" y="145"/>
                  <a:pt x="60" y="145"/>
                  <a:pt x="60" y="145"/>
                </a:cubicBezTo>
                <a:cubicBezTo>
                  <a:pt x="62" y="151"/>
                  <a:pt x="62" y="151"/>
                  <a:pt x="62" y="151"/>
                </a:cubicBezTo>
                <a:cubicBezTo>
                  <a:pt x="64" y="157"/>
                  <a:pt x="64" y="157"/>
                  <a:pt x="64" y="157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94" y="197"/>
                  <a:pt x="94" y="197"/>
                  <a:pt x="94" y="197"/>
                </a:cubicBezTo>
                <a:cubicBezTo>
                  <a:pt x="84" y="217"/>
                  <a:pt x="84" y="217"/>
                  <a:pt x="84" y="217"/>
                </a:cubicBezTo>
                <a:cubicBezTo>
                  <a:pt x="76" y="238"/>
                  <a:pt x="76" y="238"/>
                  <a:pt x="76" y="238"/>
                </a:cubicBezTo>
                <a:cubicBezTo>
                  <a:pt x="70" y="260"/>
                  <a:pt x="70" y="260"/>
                  <a:pt x="70" y="260"/>
                </a:cubicBezTo>
                <a:cubicBezTo>
                  <a:pt x="26" y="265"/>
                  <a:pt x="26" y="265"/>
                  <a:pt x="26" y="265"/>
                </a:cubicBezTo>
                <a:cubicBezTo>
                  <a:pt x="19" y="267"/>
                  <a:pt x="19" y="267"/>
                  <a:pt x="19" y="267"/>
                </a:cubicBezTo>
                <a:cubicBezTo>
                  <a:pt x="13" y="270"/>
                  <a:pt x="13" y="270"/>
                  <a:pt x="13" y="270"/>
                </a:cubicBezTo>
                <a:cubicBezTo>
                  <a:pt x="7" y="275"/>
                  <a:pt x="7" y="275"/>
                  <a:pt x="7" y="275"/>
                </a:cubicBezTo>
                <a:cubicBezTo>
                  <a:pt x="3" y="281"/>
                  <a:pt x="3" y="281"/>
                  <a:pt x="3" y="281"/>
                </a:cubicBezTo>
                <a:cubicBezTo>
                  <a:pt x="1" y="287"/>
                  <a:pt x="1" y="287"/>
                  <a:pt x="1" y="287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66"/>
                  <a:pt x="0" y="366"/>
                  <a:pt x="0" y="366"/>
                </a:cubicBezTo>
                <a:cubicBezTo>
                  <a:pt x="1" y="374"/>
                  <a:pt x="1" y="374"/>
                  <a:pt x="1" y="374"/>
                </a:cubicBezTo>
                <a:cubicBezTo>
                  <a:pt x="3" y="380"/>
                  <a:pt x="3" y="380"/>
                  <a:pt x="3" y="380"/>
                </a:cubicBezTo>
                <a:cubicBezTo>
                  <a:pt x="7" y="386"/>
                  <a:pt x="7" y="386"/>
                  <a:pt x="7" y="386"/>
                </a:cubicBezTo>
                <a:cubicBezTo>
                  <a:pt x="13" y="390"/>
                  <a:pt x="13" y="390"/>
                  <a:pt x="13" y="390"/>
                </a:cubicBezTo>
                <a:cubicBezTo>
                  <a:pt x="19" y="394"/>
                  <a:pt x="19" y="394"/>
                  <a:pt x="19" y="394"/>
                </a:cubicBezTo>
                <a:cubicBezTo>
                  <a:pt x="26" y="396"/>
                  <a:pt x="26" y="396"/>
                  <a:pt x="26" y="396"/>
                </a:cubicBezTo>
                <a:cubicBezTo>
                  <a:pt x="72" y="401"/>
                  <a:pt x="72" y="401"/>
                  <a:pt x="72" y="401"/>
                </a:cubicBezTo>
                <a:cubicBezTo>
                  <a:pt x="79" y="421"/>
                  <a:pt x="79" y="421"/>
                  <a:pt x="79" y="421"/>
                </a:cubicBezTo>
                <a:cubicBezTo>
                  <a:pt x="87" y="440"/>
                  <a:pt x="87" y="440"/>
                  <a:pt x="87" y="440"/>
                </a:cubicBezTo>
                <a:cubicBezTo>
                  <a:pt x="96" y="459"/>
                  <a:pt x="96" y="459"/>
                  <a:pt x="96" y="459"/>
                </a:cubicBezTo>
                <a:cubicBezTo>
                  <a:pt x="67" y="495"/>
                  <a:pt x="67" y="495"/>
                  <a:pt x="67" y="495"/>
                </a:cubicBezTo>
                <a:cubicBezTo>
                  <a:pt x="63" y="502"/>
                  <a:pt x="63" y="502"/>
                  <a:pt x="63" y="502"/>
                </a:cubicBezTo>
                <a:cubicBezTo>
                  <a:pt x="61" y="509"/>
                  <a:pt x="61" y="509"/>
                  <a:pt x="61" y="509"/>
                </a:cubicBezTo>
                <a:cubicBezTo>
                  <a:pt x="60" y="516"/>
                  <a:pt x="60" y="516"/>
                  <a:pt x="60" y="516"/>
                </a:cubicBezTo>
                <a:cubicBezTo>
                  <a:pt x="62" y="523"/>
                  <a:pt x="62" y="523"/>
                  <a:pt x="62" y="523"/>
                </a:cubicBezTo>
                <a:cubicBezTo>
                  <a:pt x="65" y="530"/>
                  <a:pt x="65" y="530"/>
                  <a:pt x="65" y="530"/>
                </a:cubicBezTo>
                <a:cubicBezTo>
                  <a:pt x="69" y="535"/>
                  <a:pt x="69" y="535"/>
                  <a:pt x="69" y="535"/>
                </a:cubicBezTo>
                <a:cubicBezTo>
                  <a:pt x="119" y="586"/>
                  <a:pt x="119" y="586"/>
                  <a:pt x="119" y="586"/>
                </a:cubicBezTo>
                <a:cubicBezTo>
                  <a:pt x="124" y="590"/>
                  <a:pt x="124" y="590"/>
                  <a:pt x="124" y="590"/>
                </a:cubicBezTo>
                <a:cubicBezTo>
                  <a:pt x="130" y="593"/>
                  <a:pt x="130" y="593"/>
                  <a:pt x="130" y="593"/>
                </a:cubicBezTo>
                <a:cubicBezTo>
                  <a:pt x="136" y="594"/>
                  <a:pt x="136" y="594"/>
                  <a:pt x="136" y="594"/>
                </a:cubicBezTo>
                <a:cubicBezTo>
                  <a:pt x="142" y="594"/>
                  <a:pt x="142" y="594"/>
                  <a:pt x="142" y="594"/>
                </a:cubicBezTo>
                <a:cubicBezTo>
                  <a:pt x="148" y="594"/>
                  <a:pt x="148" y="594"/>
                  <a:pt x="148" y="594"/>
                </a:cubicBezTo>
                <a:cubicBezTo>
                  <a:pt x="154" y="591"/>
                  <a:pt x="154" y="591"/>
                  <a:pt x="154" y="591"/>
                </a:cubicBezTo>
                <a:cubicBezTo>
                  <a:pt x="159" y="588"/>
                  <a:pt x="159" y="588"/>
                  <a:pt x="159" y="588"/>
                </a:cubicBezTo>
                <a:cubicBezTo>
                  <a:pt x="196" y="559"/>
                  <a:pt x="196" y="559"/>
                  <a:pt x="196" y="559"/>
                </a:cubicBezTo>
                <a:cubicBezTo>
                  <a:pt x="215" y="569"/>
                  <a:pt x="215" y="569"/>
                  <a:pt x="215" y="569"/>
                </a:cubicBezTo>
                <a:cubicBezTo>
                  <a:pt x="234" y="577"/>
                  <a:pt x="234" y="577"/>
                  <a:pt x="234" y="577"/>
                </a:cubicBezTo>
                <a:cubicBezTo>
                  <a:pt x="255" y="584"/>
                  <a:pt x="255" y="584"/>
                  <a:pt x="255" y="584"/>
                </a:cubicBezTo>
                <a:cubicBezTo>
                  <a:pt x="261" y="631"/>
                  <a:pt x="261" y="631"/>
                  <a:pt x="261" y="631"/>
                </a:cubicBezTo>
                <a:cubicBezTo>
                  <a:pt x="262" y="638"/>
                  <a:pt x="262" y="638"/>
                  <a:pt x="262" y="638"/>
                </a:cubicBezTo>
                <a:cubicBezTo>
                  <a:pt x="266" y="645"/>
                  <a:pt x="266" y="645"/>
                  <a:pt x="266" y="645"/>
                </a:cubicBezTo>
                <a:cubicBezTo>
                  <a:pt x="270" y="650"/>
                  <a:pt x="270" y="650"/>
                  <a:pt x="270" y="650"/>
                </a:cubicBezTo>
                <a:cubicBezTo>
                  <a:pt x="276" y="654"/>
                  <a:pt x="276" y="654"/>
                  <a:pt x="276" y="654"/>
                </a:cubicBezTo>
                <a:cubicBezTo>
                  <a:pt x="283" y="657"/>
                  <a:pt x="283" y="657"/>
                  <a:pt x="283" y="657"/>
                </a:cubicBezTo>
                <a:cubicBezTo>
                  <a:pt x="290" y="658"/>
                  <a:pt x="290" y="658"/>
                  <a:pt x="290" y="658"/>
                </a:cubicBezTo>
                <a:cubicBezTo>
                  <a:pt x="361" y="658"/>
                  <a:pt x="361" y="658"/>
                  <a:pt x="361" y="658"/>
                </a:cubicBezTo>
                <a:cubicBezTo>
                  <a:pt x="368" y="657"/>
                  <a:pt x="368" y="657"/>
                  <a:pt x="368" y="657"/>
                </a:cubicBezTo>
                <a:cubicBezTo>
                  <a:pt x="375" y="654"/>
                  <a:pt x="375" y="654"/>
                  <a:pt x="375" y="654"/>
                </a:cubicBezTo>
                <a:cubicBezTo>
                  <a:pt x="381" y="650"/>
                  <a:pt x="381" y="650"/>
                  <a:pt x="381" y="650"/>
                </a:cubicBezTo>
                <a:cubicBezTo>
                  <a:pt x="386" y="645"/>
                  <a:pt x="386" y="645"/>
                  <a:pt x="386" y="645"/>
                </a:cubicBezTo>
                <a:cubicBezTo>
                  <a:pt x="389" y="638"/>
                  <a:pt x="389" y="638"/>
                  <a:pt x="389" y="638"/>
                </a:cubicBezTo>
                <a:cubicBezTo>
                  <a:pt x="391" y="631"/>
                  <a:pt x="391" y="631"/>
                  <a:pt x="391" y="631"/>
                </a:cubicBezTo>
                <a:cubicBezTo>
                  <a:pt x="396" y="586"/>
                  <a:pt x="396" y="586"/>
                  <a:pt x="396" y="586"/>
                </a:cubicBezTo>
                <a:cubicBezTo>
                  <a:pt x="418" y="579"/>
                  <a:pt x="418" y="579"/>
                  <a:pt x="418" y="579"/>
                </a:cubicBezTo>
                <a:cubicBezTo>
                  <a:pt x="439" y="570"/>
                  <a:pt x="439" y="570"/>
                  <a:pt x="439" y="570"/>
                </a:cubicBezTo>
                <a:cubicBezTo>
                  <a:pt x="459" y="560"/>
                  <a:pt x="459" y="560"/>
                  <a:pt x="459" y="560"/>
                </a:cubicBezTo>
                <a:cubicBezTo>
                  <a:pt x="495" y="588"/>
                  <a:pt x="495" y="588"/>
                  <a:pt x="495" y="588"/>
                </a:cubicBezTo>
                <a:cubicBezTo>
                  <a:pt x="501" y="592"/>
                  <a:pt x="501" y="592"/>
                  <a:pt x="501" y="592"/>
                </a:cubicBezTo>
                <a:cubicBezTo>
                  <a:pt x="508" y="594"/>
                  <a:pt x="508" y="594"/>
                  <a:pt x="508" y="594"/>
                </a:cubicBezTo>
                <a:cubicBezTo>
                  <a:pt x="515" y="595"/>
                  <a:pt x="515" y="595"/>
                  <a:pt x="515" y="595"/>
                </a:cubicBezTo>
                <a:cubicBezTo>
                  <a:pt x="522" y="593"/>
                  <a:pt x="522" y="593"/>
                  <a:pt x="522" y="593"/>
                </a:cubicBezTo>
                <a:cubicBezTo>
                  <a:pt x="529" y="590"/>
                  <a:pt x="529" y="590"/>
                  <a:pt x="529" y="590"/>
                </a:cubicBezTo>
                <a:cubicBezTo>
                  <a:pt x="535" y="586"/>
                  <a:pt x="535" y="586"/>
                  <a:pt x="535" y="586"/>
                </a:cubicBezTo>
                <a:cubicBezTo>
                  <a:pt x="585" y="535"/>
                  <a:pt x="585" y="535"/>
                  <a:pt x="585" y="535"/>
                </a:cubicBezTo>
                <a:cubicBezTo>
                  <a:pt x="589" y="531"/>
                  <a:pt x="589" y="531"/>
                  <a:pt x="589" y="531"/>
                </a:cubicBezTo>
                <a:cubicBezTo>
                  <a:pt x="591" y="525"/>
                  <a:pt x="591" y="525"/>
                  <a:pt x="591" y="525"/>
                </a:cubicBezTo>
                <a:cubicBezTo>
                  <a:pt x="593" y="519"/>
                  <a:pt x="593" y="519"/>
                  <a:pt x="593" y="519"/>
                </a:cubicBezTo>
                <a:cubicBezTo>
                  <a:pt x="593" y="513"/>
                  <a:pt x="593" y="513"/>
                  <a:pt x="593" y="513"/>
                </a:cubicBezTo>
                <a:cubicBezTo>
                  <a:pt x="592" y="507"/>
                  <a:pt x="592" y="507"/>
                  <a:pt x="592" y="507"/>
                </a:cubicBezTo>
                <a:cubicBezTo>
                  <a:pt x="590" y="501"/>
                  <a:pt x="590" y="501"/>
                  <a:pt x="590" y="501"/>
                </a:cubicBezTo>
                <a:cubicBezTo>
                  <a:pt x="587" y="496"/>
                  <a:pt x="587" y="496"/>
                  <a:pt x="587" y="496"/>
                </a:cubicBezTo>
                <a:cubicBezTo>
                  <a:pt x="560" y="460"/>
                  <a:pt x="560" y="460"/>
                  <a:pt x="560" y="460"/>
                </a:cubicBezTo>
                <a:cubicBezTo>
                  <a:pt x="570" y="440"/>
                  <a:pt x="570" y="440"/>
                  <a:pt x="570" y="440"/>
                </a:cubicBezTo>
                <a:cubicBezTo>
                  <a:pt x="579" y="419"/>
                  <a:pt x="579" y="419"/>
                  <a:pt x="579" y="419"/>
                </a:cubicBezTo>
                <a:cubicBezTo>
                  <a:pt x="585" y="398"/>
                  <a:pt x="585" y="398"/>
                  <a:pt x="585" y="398"/>
                </a:cubicBezTo>
                <a:cubicBezTo>
                  <a:pt x="628" y="393"/>
                  <a:pt x="628" y="393"/>
                  <a:pt x="628" y="393"/>
                </a:cubicBezTo>
                <a:cubicBezTo>
                  <a:pt x="635" y="391"/>
                  <a:pt x="635" y="391"/>
                  <a:pt x="635" y="391"/>
                </a:cubicBezTo>
                <a:cubicBezTo>
                  <a:pt x="642" y="387"/>
                  <a:pt x="642" y="387"/>
                  <a:pt x="642" y="387"/>
                </a:cubicBezTo>
                <a:cubicBezTo>
                  <a:pt x="647" y="383"/>
                  <a:pt x="647" y="383"/>
                  <a:pt x="647" y="383"/>
                </a:cubicBezTo>
                <a:cubicBezTo>
                  <a:pt x="651" y="377"/>
                  <a:pt x="651" y="377"/>
                  <a:pt x="651" y="377"/>
                </a:cubicBezTo>
                <a:cubicBezTo>
                  <a:pt x="654" y="370"/>
                  <a:pt x="654" y="370"/>
                  <a:pt x="654" y="370"/>
                </a:cubicBezTo>
                <a:cubicBezTo>
                  <a:pt x="654" y="363"/>
                  <a:pt x="654" y="363"/>
                  <a:pt x="654" y="363"/>
                </a:cubicBezTo>
                <a:cubicBezTo>
                  <a:pt x="654" y="292"/>
                  <a:pt x="654" y="292"/>
                  <a:pt x="654" y="292"/>
                </a:cubicBezTo>
                <a:lnTo>
                  <a:pt x="654" y="284"/>
                </a:lnTo>
                <a:close/>
                <a:moveTo>
                  <a:pt x="327" y="559"/>
                </a:moveTo>
                <a:cubicBezTo>
                  <a:pt x="200" y="559"/>
                  <a:pt x="97" y="456"/>
                  <a:pt x="97" y="329"/>
                </a:cubicBezTo>
                <a:cubicBezTo>
                  <a:pt x="97" y="201"/>
                  <a:pt x="200" y="98"/>
                  <a:pt x="327" y="98"/>
                </a:cubicBezTo>
                <a:cubicBezTo>
                  <a:pt x="454" y="98"/>
                  <a:pt x="557" y="201"/>
                  <a:pt x="557" y="329"/>
                </a:cubicBezTo>
                <a:cubicBezTo>
                  <a:pt x="557" y="456"/>
                  <a:pt x="454" y="559"/>
                  <a:pt x="327" y="55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GB" sz="2533" dirty="0">
              <a:solidFill>
                <a:schemeClr val="accent6">
                  <a:lumMod val="100000"/>
                </a:schemeClr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F3B15222-75C7-499D-AEE1-023364138AC8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900" b="0" dirty="0" err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Estructura</a:t>
            </a:r>
            <a:r>
              <a:rPr lang="en-U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del </a:t>
            </a:r>
            <a:r>
              <a:rPr lang="en-US" sz="1900" b="0" dirty="0" err="1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proyecto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76422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BContent15">
            <a:extLst>
              <a:ext uri="{FF2B5EF4-FFF2-40B4-BE49-F238E27FC236}">
                <a16:creationId xmlns:a16="http://schemas.microsoft.com/office/drawing/2014/main" xmlns="" id="{45AEEE6A-40A5-4887-8EA3-6C153A12E8BC}"/>
              </a:ext>
            </a:extLst>
          </p:cNvPr>
          <p:cNvSpPr txBox="1">
            <a:spLocks/>
          </p:cNvSpPr>
          <p:nvPr/>
        </p:nvSpPr>
        <p:spPr>
          <a:xfrm>
            <a:off x="4670311" y="2173046"/>
            <a:ext cx="1714943" cy="410300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95843" rIns="0" bIns="0" rtlCol="0">
            <a:spAutoFit/>
          </a:bodyPr>
          <a:lstStyle/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Determinar el nivel actual de madurez digital de la ciudad en base a</a:t>
            </a:r>
            <a:endParaRPr lang="en-GB" b="0" dirty="0">
              <a:latin typeface="Helvetica" charset="0"/>
              <a:ea typeface="Helvetica" charset="0"/>
              <a:cs typeface="Helvetica" charset="0"/>
            </a:endParaRPr>
          </a:p>
          <a:p>
            <a:pPr marL="270061" lvl="2" indent="-130997">
              <a:spcBef>
                <a:spcPts val="400"/>
              </a:spcBef>
              <a:buSzPct val="100000"/>
              <a:buFont typeface="Arial Narrow"/>
              <a:buChar char="–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Herramienta de autoevaluación</a:t>
            </a:r>
          </a:p>
          <a:p>
            <a:pPr marL="270061" lvl="2" indent="-130997">
              <a:spcBef>
                <a:spcPts val="400"/>
              </a:spcBef>
              <a:buSzPct val="100000"/>
              <a:buFont typeface="Arial Narrow"/>
              <a:buChar char="–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Iniciativas digitales en curso</a:t>
            </a:r>
          </a:p>
          <a:p>
            <a:pPr marL="0" lvl="1" indent="-318136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Definir una visión y ambición común para la transformación digital de la ciudad y la modernización industrial.</a:t>
            </a:r>
          </a:p>
          <a:p>
            <a:pPr marL="0" lvl="1" indent="-318136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Crear una red de partes interesadas relevantes para participar en la transformación digital</a:t>
            </a:r>
            <a:endParaRPr lang="en-GB" b="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4" name="RBContent15">
            <a:extLst>
              <a:ext uri="{FF2B5EF4-FFF2-40B4-BE49-F238E27FC236}">
                <a16:creationId xmlns:a16="http://schemas.microsoft.com/office/drawing/2014/main" xmlns="" id="{9EB73B8F-156B-438E-8444-FDFA2183D676}"/>
              </a:ext>
            </a:extLst>
          </p:cNvPr>
          <p:cNvSpPr txBox="1">
            <a:spLocks/>
          </p:cNvSpPr>
          <p:nvPr/>
        </p:nvSpPr>
        <p:spPr>
          <a:xfrm>
            <a:off x="6446551" y="2173045"/>
            <a:ext cx="1721993" cy="285137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95843" rIns="0" bIns="0" rtlCol="0">
            <a:spAutoFit/>
          </a:bodyPr>
          <a:lstStyle/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Desarrollar una estrategia de transformación digital y modernización industrial basada en</a:t>
            </a:r>
            <a:endParaRPr lang="en-GB" b="0" dirty="0">
              <a:latin typeface="Helvetica" charset="0"/>
              <a:ea typeface="Helvetica" charset="0"/>
              <a:cs typeface="Helvetica" charset="0"/>
            </a:endParaRPr>
          </a:p>
          <a:p>
            <a:pPr marL="270061" lvl="2" indent="-130997">
              <a:spcBef>
                <a:spcPts val="400"/>
              </a:spcBef>
              <a:buSzPct val="100000"/>
              <a:buFont typeface="Arial Narrow"/>
              <a:buChar char="–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Definición de visión y ambición</a:t>
            </a:r>
          </a:p>
          <a:p>
            <a:pPr marL="270061" lvl="2" indent="-130997">
              <a:spcBef>
                <a:spcPts val="400"/>
              </a:spcBef>
              <a:buSzPct val="100000"/>
              <a:buFont typeface="Arial Narrow"/>
              <a:buChar char="–"/>
            </a:pPr>
            <a:r>
              <a:rPr lang="en-GB" b="0" dirty="0" err="1">
                <a:latin typeface="Helvetica" charset="0"/>
                <a:ea typeface="Helvetica" charset="0"/>
                <a:cs typeface="Helvetica" charset="0"/>
              </a:rPr>
              <a:t>Estrategias</a:t>
            </a:r>
            <a:r>
              <a:rPr lang="en-GB" b="0" dirty="0"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en-GB" b="0" dirty="0" err="1">
                <a:latin typeface="Helvetica" charset="0"/>
                <a:ea typeface="Helvetica" charset="0"/>
                <a:cs typeface="Helvetica" charset="0"/>
              </a:rPr>
              <a:t>políticas</a:t>
            </a:r>
            <a:r>
              <a:rPr lang="en-GB" b="0" dirty="0"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en-GB" b="0" dirty="0" err="1">
                <a:latin typeface="Helvetica" charset="0"/>
                <a:ea typeface="Helvetica" charset="0"/>
                <a:cs typeface="Helvetica" charset="0"/>
              </a:rPr>
              <a:t>existentes</a:t>
            </a:r>
            <a:endParaRPr lang="en-GB" b="0" dirty="0">
              <a:latin typeface="Helvetica" charset="0"/>
              <a:ea typeface="Helvetica" charset="0"/>
              <a:cs typeface="Helvetica" charset="0"/>
            </a:endParaRPr>
          </a:p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Integrar la estrategia entre todas las partes interesadas de la red</a:t>
            </a:r>
            <a:endParaRPr lang="en-GB" b="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" name="RBContent15">
            <a:extLst>
              <a:ext uri="{FF2B5EF4-FFF2-40B4-BE49-F238E27FC236}">
                <a16:creationId xmlns:a16="http://schemas.microsoft.com/office/drawing/2014/main" xmlns="" id="{FCEA0B6D-C67D-456E-9E8E-8570FDCB5CD7}"/>
              </a:ext>
            </a:extLst>
          </p:cNvPr>
          <p:cNvSpPr txBox="1">
            <a:spLocks/>
          </p:cNvSpPr>
          <p:nvPr/>
        </p:nvSpPr>
        <p:spPr>
          <a:xfrm>
            <a:off x="8222794" y="2173045"/>
            <a:ext cx="1752963" cy="36515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95843" rIns="0" bIns="0" rtlCol="0">
            <a:spAutoFit/>
          </a:bodyPr>
          <a:lstStyle/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Elaborar una hoja de ruta detallada para la aplicación de la estrategia.</a:t>
            </a:r>
          </a:p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Subdividir la estrategia en tareas de proyecto y definir prioridades</a:t>
            </a:r>
          </a:p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Definir la gobernanza y la dirección estratégica de la estrategia</a:t>
            </a:r>
          </a:p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Identificar las posibles fuentes de financiación para la ejecución de los proyectos prioritarios.</a:t>
            </a:r>
            <a:endParaRPr lang="en-GB" b="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6" name="RBContent15">
            <a:extLst>
              <a:ext uri="{FF2B5EF4-FFF2-40B4-BE49-F238E27FC236}">
                <a16:creationId xmlns:a16="http://schemas.microsoft.com/office/drawing/2014/main" xmlns="" id="{C8200112-9FE7-4970-9877-135DCCEB4BCE}"/>
              </a:ext>
            </a:extLst>
          </p:cNvPr>
          <p:cNvSpPr txBox="1">
            <a:spLocks/>
          </p:cNvSpPr>
          <p:nvPr/>
        </p:nvSpPr>
        <p:spPr>
          <a:xfrm>
            <a:off x="9999033" y="2173045"/>
            <a:ext cx="1814264" cy="154845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95843" rIns="0" bIns="0" rtlCol="0">
            <a:spAutoFit/>
          </a:bodyPr>
          <a:lstStyle/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  <a:sym typeface="+mn-lt"/>
              </a:rPr>
              <a:t>Identificar indicadores de rendimiento personalizados  </a:t>
            </a:r>
          </a:p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  <a:sym typeface="+mn-lt"/>
              </a:rPr>
              <a:t>Monitorizar el progreso de la implementación de la estrategia</a:t>
            </a:r>
            <a:endParaRPr lang="en-GB" b="0" dirty="0">
              <a:latin typeface="Helvetica" charset="0"/>
              <a:ea typeface="Helvetica" charset="0"/>
              <a:cs typeface="Helvetica" charset="0"/>
              <a:sym typeface="+mn-lt"/>
            </a:endParaRPr>
          </a:p>
        </p:txBody>
      </p:sp>
      <p:sp>
        <p:nvSpPr>
          <p:cNvPr id="7" name="RbLeanShape Arrow Chevron Option 1 118">
            <a:extLst>
              <a:ext uri="{FF2B5EF4-FFF2-40B4-BE49-F238E27FC236}">
                <a16:creationId xmlns:a16="http://schemas.microsoft.com/office/drawing/2014/main" xmlns="" id="{1260602C-EDEB-4932-A377-0C833C562651}"/>
              </a:ext>
            </a:extLst>
          </p:cNvPr>
          <p:cNvSpPr>
            <a:spLocks/>
          </p:cNvSpPr>
          <p:nvPr/>
        </p:nvSpPr>
        <p:spPr>
          <a:xfrm>
            <a:off x="6439503" y="1381125"/>
            <a:ext cx="1986913" cy="791920"/>
          </a:xfrm>
          <a:prstGeom prst="chevron">
            <a:avLst>
              <a:gd name="adj" fmla="val 47286"/>
            </a:avLst>
          </a:prstGeom>
          <a:solidFill>
            <a:schemeClr val="bg1"/>
          </a:solidFill>
          <a:ln w="22225" cap="flat" cmpd="sng" algn="ctr">
            <a:solidFill>
              <a:schemeClr val="accent6"/>
            </a:solidFill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88000" tIns="0" rIns="0" bIns="0" rtlCol="0" anchor="ctr"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GB" sz="1600" b="0" dirty="0" err="1">
                <a:latin typeface="Helvetica" panose="020B0604020202020204" pitchFamily="34" charset="0"/>
                <a:cs typeface="Helvetica" panose="020B0604020202020204" pitchFamily="34" charset="0"/>
              </a:rPr>
              <a:t>Estrategia</a:t>
            </a:r>
            <a:r>
              <a:rPr lang="en-GB" sz="1533" b="0" dirty="0">
                <a:latin typeface="Helvetica" charset="0"/>
                <a:ea typeface="Helvetica" charset="0"/>
                <a:cs typeface="Helvetica" charset="0"/>
              </a:rPr>
              <a:t> </a:t>
            </a:r>
          </a:p>
        </p:txBody>
      </p:sp>
      <p:sp>
        <p:nvSpPr>
          <p:cNvPr id="8" name="RbLeanShape Arrow Chevron Option 1 220">
            <a:extLst>
              <a:ext uri="{FF2B5EF4-FFF2-40B4-BE49-F238E27FC236}">
                <a16:creationId xmlns:a16="http://schemas.microsoft.com/office/drawing/2014/main" xmlns="" id="{A3BB3EBE-AE45-4BA9-8C4D-D3A86F58B11E}"/>
              </a:ext>
            </a:extLst>
          </p:cNvPr>
          <p:cNvSpPr>
            <a:spLocks/>
          </p:cNvSpPr>
          <p:nvPr/>
        </p:nvSpPr>
        <p:spPr>
          <a:xfrm>
            <a:off x="8212221" y="1381125"/>
            <a:ext cx="1986913" cy="791920"/>
          </a:xfrm>
          <a:prstGeom prst="chevron">
            <a:avLst/>
          </a:prstGeom>
          <a:solidFill>
            <a:schemeClr val="bg1"/>
          </a:solidFill>
          <a:ln w="22225" cap="flat" cmpd="sng" algn="ctr">
            <a:solidFill>
              <a:schemeClr val="accent6"/>
            </a:solidFill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88000" tIns="0" rIns="0" bIns="0" rtlCol="0" anchor="ctr"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GB" sz="1533" b="0" dirty="0">
                <a:solidFill>
                  <a:schemeClr val="accent5">
                    <a:lumMod val="100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</a:p>
        </p:txBody>
      </p:sp>
      <p:sp>
        <p:nvSpPr>
          <p:cNvPr id="9" name="RbLeanShape Arrow Chevron Option 1 016">
            <a:extLst>
              <a:ext uri="{FF2B5EF4-FFF2-40B4-BE49-F238E27FC236}">
                <a16:creationId xmlns:a16="http://schemas.microsoft.com/office/drawing/2014/main" xmlns="" id="{7386D285-DA30-4329-820B-8E71256E060F}"/>
              </a:ext>
            </a:extLst>
          </p:cNvPr>
          <p:cNvSpPr>
            <a:spLocks/>
          </p:cNvSpPr>
          <p:nvPr/>
        </p:nvSpPr>
        <p:spPr>
          <a:xfrm>
            <a:off x="2894069" y="1381125"/>
            <a:ext cx="1986913" cy="791920"/>
          </a:xfrm>
          <a:prstGeom prst="homePlate">
            <a:avLst/>
          </a:prstGeom>
          <a:solidFill>
            <a:schemeClr val="bg1"/>
          </a:solidFill>
          <a:ln w="22225" cap="flat" cmpd="sng" algn="ctr">
            <a:solidFill>
              <a:schemeClr val="accent6"/>
            </a:solidFill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288000" tIns="0" rIns="0" bIns="0" rtlCol="0" anchor="ctr"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GB" sz="1600" b="0" dirty="0" err="1">
                <a:latin typeface="Helvetica" panose="020B0604020202020204" pitchFamily="34" charset="0"/>
                <a:cs typeface="Helvetica" panose="020B0604020202020204" pitchFamily="34" charset="0"/>
              </a:rPr>
              <a:t>Preparación</a:t>
            </a:r>
            <a:r>
              <a:rPr lang="en-GB" sz="1533" b="0" dirty="0">
                <a:latin typeface="Helvetica" charset="0"/>
                <a:ea typeface="Helvetica" charset="0"/>
                <a:cs typeface="Helvetica" charset="0"/>
              </a:rPr>
              <a:t> </a:t>
            </a:r>
          </a:p>
        </p:txBody>
      </p:sp>
      <p:sp>
        <p:nvSpPr>
          <p:cNvPr id="10" name="RBContent15">
            <a:extLst>
              <a:ext uri="{FF2B5EF4-FFF2-40B4-BE49-F238E27FC236}">
                <a16:creationId xmlns:a16="http://schemas.microsoft.com/office/drawing/2014/main" xmlns="" id="{7E94C49C-1BB1-4147-A5A4-3F6B92CA5D09}"/>
              </a:ext>
            </a:extLst>
          </p:cNvPr>
          <p:cNvSpPr txBox="1">
            <a:spLocks/>
          </p:cNvSpPr>
          <p:nvPr/>
        </p:nvSpPr>
        <p:spPr>
          <a:xfrm>
            <a:off x="2765385" y="2173045"/>
            <a:ext cx="1772717" cy="109705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square" lIns="0" tIns="95843" rIns="0" bIns="0" rtlCol="0">
            <a:spAutoFit/>
          </a:bodyPr>
          <a:lstStyle/>
          <a:p>
            <a:pPr marL="136863" lvl="1" indent="-136863">
              <a:spcBef>
                <a:spcPts val="400"/>
              </a:spcBef>
              <a:buSzPct val="100000"/>
              <a:buFont typeface="Arial"/>
              <a:buChar char="•"/>
            </a:pPr>
            <a:r>
              <a:rPr lang="es-ES" b="0" dirty="0">
                <a:latin typeface="Helvetica" charset="0"/>
                <a:ea typeface="Helvetica" charset="0"/>
                <a:cs typeface="Helvetica" charset="0"/>
              </a:rPr>
              <a:t>Preparar a la ciudad y al equipo de expertos para la prestación de servicios de asesoramiento </a:t>
            </a:r>
            <a:endParaRPr lang="en-GB" b="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11" name="RbLeanShape Arrow Chevron Option 1 016">
            <a:extLst>
              <a:ext uri="{FF2B5EF4-FFF2-40B4-BE49-F238E27FC236}">
                <a16:creationId xmlns:a16="http://schemas.microsoft.com/office/drawing/2014/main" xmlns="" id="{F2AA471A-EEBF-4087-BC13-64A9746E4EF9}"/>
              </a:ext>
            </a:extLst>
          </p:cNvPr>
          <p:cNvSpPr>
            <a:spLocks/>
          </p:cNvSpPr>
          <p:nvPr/>
        </p:nvSpPr>
        <p:spPr>
          <a:xfrm>
            <a:off x="4666786" y="1381125"/>
            <a:ext cx="1986913" cy="791920"/>
          </a:xfrm>
          <a:prstGeom prst="chevron">
            <a:avLst/>
          </a:prstGeom>
          <a:solidFill>
            <a:schemeClr val="bg1"/>
          </a:solidFill>
          <a:ln w="22225" cap="flat" cmpd="sng" algn="ctr">
            <a:solidFill>
              <a:schemeClr val="accent6"/>
            </a:solidFill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288000" tIns="0" rIns="0" bIns="0" rtlCol="0" anchor="ctr"/>
          <a:lstStyle/>
          <a:p>
            <a:pPr>
              <a:lnSpc>
                <a:spcPct val="90000"/>
              </a:lnSpc>
              <a:spcBef>
                <a:spcPts val="0"/>
              </a:spcBef>
            </a:pPr>
            <a:endParaRPr lang="en-GB" sz="1733" b="0" dirty="0">
              <a:solidFill>
                <a:schemeClr val="accent5">
                  <a:lumMod val="100000"/>
                </a:schemeClr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12" name="RbNavigator">
            <a:extLst>
              <a:ext uri="{FF2B5EF4-FFF2-40B4-BE49-F238E27FC236}">
                <a16:creationId xmlns:a16="http://schemas.microsoft.com/office/drawing/2014/main" xmlns="" id="{159079A3-1D72-497F-9269-AB00D9AFB84E}"/>
              </a:ext>
            </a:extLst>
          </p:cNvPr>
          <p:cNvSpPr txBox="1"/>
          <p:nvPr/>
        </p:nvSpPr>
        <p:spPr>
          <a:xfrm>
            <a:off x="4935229" y="1381125"/>
            <a:ext cx="253648" cy="25739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  <a:sym typeface="+mn-lt"/>
              </a:rPr>
              <a:t>1</a:t>
            </a:r>
          </a:p>
        </p:txBody>
      </p:sp>
      <p:sp>
        <p:nvSpPr>
          <p:cNvPr id="13" name="RbNavigator">
            <a:extLst>
              <a:ext uri="{FF2B5EF4-FFF2-40B4-BE49-F238E27FC236}">
                <a16:creationId xmlns:a16="http://schemas.microsoft.com/office/drawing/2014/main" xmlns="" id="{325D6FFE-D99B-4C33-92B5-C78E6A37F6C0}"/>
              </a:ext>
            </a:extLst>
          </p:cNvPr>
          <p:cNvSpPr txBox="1"/>
          <p:nvPr/>
        </p:nvSpPr>
        <p:spPr>
          <a:xfrm>
            <a:off x="6757570" y="1381125"/>
            <a:ext cx="253648" cy="25739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  <a:sym typeface="+mn-lt"/>
              </a:rPr>
              <a:t>2</a:t>
            </a:r>
          </a:p>
        </p:txBody>
      </p:sp>
      <p:sp>
        <p:nvSpPr>
          <p:cNvPr id="14" name="RbNavigator">
            <a:extLst>
              <a:ext uri="{FF2B5EF4-FFF2-40B4-BE49-F238E27FC236}">
                <a16:creationId xmlns:a16="http://schemas.microsoft.com/office/drawing/2014/main" xmlns="" id="{21345B92-7D57-4657-B070-46832B35E415}"/>
              </a:ext>
            </a:extLst>
          </p:cNvPr>
          <p:cNvSpPr txBox="1"/>
          <p:nvPr/>
        </p:nvSpPr>
        <p:spPr>
          <a:xfrm>
            <a:off x="8555100" y="1381125"/>
            <a:ext cx="253648" cy="25739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  <a:sym typeface="+mn-lt"/>
              </a:rPr>
              <a:t>3</a:t>
            </a:r>
          </a:p>
        </p:txBody>
      </p:sp>
      <p:sp>
        <p:nvSpPr>
          <p:cNvPr id="15" name="RbLeanShape Arrow Chevron Option 1 322">
            <a:extLst>
              <a:ext uri="{FF2B5EF4-FFF2-40B4-BE49-F238E27FC236}">
                <a16:creationId xmlns:a16="http://schemas.microsoft.com/office/drawing/2014/main" xmlns="" id="{481309BA-C49C-4530-B61C-67E58427ADC9}"/>
              </a:ext>
            </a:extLst>
          </p:cNvPr>
          <p:cNvSpPr>
            <a:spLocks/>
          </p:cNvSpPr>
          <p:nvPr/>
        </p:nvSpPr>
        <p:spPr>
          <a:xfrm>
            <a:off x="9975757" y="1381126"/>
            <a:ext cx="1986913" cy="791920"/>
          </a:xfrm>
          <a:prstGeom prst="chevron">
            <a:avLst/>
          </a:prstGeom>
          <a:solidFill>
            <a:schemeClr val="bg1"/>
          </a:solidFill>
          <a:ln w="22225" cap="flat" cmpd="sng" algn="ctr">
            <a:solidFill>
              <a:schemeClr val="accent6"/>
            </a:solidFill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288000" tIns="0" rIns="0" bIns="0" rtlCol="0" anchor="ctr"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GB" sz="1600" b="0" dirty="0" err="1">
                <a:latin typeface="Helvetica" panose="020B0604020202020204" pitchFamily="34" charset="0"/>
                <a:cs typeface="Helvetica" panose="020B0604020202020204" pitchFamily="34" charset="0"/>
              </a:rPr>
              <a:t>Seguimiento</a:t>
            </a:r>
            <a:r>
              <a:rPr lang="en-GB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GB" sz="1600" b="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GB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&amp; </a:t>
            </a:r>
            <a:r>
              <a:rPr lang="en-GB" sz="1600" b="0" dirty="0" err="1">
                <a:latin typeface="Helvetica" panose="020B0604020202020204" pitchFamily="34" charset="0"/>
                <a:cs typeface="Helvetica" panose="020B0604020202020204" pitchFamily="34" charset="0"/>
              </a:rPr>
              <a:t>Ejecución</a:t>
            </a:r>
            <a:endParaRPr lang="en-GB" sz="16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6" name="RbNavigator">
            <a:extLst>
              <a:ext uri="{FF2B5EF4-FFF2-40B4-BE49-F238E27FC236}">
                <a16:creationId xmlns:a16="http://schemas.microsoft.com/office/drawing/2014/main" xmlns="" id="{482D05BC-5DA3-4471-8A36-407E97623DE4}"/>
              </a:ext>
            </a:extLst>
          </p:cNvPr>
          <p:cNvSpPr txBox="1"/>
          <p:nvPr/>
        </p:nvSpPr>
        <p:spPr>
          <a:xfrm>
            <a:off x="10253383" y="1381125"/>
            <a:ext cx="253648" cy="25739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  <a:sym typeface="+mn-lt"/>
              </a:rPr>
              <a:t>4</a:t>
            </a:r>
          </a:p>
        </p:txBody>
      </p:sp>
      <p:sp>
        <p:nvSpPr>
          <p:cNvPr id="17" name="RbNavigator">
            <a:extLst>
              <a:ext uri="{FF2B5EF4-FFF2-40B4-BE49-F238E27FC236}">
                <a16:creationId xmlns:a16="http://schemas.microsoft.com/office/drawing/2014/main" xmlns="" id="{F76821A0-2B48-4A27-ABC6-C1B44753BF19}"/>
              </a:ext>
            </a:extLst>
          </p:cNvPr>
          <p:cNvSpPr txBox="1">
            <a:spLocks/>
          </p:cNvSpPr>
          <p:nvPr/>
        </p:nvSpPr>
        <p:spPr>
          <a:xfrm>
            <a:off x="2894067" y="1381125"/>
            <a:ext cx="253648" cy="25739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kumimoji="1" lang="en-GB" sz="1733" dirty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  <a:sym typeface="+mn-lt"/>
              </a:rPr>
              <a:t>0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xmlns="" id="{6A2AE0F3-E823-41F8-B785-6967D77366A2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5262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a trayectoria de la transformación digital consta de cuatro pasos principales, repartidos en un período de 14 a 18 meses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3AE61ADD-03EA-44ED-A80E-632DE9A124D0}"/>
              </a:ext>
            </a:extLst>
          </p:cNvPr>
          <p:cNvSpPr/>
          <p:nvPr/>
        </p:nvSpPr>
        <p:spPr>
          <a:xfrm>
            <a:off x="8673146" y="1620119"/>
            <a:ext cx="1438214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GB" sz="1600" b="0" dirty="0" err="1">
                <a:latin typeface="Helvetica" panose="020B0604020202020204" pitchFamily="34" charset="0"/>
                <a:cs typeface="Helvetica" panose="020B0604020202020204" pitchFamily="34" charset="0"/>
              </a:rPr>
              <a:t>Hoja</a:t>
            </a:r>
            <a:r>
              <a:rPr lang="en-GB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 de </a:t>
            </a:r>
            <a:r>
              <a:rPr lang="en-GB" sz="1600" b="0" dirty="0" err="1">
                <a:latin typeface="Helvetica" panose="020B0604020202020204" pitchFamily="34" charset="0"/>
                <a:cs typeface="Helvetica" panose="020B0604020202020204" pitchFamily="34" charset="0"/>
              </a:rPr>
              <a:t>Ruta</a:t>
            </a:r>
            <a:r>
              <a:rPr lang="en-GB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713990A7-65E5-4C33-843A-1801AA0F2154}"/>
              </a:ext>
            </a:extLst>
          </p:cNvPr>
          <p:cNvSpPr/>
          <p:nvPr/>
        </p:nvSpPr>
        <p:spPr>
          <a:xfrm>
            <a:off x="5111539" y="1539009"/>
            <a:ext cx="143272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GB" sz="1600" b="0" dirty="0" err="1">
                <a:latin typeface="Helvetica" panose="020B0604020202020204" pitchFamily="34" charset="0"/>
                <a:cs typeface="Helvetica" panose="020B0604020202020204" pitchFamily="34" charset="0"/>
              </a:rPr>
              <a:t>Visión</a:t>
            </a:r>
            <a:r>
              <a:rPr lang="en-GB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 digital </a:t>
            </a:r>
            <a:br>
              <a:rPr lang="en-GB" sz="1600" b="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GB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&amp; meta</a:t>
            </a: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5117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">
            <a:extLst>
              <a:ext uri="{FF2B5EF4-FFF2-40B4-BE49-F238E27FC236}">
                <a16:creationId xmlns:a16="http://schemas.microsoft.com/office/drawing/2014/main" xmlns="" id="{B1750B65-133D-4AFE-B448-1179E1409FE3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2631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a trayectoria de la transformación digital: 2 bloques de construcción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01EC0D9-ECFF-45AC-8A38-4FF87D8EC2D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720"/>
          <a:stretch/>
        </p:blipFill>
        <p:spPr>
          <a:xfrm>
            <a:off x="2675783" y="1425301"/>
            <a:ext cx="9371073" cy="46157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4689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xmlns="" id="{6C99F48F-4F29-43DF-8CFB-65999723FF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87" name="think-cell Slide" r:id="rId19" imgW="592" imgH="591" progId="TCLayout.ActiveDocument.1">
                  <p:embed/>
                </p:oleObj>
              </mc:Choice>
              <mc:Fallback>
                <p:oleObj name="think-cell Slide" r:id="rId19" imgW="592" imgH="591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xmlns="" id="{6C99F48F-4F29-43DF-8CFB-65999723FF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67919033-DE57-4FB6-82FA-73FBA5B23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Sesión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5:</a:t>
            </a:r>
            <a:endParaRPr lang="fr-BE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37E003B-54BC-49C8-893B-03DF6290A8F3}"/>
              </a:ext>
            </a:extLst>
          </p:cNvPr>
          <p:cNvGrpSpPr/>
          <p:nvPr/>
        </p:nvGrpSpPr>
        <p:grpSpPr>
          <a:xfrm>
            <a:off x="3149421" y="1309610"/>
            <a:ext cx="8471318" cy="3825040"/>
            <a:chOff x="3020776" y="579506"/>
            <a:chExt cx="7696350" cy="3475120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xmlns="" id="{CCE52E68-20AE-43B0-B080-F57CB72D5DC3}"/>
                </a:ext>
              </a:extLst>
            </p:cNvPr>
            <p:cNvCxnSpPr>
              <a:cxnSpLocks/>
            </p:cNvCxnSpPr>
            <p:nvPr/>
          </p:nvCxnSpPr>
          <p:spPr>
            <a:xfrm>
              <a:off x="4815554" y="919230"/>
              <a:ext cx="0" cy="3067554"/>
            </a:xfrm>
            <a:prstGeom prst="line">
              <a:avLst/>
            </a:prstGeom>
            <a:ln w="25400" cap="rnd">
              <a:solidFill>
                <a:schemeClr val="accent3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BContent15">
              <a:extLst>
                <a:ext uri="{FF2B5EF4-FFF2-40B4-BE49-F238E27FC236}">
                  <a16:creationId xmlns:a16="http://schemas.microsoft.com/office/drawing/2014/main" xmlns="" id="{38301B0C-22F6-4387-893F-8F279007B808}"/>
                </a:ext>
              </a:extLst>
            </p:cNvPr>
            <p:cNvSpPr txBox="1">
              <a:spLocks/>
            </p:cNvSpPr>
            <p:nvPr/>
          </p:nvSpPr>
          <p:spPr>
            <a:xfrm>
              <a:off x="4580605" y="579506"/>
              <a:ext cx="478264" cy="478264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marL="0" lvl="1" algn="ctr">
                <a:spcBef>
                  <a:spcPts val="0"/>
                </a:spcBef>
                <a:buSzPct val="100000"/>
              </a:pPr>
              <a:r>
                <a:rPr lang="en-GB" sz="1000" dirty="0">
                  <a:solidFill>
                    <a:schemeClr val="lt1">
                      <a:lumMod val="100000"/>
                    </a:schemeClr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Hoy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xmlns="" id="{7401A2DE-0986-4619-87D5-78BBE9F3B78B}"/>
                </a:ext>
              </a:extLst>
            </p:cNvPr>
            <p:cNvGrpSpPr/>
            <p:nvPr/>
          </p:nvGrpSpPr>
          <p:grpSpPr>
            <a:xfrm>
              <a:off x="3020776" y="1142677"/>
              <a:ext cx="7696350" cy="2911949"/>
              <a:chOff x="3020776" y="1381944"/>
              <a:chExt cx="7696350" cy="2911949"/>
            </a:xfrm>
          </p:grpSpPr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xmlns="" id="{56761730-72E7-4766-A8BD-F6B036413883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>
              <a:xfrm>
                <a:off x="3055361" y="2154740"/>
                <a:ext cx="490735" cy="119458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vert270" wrap="square" lIns="0" tIns="0" rIns="0" bIns="0" rtlCol="0" anchor="t" anchorCtr="0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s-ES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Servicios de asesoramiento sobre el terreno</a:t>
                </a: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xmlns="" id="{64E82E9B-4DDB-4690-BCA0-ED3678F60D3A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>
              <a:xfrm>
                <a:off x="3020776" y="3505216"/>
                <a:ext cx="163578" cy="788677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vert="vert270" wrap="square" lIns="0" tIns="0" rIns="0" bIns="0" rtlCol="0" anchor="t" anchorCtr="0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Academia </a:t>
                </a:r>
                <a:endParaRPr lang="en-GB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xmlns="" id="{E72EC8B6-E8C1-453C-9E86-ECDCDC0AEF9B}"/>
                  </a:ext>
                </a:extLst>
              </p:cNvPr>
              <p:cNvCxnSpPr/>
              <p:nvPr/>
            </p:nvCxnSpPr>
            <p:spPr>
              <a:xfrm>
                <a:off x="3034503" y="3374489"/>
                <a:ext cx="7476384" cy="0"/>
              </a:xfrm>
              <a:prstGeom prst="line">
                <a:avLst/>
              </a:prstGeom>
              <a:ln w="9525" cmpd="sng">
                <a:solidFill>
                  <a:schemeClr val="accent3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xmlns="" id="{62E02B8F-2CF9-42B6-B9F3-6AC080378078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>
              <a:xfrm>
                <a:off x="7244166" y="3864268"/>
                <a:ext cx="697545" cy="22649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Seminario</a:t>
                </a: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de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Estrategia</a:t>
                </a:r>
                <a:endParaRPr lang="en-GB" sz="900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8" name="Donut 164">
                <a:extLst>
                  <a:ext uri="{FF2B5EF4-FFF2-40B4-BE49-F238E27FC236}">
                    <a16:creationId xmlns:a16="http://schemas.microsoft.com/office/drawing/2014/main" xmlns="" id="{F2A9864E-ED5B-4D67-920D-BD1113200C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16800" y="3589036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xmlns="" id="{17C2EC73-DAD2-476B-B0D3-2B7DE427AFC3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>
              <a:xfrm>
                <a:off x="8909048" y="3873452"/>
                <a:ext cx="615103" cy="22649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Seminario</a:t>
                </a: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Hoja</a:t>
                </a: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de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Ruta</a:t>
                </a:r>
                <a:endParaRPr lang="en-GB" sz="900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0" name="Donut 164">
                <a:extLst>
                  <a:ext uri="{FF2B5EF4-FFF2-40B4-BE49-F238E27FC236}">
                    <a16:creationId xmlns:a16="http://schemas.microsoft.com/office/drawing/2014/main" xmlns="" id="{25BF69D0-4D0F-4116-BAD5-49AA707902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18452" y="3589036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xmlns="" id="{295EE1D1-DDD7-41F1-BB3A-210B4AC10FAF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>
              <a:xfrm>
                <a:off x="4679916" y="3873452"/>
                <a:ext cx="557303" cy="226493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Seminario</a:t>
                </a: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de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Inicio</a:t>
                </a:r>
                <a:endParaRPr lang="en-GB" sz="900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2" name="Donut 164">
                <a:extLst>
                  <a:ext uri="{FF2B5EF4-FFF2-40B4-BE49-F238E27FC236}">
                    <a16:creationId xmlns:a16="http://schemas.microsoft.com/office/drawing/2014/main" xmlns="" id="{53FDC8F2-E8AE-4744-882D-4AD5317D3D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34021" y="3589036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xmlns="" id="{B01451BF-6C6A-4174-867E-AAB0BB2432EB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>
              <a:xfrm>
                <a:off x="5977163" y="2745847"/>
                <a:ext cx="555363" cy="22649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Taller de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Ambición</a:t>
                </a:r>
                <a:endParaRPr lang="en-GB" sz="900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4" name="Donut 164">
                <a:extLst>
                  <a:ext uri="{FF2B5EF4-FFF2-40B4-BE49-F238E27FC236}">
                    <a16:creationId xmlns:a16="http://schemas.microsoft.com/office/drawing/2014/main" xmlns="" id="{6AAB092F-CC7D-430C-81A3-40DDC7C5AF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042917" y="2465908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xmlns="" id="{0CDFAD93-C692-43A4-8B14-444E662A2D6E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>
              <a:xfrm>
                <a:off x="6806240" y="2745847"/>
                <a:ext cx="555363" cy="22649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Talleres</a:t>
                </a: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de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Estrategia</a:t>
                </a:r>
                <a:endParaRPr lang="en-GB" sz="900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6" name="Donut 164">
                <a:extLst>
                  <a:ext uri="{FF2B5EF4-FFF2-40B4-BE49-F238E27FC236}">
                    <a16:creationId xmlns:a16="http://schemas.microsoft.com/office/drawing/2014/main" xmlns="" id="{000CB512-0BDE-4272-8DA1-A42751DD42D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784231" y="2465908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xmlns="" id="{847BE0F0-85D2-4D3E-B2EE-7EEAD710E8CD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>
              <a:xfrm>
                <a:off x="8287886" y="2745847"/>
                <a:ext cx="621161" cy="22649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Taller de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planificación</a:t>
                </a:r>
                <a:endParaRPr lang="en-GB" sz="900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8" name="Donut 164">
                <a:extLst>
                  <a:ext uri="{FF2B5EF4-FFF2-40B4-BE49-F238E27FC236}">
                    <a16:creationId xmlns:a16="http://schemas.microsoft.com/office/drawing/2014/main" xmlns="" id="{B11F499C-7E4F-4441-AB87-B1E6455216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496481" y="2465908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xmlns="" id="{5FF82B38-B23D-4519-AF17-BBBE35193601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>
              <a:xfrm>
                <a:off x="5466907" y="2745847"/>
                <a:ext cx="432572" cy="33974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Visita</a:t>
                </a: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de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evalua</a:t>
                </a: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-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ción</a:t>
                </a:r>
                <a:endParaRPr lang="en-GB" sz="900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0" name="Donut 164">
                <a:extLst>
                  <a:ext uri="{FF2B5EF4-FFF2-40B4-BE49-F238E27FC236}">
                    <a16:creationId xmlns:a16="http://schemas.microsoft.com/office/drawing/2014/main" xmlns="" id="{88A6761D-AB13-47F1-ABBD-18C44108D7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25590" y="2465908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xmlns="" id="{CCA37746-8342-4030-9C9D-BD3FC16D349B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>
              <a:xfrm>
                <a:off x="5036491" y="2745847"/>
                <a:ext cx="390345" cy="24929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SAT &amp; KPIs</a:t>
                </a:r>
              </a:p>
            </p:txBody>
          </p:sp>
          <p:sp>
            <p:nvSpPr>
              <p:cNvPr id="22" name="Donut 164">
                <a:extLst>
                  <a:ext uri="{FF2B5EF4-FFF2-40B4-BE49-F238E27FC236}">
                    <a16:creationId xmlns:a16="http://schemas.microsoft.com/office/drawing/2014/main" xmlns="" id="{F74104F4-67A3-40B2-97EB-AE11CD5175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69676" y="2465908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3" name="Donut 164">
                <a:extLst>
                  <a:ext uri="{FF2B5EF4-FFF2-40B4-BE49-F238E27FC236}">
                    <a16:creationId xmlns:a16="http://schemas.microsoft.com/office/drawing/2014/main" xmlns="" id="{7E226F52-34AE-4650-90B1-A5E4D0F03AE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088698" y="2465908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xmlns="" id="{B5135B77-FAE3-4364-9DC4-21591D9EE3BA}"/>
                  </a:ext>
                </a:extLst>
              </p:cNvPr>
              <p:cNvCxnSpPr>
                <a:cxnSpLocks/>
                <a:stCxn id="16" idx="3"/>
                <a:endCxn id="23" idx="1"/>
              </p:cNvCxnSpPr>
              <p:nvPr/>
            </p:nvCxnSpPr>
            <p:spPr>
              <a:xfrm>
                <a:off x="6910505" y="2580399"/>
                <a:ext cx="178193" cy="0"/>
              </a:xfrm>
              <a:prstGeom prst="line">
                <a:avLst/>
              </a:prstGeom>
              <a:ln w="15875" cmpd="sng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RbLeanShape Arrow Chevron Option 1 016">
                <a:extLst>
                  <a:ext uri="{FF2B5EF4-FFF2-40B4-BE49-F238E27FC236}">
                    <a16:creationId xmlns:a16="http://schemas.microsoft.com/office/drawing/2014/main" xmlns="" id="{7A9AB59A-0B80-4D3F-99FE-97D991CA16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28707" y="1381944"/>
                <a:ext cx="1548000" cy="576000"/>
              </a:xfrm>
              <a:prstGeom prst="chevron">
                <a:avLst/>
              </a:prstGeom>
              <a:solidFill>
                <a:schemeClr val="bg1"/>
              </a:solidFill>
              <a:ln w="22225" cap="flat" cmpd="sng" algn="ctr">
                <a:solidFill>
                  <a:schemeClr val="accent6"/>
                </a:solidFill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179705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GB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Visión</a:t>
                </a:r>
                <a:r>
                  <a:rPr lang="en-GB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digital </a:t>
                </a:r>
                <a:br>
                  <a:rPr lang="en-GB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</a:br>
                <a:r>
                  <a:rPr lang="en-GB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&amp; meta</a:t>
                </a:r>
              </a:p>
            </p:txBody>
          </p:sp>
          <p:sp>
            <p:nvSpPr>
              <p:cNvPr id="26" name="RbLeanShape Arrow Chevron Option 1 118">
                <a:extLst>
                  <a:ext uri="{FF2B5EF4-FFF2-40B4-BE49-F238E27FC236}">
                    <a16:creationId xmlns:a16="http://schemas.microsoft.com/office/drawing/2014/main" xmlns="" id="{3B568BBA-6AE8-4C8C-9D1E-0A25E99BB9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75512" y="1381944"/>
                <a:ext cx="1548000" cy="576000"/>
              </a:xfrm>
              <a:prstGeom prst="chevron">
                <a:avLst/>
              </a:prstGeom>
              <a:solidFill>
                <a:schemeClr val="bg1"/>
              </a:solidFill>
              <a:ln w="22225" cap="flat" cmpd="sng" algn="ctr">
                <a:solidFill>
                  <a:schemeClr val="accent6"/>
                </a:solidFill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79705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GB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Estrategia</a:t>
                </a:r>
                <a:r>
                  <a:rPr lang="en-GB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</a:t>
                </a:r>
              </a:p>
            </p:txBody>
          </p:sp>
          <p:sp>
            <p:nvSpPr>
              <p:cNvPr id="27" name="RbLeanShape Arrow Chevron Option 1 220">
                <a:extLst>
                  <a:ext uri="{FF2B5EF4-FFF2-40B4-BE49-F238E27FC236}">
                    <a16:creationId xmlns:a16="http://schemas.microsoft.com/office/drawing/2014/main" xmlns="" id="{B9D5EE9D-2AAF-4690-BA67-94E33EDA61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722319" y="1381944"/>
                <a:ext cx="1548000" cy="576000"/>
              </a:xfrm>
              <a:prstGeom prst="chevron">
                <a:avLst/>
              </a:prstGeom>
              <a:solidFill>
                <a:schemeClr val="bg1"/>
              </a:solidFill>
              <a:ln w="22225" cap="flat" cmpd="sng" algn="ctr">
                <a:solidFill>
                  <a:schemeClr val="accent6"/>
                </a:solidFill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79705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GB" sz="14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Hoja</a:t>
                </a:r>
                <a:r>
                  <a:rPr lang="en-GB" sz="14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de </a:t>
                </a:r>
                <a:r>
                  <a:rPr lang="en-GB" sz="14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Ruta</a:t>
                </a:r>
                <a:r>
                  <a:rPr lang="en-GB" sz="14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</a:t>
                </a:r>
              </a:p>
            </p:txBody>
          </p:sp>
          <p:sp>
            <p:nvSpPr>
              <p:cNvPr id="28" name="RbLeanShape Arrow Chevron Option 1 322">
                <a:extLst>
                  <a:ext uri="{FF2B5EF4-FFF2-40B4-BE49-F238E27FC236}">
                    <a16:creationId xmlns:a16="http://schemas.microsoft.com/office/drawing/2014/main" xmlns="" id="{A8E77638-4896-4969-B6BB-11FEED8AF04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169126" y="1381944"/>
                <a:ext cx="1548000" cy="576000"/>
              </a:xfrm>
              <a:prstGeom prst="chevron">
                <a:avLst/>
              </a:prstGeom>
              <a:solidFill>
                <a:schemeClr val="bg1"/>
              </a:solidFill>
              <a:ln w="22225" cap="flat" cmpd="sng" algn="ctr">
                <a:solidFill>
                  <a:schemeClr val="accent6"/>
                </a:solidFill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179705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GB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Seguimiento</a:t>
                </a:r>
                <a:r>
                  <a:rPr lang="en-GB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/>
                </a:r>
                <a:br>
                  <a:rPr lang="en-GB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</a:br>
                <a:r>
                  <a:rPr lang="en-GB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&amp; </a:t>
                </a:r>
                <a:r>
                  <a:rPr lang="en-GB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Ejecución</a:t>
                </a:r>
                <a:endParaRPr lang="en-GB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9" name="RbNavigator">
                <a:extLst>
                  <a:ext uri="{FF2B5EF4-FFF2-40B4-BE49-F238E27FC236}">
                    <a16:creationId xmlns:a16="http://schemas.microsoft.com/office/drawing/2014/main" xmlns="" id="{94992D43-D615-467F-96B8-64C2C871B57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44708" y="1381944"/>
                <a:ext cx="216000" cy="216000"/>
              </a:xfrm>
              <a:prstGeom prst="rect">
                <a:avLst/>
              </a:prstGeom>
              <a:solidFill>
                <a:schemeClr val="accent6"/>
              </a:solidFill>
              <a:ln w="9525">
                <a:noFill/>
              </a:ln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buClr>
                    <a:schemeClr val="tx1"/>
                  </a:buClr>
                  <a:buSzPct val="100000"/>
                </a:pPr>
                <a:r>
                  <a:rPr kumimoji="1" lang="en-GB" dirty="0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  <a:sym typeface="+mn-lt"/>
                  </a:rPr>
                  <a:t>1</a:t>
                </a:r>
              </a:p>
            </p:txBody>
          </p:sp>
          <p:sp>
            <p:nvSpPr>
              <p:cNvPr id="30" name="RbNavigator">
                <a:extLst>
                  <a:ext uri="{FF2B5EF4-FFF2-40B4-BE49-F238E27FC236}">
                    <a16:creationId xmlns:a16="http://schemas.microsoft.com/office/drawing/2014/main" xmlns="" id="{269419E6-6DE7-4AD5-898C-74D94F030F1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91514" y="1381944"/>
                <a:ext cx="216000" cy="216000"/>
              </a:xfrm>
              <a:prstGeom prst="rect">
                <a:avLst/>
              </a:prstGeom>
              <a:solidFill>
                <a:schemeClr val="accent6"/>
              </a:solidFill>
              <a:ln w="9525">
                <a:noFill/>
              </a:ln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buClr>
                    <a:schemeClr val="tx1"/>
                  </a:buClr>
                  <a:buSzPct val="100000"/>
                </a:pPr>
                <a:r>
                  <a:rPr kumimoji="1" lang="en-GB" dirty="0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  <a:sym typeface="+mn-lt"/>
                  </a:rPr>
                  <a:t>2</a:t>
                </a:r>
              </a:p>
            </p:txBody>
          </p:sp>
          <p:sp>
            <p:nvSpPr>
              <p:cNvPr id="31" name="RbNavigator">
                <a:extLst>
                  <a:ext uri="{FF2B5EF4-FFF2-40B4-BE49-F238E27FC236}">
                    <a16:creationId xmlns:a16="http://schemas.microsoft.com/office/drawing/2014/main" xmlns="" id="{A548FBF5-57F8-4EA0-A067-BA5678A7203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938320" y="1381944"/>
                <a:ext cx="216000" cy="216000"/>
              </a:xfrm>
              <a:prstGeom prst="rect">
                <a:avLst/>
              </a:prstGeom>
              <a:solidFill>
                <a:schemeClr val="accent6"/>
              </a:solidFill>
              <a:ln w="9525">
                <a:noFill/>
              </a:ln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buClr>
                    <a:schemeClr val="tx1"/>
                  </a:buClr>
                  <a:buSzPct val="100000"/>
                </a:pPr>
                <a:r>
                  <a:rPr kumimoji="1" lang="en-GB" dirty="0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  <a:sym typeface="+mn-lt"/>
                  </a:rPr>
                  <a:t>3</a:t>
                </a:r>
              </a:p>
            </p:txBody>
          </p:sp>
          <p:sp>
            <p:nvSpPr>
              <p:cNvPr id="32" name="RbNavigator">
                <a:extLst>
                  <a:ext uri="{FF2B5EF4-FFF2-40B4-BE49-F238E27FC236}">
                    <a16:creationId xmlns:a16="http://schemas.microsoft.com/office/drawing/2014/main" xmlns="" id="{903FC7DB-4A8F-4EEE-9DAC-633F17623BE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85127" y="1381944"/>
                <a:ext cx="216000" cy="216000"/>
              </a:xfrm>
              <a:prstGeom prst="rect">
                <a:avLst/>
              </a:prstGeom>
              <a:solidFill>
                <a:schemeClr val="accent6"/>
              </a:solidFill>
              <a:ln w="9525">
                <a:noFill/>
              </a:ln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buClr>
                    <a:schemeClr val="tx1"/>
                  </a:buClr>
                  <a:buSzPct val="100000"/>
                </a:pPr>
                <a:r>
                  <a:rPr kumimoji="1" lang="en-GB" dirty="0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  <a:sym typeface="+mn-lt"/>
                  </a:rPr>
                  <a:t>4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xmlns="" id="{FEAD91F1-CA9C-4E4D-B05E-39A23DDB9C44}"/>
                  </a:ext>
                </a:extLst>
              </p:cNvPr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>
              <a:xfrm>
                <a:off x="9435991" y="2757250"/>
                <a:ext cx="759343" cy="22649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Taller de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seguimiento</a:t>
                </a:r>
                <a:endParaRPr lang="en-GB" sz="900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34" name="Donut 164">
                <a:extLst>
                  <a:ext uri="{FF2B5EF4-FFF2-40B4-BE49-F238E27FC236}">
                    <a16:creationId xmlns:a16="http://schemas.microsoft.com/office/drawing/2014/main" xmlns="" id="{82E39496-0CFC-4BF8-A690-3052DB002B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738696" y="2465908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35" name="Donut 164">
                <a:extLst>
                  <a:ext uri="{FF2B5EF4-FFF2-40B4-BE49-F238E27FC236}">
                    <a16:creationId xmlns:a16="http://schemas.microsoft.com/office/drawing/2014/main" xmlns="" id="{0E257B42-1E0D-4E3E-A0DC-9EDCE76EA50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93165" y="2465908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xmlns="" id="{F3F7E3E8-70BE-43C1-B9A3-A732FE5F8543}"/>
                  </a:ext>
                </a:extLst>
              </p:cNvPr>
              <p:cNvCxnSpPr>
                <a:cxnSpLocks/>
                <a:endCxn id="35" idx="1"/>
              </p:cNvCxnSpPr>
              <p:nvPr/>
            </p:nvCxnSpPr>
            <p:spPr>
              <a:xfrm>
                <a:off x="7214972" y="2580399"/>
                <a:ext cx="178193" cy="0"/>
              </a:xfrm>
              <a:prstGeom prst="line">
                <a:avLst/>
              </a:prstGeom>
              <a:ln w="15875" cmpd="sng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xmlns="" id="{8568661F-3691-4661-9ECF-55C48652A3A3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>
              <a:xfrm>
                <a:off x="5880151" y="3862556"/>
                <a:ext cx="605816" cy="22649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0" tIns="0" rIns="0" bIns="0" rtlCol="0" anchor="t" anchorCtr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50"/>
                  </a:spcBef>
                  <a:buSzPct val="100000"/>
                </a:pP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Seminario</a:t>
                </a:r>
                <a:r>
                  <a:rPr lang="en-GB" sz="900" b="0" dirty="0">
                    <a:latin typeface="Helvetica" panose="020B0604020202020204" pitchFamily="34" charset="0"/>
                    <a:cs typeface="Helvetica" panose="020B0604020202020204" pitchFamily="34" charset="0"/>
                  </a:rPr>
                  <a:t> de </a:t>
                </a:r>
                <a:r>
                  <a:rPr lang="en-GB" sz="9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Ambición</a:t>
                </a:r>
                <a:endParaRPr lang="en-GB" sz="900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38" name="Flowchart: Decision 37">
                <a:extLst>
                  <a:ext uri="{FF2B5EF4-FFF2-40B4-BE49-F238E27FC236}">
                    <a16:creationId xmlns:a16="http://schemas.microsoft.com/office/drawing/2014/main" xmlns="" id="{8E3BF79D-02DD-4C12-81F2-934FAE4A79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19923" y="3589036"/>
                <a:ext cx="126274" cy="228981"/>
              </a:xfrm>
              <a:prstGeom prst="flowChartDecision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54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en-GB" sz="1125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39" name="RbLeanShape Arrow Chevron Option 1 016">
                <a:extLst>
                  <a:ext uri="{FF2B5EF4-FFF2-40B4-BE49-F238E27FC236}">
                    <a16:creationId xmlns:a16="http://schemas.microsoft.com/office/drawing/2014/main" xmlns="" id="{10C4B177-8D69-4760-9D8A-65F43DD5D6C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1901" y="1381944"/>
                <a:ext cx="1548000" cy="576000"/>
              </a:xfrm>
              <a:prstGeom prst="homePlate">
                <a:avLst/>
              </a:prstGeom>
              <a:solidFill>
                <a:schemeClr val="bg1"/>
              </a:solidFill>
              <a:ln w="22225" cap="flat" cmpd="sng" algn="ctr">
                <a:solidFill>
                  <a:schemeClr val="accent6"/>
                </a:solidFill>
                <a:prstDash val="solid"/>
              </a:ln>
              <a:effectLst/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251587" tIns="0" rIns="0" bIns="0" rtlCol="0" anchor="ctr"/>
              <a:lstStyle/>
              <a:p>
                <a:pPr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GB" sz="1400" b="0" dirty="0" err="1">
                    <a:latin typeface="Helvetica" panose="020B0604020202020204" pitchFamily="34" charset="0"/>
                    <a:cs typeface="Helvetica" panose="020B0604020202020204" pitchFamily="34" charset="0"/>
                  </a:rPr>
                  <a:t>Preparación</a:t>
                </a:r>
                <a:endParaRPr lang="en-GB" b="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40" name="RbNavigator">
                <a:extLst>
                  <a:ext uri="{FF2B5EF4-FFF2-40B4-BE49-F238E27FC236}">
                    <a16:creationId xmlns:a16="http://schemas.microsoft.com/office/drawing/2014/main" xmlns="" id="{4C1CB8D3-08B6-43F2-98BD-BF5F3158014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81902" y="1381944"/>
                <a:ext cx="216000" cy="216000"/>
              </a:xfrm>
              <a:prstGeom prst="rect">
                <a:avLst/>
              </a:prstGeom>
              <a:solidFill>
                <a:schemeClr val="accent6"/>
              </a:solidFill>
              <a:ln w="9525">
                <a:noFill/>
              </a:ln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buClr>
                    <a:schemeClr val="tx1"/>
                  </a:buClr>
                  <a:buSzPct val="100000"/>
                </a:pPr>
                <a:r>
                  <a:rPr kumimoji="1" lang="en-GB" dirty="0">
                    <a:solidFill>
                      <a:schemeClr val="bg1"/>
                    </a:solidFill>
                    <a:latin typeface="Helvetica" panose="020B0604020202020204" pitchFamily="34" charset="0"/>
                    <a:cs typeface="Helvetica" panose="020B0604020202020204" pitchFamily="34" charset="0"/>
                    <a:sym typeface="+mn-lt"/>
                  </a:rPr>
                  <a:t>0</a:t>
                </a:r>
              </a:p>
            </p:txBody>
          </p:sp>
        </p:grpSp>
      </p:grpSp>
      <p:sp>
        <p:nvSpPr>
          <p:cNvPr id="49" name="Subtitle">
            <a:extLst>
              <a:ext uri="{FF2B5EF4-FFF2-40B4-BE49-F238E27FC236}">
                <a16:creationId xmlns:a16="http://schemas.microsoft.com/office/drawing/2014/main" xmlns="" id="{7DDAB061-0A0D-4628-8615-110A8A6A4D55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8964673" cy="5262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Una combinación de actividades locales con la creación de redes y oportunidades de revisión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4C8ACD22-84B4-4E11-B0FF-C30D4A59DB0B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 rot="5400000">
            <a:off x="11316406" y="3004415"/>
            <a:ext cx="360099" cy="83580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200"/>
              </a:spcBef>
              <a:buSzPct val="100000"/>
            </a:pPr>
            <a:r>
              <a:rPr lang="es-ES" dirty="0">
                <a:solidFill>
                  <a:schemeClr val="accent6"/>
                </a:solidFill>
                <a:latin typeface="Helvetica" charset="0"/>
                <a:ea typeface="Helvetica" charset="0"/>
                <a:cs typeface="Helvetica" charset="0"/>
              </a:rPr>
              <a:t>5 visitas a la ciudad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5B7B004C-D0B5-4C6A-92C5-888BED19045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 rot="5400000">
            <a:off x="11127435" y="4141148"/>
            <a:ext cx="540148" cy="103369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200"/>
              </a:spcBef>
              <a:buSzPct val="100000"/>
            </a:pPr>
            <a:r>
              <a:rPr lang="es-ES" dirty="0">
                <a:solidFill>
                  <a:schemeClr val="accent6"/>
                </a:solidFill>
                <a:latin typeface="Helvetica" charset="0"/>
                <a:ea typeface="Helvetica" charset="0"/>
                <a:cs typeface="Helvetica" charset="0"/>
              </a:rPr>
              <a:t>4 seminarios de la academi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2F347644-8014-40DD-AA93-7C29542E3D0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 rot="5400000">
            <a:off x="11037413" y="4945825"/>
            <a:ext cx="720197" cy="142947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200"/>
              </a:spcBef>
              <a:buSzPct val="100000"/>
            </a:pPr>
            <a:r>
              <a:rPr lang="es-ES" dirty="0">
                <a:solidFill>
                  <a:schemeClr val="accent6"/>
                </a:solidFill>
                <a:latin typeface="Helvetica" charset="0"/>
                <a:ea typeface="Helvetica" charset="0"/>
                <a:cs typeface="Helvetica" charset="0"/>
              </a:rPr>
              <a:t>9 oportunidades de interacción con el equipo de la ciudad</a:t>
            </a:r>
            <a:endParaRPr lang="en-GB" dirty="0">
              <a:solidFill>
                <a:schemeClr val="accent6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pic>
        <p:nvPicPr>
          <p:cNvPr id="56" name="Image 4">
            <a:extLst>
              <a:ext uri="{FF2B5EF4-FFF2-40B4-BE49-F238E27FC236}">
                <a16:creationId xmlns:a16="http://schemas.microsoft.com/office/drawing/2014/main" xmlns="" id="{0ADD12F9-C6ED-4A79-916C-0CE40D1A9DA8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5100" y="4241709"/>
            <a:ext cx="867331" cy="832572"/>
          </a:xfrm>
          <a:prstGeom prst="rect">
            <a:avLst/>
          </a:prstGeom>
        </p:spPr>
      </p:pic>
      <p:pic>
        <p:nvPicPr>
          <p:cNvPr id="57" name="Image 5">
            <a:extLst>
              <a:ext uri="{FF2B5EF4-FFF2-40B4-BE49-F238E27FC236}">
                <a16:creationId xmlns:a16="http://schemas.microsoft.com/office/drawing/2014/main" xmlns="" id="{2DCD10E8-383C-4F60-AD96-5BFF720C0600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2658" y="3031868"/>
            <a:ext cx="892214" cy="78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526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xmlns="" id="{7C5575F2-8C79-4160-A2E3-EE32D3146F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222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93FFA422-8D72-4BFD-933D-0EEA6BB5A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b="1" dirty="0" err="1"/>
              <a:t>Sesión</a:t>
            </a:r>
            <a:r>
              <a:rPr lang="fr-BE" b="1" dirty="0"/>
              <a:t> 5: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396110DF-6CFF-4EFE-AEA3-6F2B73AFA71E}"/>
              </a:ext>
            </a:extLst>
          </p:cNvPr>
          <p:cNvGrpSpPr/>
          <p:nvPr/>
        </p:nvGrpSpPr>
        <p:grpSpPr>
          <a:xfrm>
            <a:off x="2711368" y="1373891"/>
            <a:ext cx="442285" cy="3968003"/>
            <a:chOff x="-428416" y="1688216"/>
            <a:chExt cx="442285" cy="3968003"/>
          </a:xfrm>
        </p:grpSpPr>
        <p:sp>
          <p:nvSpPr>
            <p:cNvPr id="5" name="Subtitle">
              <a:extLst>
                <a:ext uri="{FF2B5EF4-FFF2-40B4-BE49-F238E27FC236}">
                  <a16:creationId xmlns:a16="http://schemas.microsoft.com/office/drawing/2014/main" xmlns="" id="{706BA1E1-D046-445D-8FBD-1681941263BE}"/>
                </a:ext>
              </a:extLst>
            </p:cNvPr>
            <p:cNvSpPr txBox="1">
              <a:spLocks/>
            </p:cNvSpPr>
            <p:nvPr/>
          </p:nvSpPr>
          <p:spPr>
            <a:xfrm>
              <a:off x="-360654" y="2217947"/>
              <a:ext cx="240002" cy="1063090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vert270" wrap="none" lIns="0" tIns="47921" rIns="0" bIns="0" rtlCol="0" anchor="ctr">
              <a:spAutoFit/>
            </a:bodyPr>
            <a:lstStyle/>
            <a:p>
              <a:pPr algn="r">
                <a:lnSpc>
                  <a:spcPct val="90000"/>
                </a:lnSpc>
                <a:buSzPct val="100000"/>
              </a:pPr>
              <a:r>
                <a:rPr lang="en-GB" sz="1733" dirty="0" err="1">
                  <a:solidFill>
                    <a:schemeClr val="accent5">
                      <a:lumMod val="100000"/>
                    </a:schemeClr>
                  </a:solidFill>
                  <a:latin typeface="+mn-lt"/>
                  <a:sym typeface="+mn-lt"/>
                </a:rPr>
                <a:t>Objetivos</a:t>
              </a:r>
              <a:endParaRPr lang="en-GB" sz="1733" dirty="0">
                <a:solidFill>
                  <a:schemeClr val="accent5">
                    <a:lumMod val="100000"/>
                  </a:schemeClr>
                </a:solidFill>
                <a:latin typeface="+mn-lt"/>
                <a:sym typeface="+mn-lt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xmlns="" id="{A3569591-23DD-4D13-8F80-F08C31D43CCC}"/>
                </a:ext>
              </a:extLst>
            </p:cNvPr>
            <p:cNvGrpSpPr/>
            <p:nvPr/>
          </p:nvGrpSpPr>
          <p:grpSpPr>
            <a:xfrm>
              <a:off x="-428416" y="3940430"/>
              <a:ext cx="348428" cy="1715789"/>
              <a:chOff x="1243406" y="3122566"/>
              <a:chExt cx="261321" cy="1286841"/>
            </a:xfrm>
          </p:grpSpPr>
          <p:sp>
            <p:nvSpPr>
              <p:cNvPr id="25" name="Subtitle">
                <a:extLst>
                  <a:ext uri="{FF2B5EF4-FFF2-40B4-BE49-F238E27FC236}">
                    <a16:creationId xmlns:a16="http://schemas.microsoft.com/office/drawing/2014/main" xmlns="" id="{80804573-A96F-4857-B0FE-7A9BE33B817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94228" y="3547169"/>
                <a:ext cx="180002" cy="862238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vert270" wrap="none" lIns="0" tIns="47921" rIns="0" bIns="0" rtlCol="0" anchor="ctr">
                <a:spAutoFit/>
              </a:bodyPr>
              <a:lstStyle/>
              <a:p>
                <a:pPr algn="r">
                  <a:lnSpc>
                    <a:spcPct val="90000"/>
                  </a:lnSpc>
                  <a:buSzPct val="100000"/>
                </a:pPr>
                <a:r>
                  <a:rPr lang="en-GB" sz="1733" dirty="0" err="1">
                    <a:solidFill>
                      <a:schemeClr val="accent5">
                        <a:lumMod val="100000"/>
                      </a:schemeClr>
                    </a:solidFill>
                    <a:latin typeface="+mn-lt"/>
                    <a:sym typeface="+mn-lt"/>
                  </a:rPr>
                  <a:t>Contenido</a:t>
                </a:r>
                <a:endParaRPr lang="en-GB" sz="1733" dirty="0">
                  <a:solidFill>
                    <a:schemeClr val="accent5">
                      <a:lumMod val="100000"/>
                    </a:schemeClr>
                  </a:solidFill>
                  <a:latin typeface="+mn-lt"/>
                  <a:sym typeface="+mn-lt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xmlns="" id="{BE50E342-9A13-482B-BCF1-A3F26C4A5C2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243406" y="3122566"/>
                <a:ext cx="261321" cy="424220"/>
                <a:chOff x="3629026" y="1989137"/>
                <a:chExt cx="2309812" cy="3749676"/>
              </a:xfrm>
              <a:solidFill>
                <a:schemeClr val="accent5"/>
              </a:solidFill>
            </p:grpSpPr>
            <p:sp>
              <p:nvSpPr>
                <p:cNvPr id="27" name="Freeform 10">
                  <a:extLst>
                    <a:ext uri="{FF2B5EF4-FFF2-40B4-BE49-F238E27FC236}">
                      <a16:creationId xmlns:a16="http://schemas.microsoft.com/office/drawing/2014/main" xmlns="" id="{F6C7A082-D961-46B8-90C1-3BEBE829A1B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29026" y="1989137"/>
                  <a:ext cx="2020887" cy="1922463"/>
                </a:xfrm>
                <a:custGeom>
                  <a:avLst/>
                  <a:gdLst>
                    <a:gd name="T0" fmla="*/ 561 w 1120"/>
                    <a:gd name="T1" fmla="*/ 180 h 1066"/>
                    <a:gd name="T2" fmla="*/ 941 w 1120"/>
                    <a:gd name="T3" fmla="*/ 560 h 1066"/>
                    <a:gd name="T4" fmla="*/ 834 w 1120"/>
                    <a:gd name="T5" fmla="*/ 825 h 1066"/>
                    <a:gd name="T6" fmla="*/ 800 w 1120"/>
                    <a:gd name="T7" fmla="*/ 816 h 1066"/>
                    <a:gd name="T8" fmla="*/ 800 w 1120"/>
                    <a:gd name="T9" fmla="*/ 742 h 1066"/>
                    <a:gd name="T10" fmla="*/ 861 w 1120"/>
                    <a:gd name="T11" fmla="*/ 560 h 1066"/>
                    <a:gd name="T12" fmla="*/ 561 w 1120"/>
                    <a:gd name="T13" fmla="*/ 260 h 1066"/>
                    <a:gd name="T14" fmla="*/ 261 w 1120"/>
                    <a:gd name="T15" fmla="*/ 560 h 1066"/>
                    <a:gd name="T16" fmla="*/ 320 w 1120"/>
                    <a:gd name="T17" fmla="*/ 739 h 1066"/>
                    <a:gd name="T18" fmla="*/ 320 w 1120"/>
                    <a:gd name="T19" fmla="*/ 854 h 1066"/>
                    <a:gd name="T20" fmla="*/ 181 w 1120"/>
                    <a:gd name="T21" fmla="*/ 560 h 1066"/>
                    <a:gd name="T22" fmla="*/ 561 w 1120"/>
                    <a:gd name="T23" fmla="*/ 180 h 1066"/>
                    <a:gd name="T24" fmla="*/ 561 w 1120"/>
                    <a:gd name="T25" fmla="*/ 360 h 1066"/>
                    <a:gd name="T26" fmla="*/ 750 w 1120"/>
                    <a:gd name="T27" fmla="*/ 494 h 1066"/>
                    <a:gd name="T28" fmla="*/ 738 w 1120"/>
                    <a:gd name="T29" fmla="*/ 480 h 1066"/>
                    <a:gd name="T30" fmla="*/ 730 w 1120"/>
                    <a:gd name="T31" fmla="*/ 470 h 1066"/>
                    <a:gd name="T32" fmla="*/ 560 w 1120"/>
                    <a:gd name="T33" fmla="*/ 400 h 1066"/>
                    <a:gd name="T34" fmla="*/ 374 w 1120"/>
                    <a:gd name="T35" fmla="*/ 489 h 1066"/>
                    <a:gd name="T36" fmla="*/ 561 w 1120"/>
                    <a:gd name="T37" fmla="*/ 360 h 1066"/>
                    <a:gd name="T38" fmla="*/ 560 w 1120"/>
                    <a:gd name="T39" fmla="*/ 0 h 1066"/>
                    <a:gd name="T40" fmla="*/ 1120 w 1120"/>
                    <a:gd name="T41" fmla="*/ 560 h 1066"/>
                    <a:gd name="T42" fmla="*/ 1025 w 1120"/>
                    <a:gd name="T43" fmla="*/ 873 h 1066"/>
                    <a:gd name="T44" fmla="*/ 941 w 1120"/>
                    <a:gd name="T45" fmla="*/ 852 h 1066"/>
                    <a:gd name="T46" fmla="*/ 1040 w 1120"/>
                    <a:gd name="T47" fmla="*/ 560 h 1066"/>
                    <a:gd name="T48" fmla="*/ 560 w 1120"/>
                    <a:gd name="T49" fmla="*/ 80 h 1066"/>
                    <a:gd name="T50" fmla="*/ 80 w 1120"/>
                    <a:gd name="T51" fmla="*/ 560 h 1066"/>
                    <a:gd name="T52" fmla="*/ 320 w 1120"/>
                    <a:gd name="T53" fmla="*/ 976 h 1066"/>
                    <a:gd name="T54" fmla="*/ 320 w 1120"/>
                    <a:gd name="T55" fmla="*/ 1066 h 1066"/>
                    <a:gd name="T56" fmla="*/ 0 w 1120"/>
                    <a:gd name="T57" fmla="*/ 560 h 1066"/>
                    <a:gd name="T58" fmla="*/ 560 w 1120"/>
                    <a:gd name="T59" fmla="*/ 0 h 10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120" h="1066">
                      <a:moveTo>
                        <a:pt x="561" y="180"/>
                      </a:moveTo>
                      <a:cubicBezTo>
                        <a:pt x="771" y="180"/>
                        <a:pt x="941" y="350"/>
                        <a:pt x="941" y="560"/>
                      </a:cubicBezTo>
                      <a:cubicBezTo>
                        <a:pt x="941" y="663"/>
                        <a:pt x="900" y="756"/>
                        <a:pt x="834" y="825"/>
                      </a:cubicBezTo>
                      <a:cubicBezTo>
                        <a:pt x="800" y="816"/>
                        <a:pt x="800" y="816"/>
                        <a:pt x="800" y="816"/>
                      </a:cubicBezTo>
                      <a:cubicBezTo>
                        <a:pt x="800" y="742"/>
                        <a:pt x="800" y="742"/>
                        <a:pt x="800" y="742"/>
                      </a:cubicBezTo>
                      <a:cubicBezTo>
                        <a:pt x="838" y="691"/>
                        <a:pt x="861" y="628"/>
                        <a:pt x="861" y="560"/>
                      </a:cubicBezTo>
                      <a:cubicBezTo>
                        <a:pt x="861" y="394"/>
                        <a:pt x="727" y="260"/>
                        <a:pt x="561" y="260"/>
                      </a:cubicBezTo>
                      <a:cubicBezTo>
                        <a:pt x="396" y="260"/>
                        <a:pt x="261" y="394"/>
                        <a:pt x="261" y="560"/>
                      </a:cubicBezTo>
                      <a:cubicBezTo>
                        <a:pt x="261" y="627"/>
                        <a:pt x="283" y="689"/>
                        <a:pt x="320" y="739"/>
                      </a:cubicBezTo>
                      <a:cubicBezTo>
                        <a:pt x="320" y="854"/>
                        <a:pt x="320" y="854"/>
                        <a:pt x="320" y="854"/>
                      </a:cubicBezTo>
                      <a:cubicBezTo>
                        <a:pt x="232" y="782"/>
                        <a:pt x="181" y="674"/>
                        <a:pt x="181" y="560"/>
                      </a:cubicBezTo>
                      <a:cubicBezTo>
                        <a:pt x="181" y="350"/>
                        <a:pt x="351" y="180"/>
                        <a:pt x="561" y="180"/>
                      </a:cubicBezTo>
                      <a:close/>
                      <a:moveTo>
                        <a:pt x="561" y="360"/>
                      </a:moveTo>
                      <a:cubicBezTo>
                        <a:pt x="646" y="360"/>
                        <a:pt x="722" y="414"/>
                        <a:pt x="750" y="494"/>
                      </a:cubicBezTo>
                      <a:cubicBezTo>
                        <a:pt x="746" y="489"/>
                        <a:pt x="742" y="484"/>
                        <a:pt x="738" y="480"/>
                      </a:cubicBezTo>
                      <a:cubicBezTo>
                        <a:pt x="736" y="477"/>
                        <a:pt x="733" y="474"/>
                        <a:pt x="730" y="470"/>
                      </a:cubicBezTo>
                      <a:cubicBezTo>
                        <a:pt x="686" y="427"/>
                        <a:pt x="626" y="400"/>
                        <a:pt x="560" y="400"/>
                      </a:cubicBezTo>
                      <a:cubicBezTo>
                        <a:pt x="487" y="400"/>
                        <a:pt x="420" y="433"/>
                        <a:pt x="374" y="489"/>
                      </a:cubicBezTo>
                      <a:cubicBezTo>
                        <a:pt x="404" y="411"/>
                        <a:pt x="478" y="360"/>
                        <a:pt x="561" y="360"/>
                      </a:cubicBezTo>
                      <a:close/>
                      <a:moveTo>
                        <a:pt x="560" y="0"/>
                      </a:moveTo>
                      <a:cubicBezTo>
                        <a:pt x="869" y="0"/>
                        <a:pt x="1120" y="251"/>
                        <a:pt x="1120" y="560"/>
                      </a:cubicBezTo>
                      <a:cubicBezTo>
                        <a:pt x="1120" y="676"/>
                        <a:pt x="1085" y="783"/>
                        <a:pt x="1025" y="873"/>
                      </a:cubicBezTo>
                      <a:cubicBezTo>
                        <a:pt x="941" y="852"/>
                        <a:pt x="941" y="852"/>
                        <a:pt x="941" y="852"/>
                      </a:cubicBezTo>
                      <a:cubicBezTo>
                        <a:pt x="1003" y="771"/>
                        <a:pt x="1040" y="670"/>
                        <a:pt x="1040" y="560"/>
                      </a:cubicBezTo>
                      <a:cubicBezTo>
                        <a:pt x="1040" y="295"/>
                        <a:pt x="825" y="80"/>
                        <a:pt x="560" y="80"/>
                      </a:cubicBezTo>
                      <a:cubicBezTo>
                        <a:pt x="295" y="80"/>
                        <a:pt x="80" y="295"/>
                        <a:pt x="80" y="560"/>
                      </a:cubicBezTo>
                      <a:cubicBezTo>
                        <a:pt x="80" y="732"/>
                        <a:pt x="172" y="890"/>
                        <a:pt x="320" y="976"/>
                      </a:cubicBezTo>
                      <a:cubicBezTo>
                        <a:pt x="320" y="1066"/>
                        <a:pt x="320" y="1066"/>
                        <a:pt x="320" y="1066"/>
                      </a:cubicBezTo>
                      <a:cubicBezTo>
                        <a:pt x="125" y="974"/>
                        <a:pt x="0" y="777"/>
                        <a:pt x="0" y="560"/>
                      </a:cubicBezTo>
                      <a:cubicBezTo>
                        <a:pt x="0" y="251"/>
                        <a:pt x="251" y="0"/>
                        <a:pt x="56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33" dirty="0">
                    <a:latin typeface="+mn-lt"/>
                    <a:sym typeface="+mn-lt"/>
                  </a:endParaRPr>
                </a:p>
              </p:txBody>
            </p:sp>
            <p:sp>
              <p:nvSpPr>
                <p:cNvPr id="28" name="Freeform 11">
                  <a:extLst>
                    <a:ext uri="{FF2B5EF4-FFF2-40B4-BE49-F238E27FC236}">
                      <a16:creationId xmlns:a16="http://schemas.microsoft.com/office/drawing/2014/main" xmlns="" id="{BA44C600-EE00-4A99-90A3-2BBC318939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1338" y="5307013"/>
                  <a:ext cx="1587500" cy="431800"/>
                </a:xfrm>
                <a:custGeom>
                  <a:avLst/>
                  <a:gdLst>
                    <a:gd name="T0" fmla="*/ 0 w 880"/>
                    <a:gd name="T1" fmla="*/ 240 h 240"/>
                    <a:gd name="T2" fmla="*/ 0 w 880"/>
                    <a:gd name="T3" fmla="*/ 120 h 240"/>
                    <a:gd name="T4" fmla="*/ 120 w 880"/>
                    <a:gd name="T5" fmla="*/ 0 h 240"/>
                    <a:gd name="T6" fmla="*/ 760 w 880"/>
                    <a:gd name="T7" fmla="*/ 0 h 240"/>
                    <a:gd name="T8" fmla="*/ 880 w 880"/>
                    <a:gd name="T9" fmla="*/ 120 h 240"/>
                    <a:gd name="T10" fmla="*/ 880 w 880"/>
                    <a:gd name="T11" fmla="*/ 240 h 240"/>
                    <a:gd name="T12" fmla="*/ 0 w 880"/>
                    <a:gd name="T13" fmla="*/ 24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80" h="240">
                      <a:moveTo>
                        <a:pt x="0" y="240"/>
                      </a:moveTo>
                      <a:cubicBezTo>
                        <a:pt x="0" y="120"/>
                        <a:pt x="0" y="120"/>
                        <a:pt x="0" y="120"/>
                      </a:cubicBezTo>
                      <a:cubicBezTo>
                        <a:pt x="0" y="54"/>
                        <a:pt x="54" y="0"/>
                        <a:pt x="120" y="0"/>
                      </a:cubicBezTo>
                      <a:cubicBezTo>
                        <a:pt x="760" y="0"/>
                        <a:pt x="760" y="0"/>
                        <a:pt x="760" y="0"/>
                      </a:cubicBezTo>
                      <a:cubicBezTo>
                        <a:pt x="826" y="0"/>
                        <a:pt x="880" y="54"/>
                        <a:pt x="880" y="120"/>
                      </a:cubicBezTo>
                      <a:cubicBezTo>
                        <a:pt x="880" y="240"/>
                        <a:pt x="880" y="240"/>
                        <a:pt x="880" y="240"/>
                      </a:cubicBezTo>
                      <a:cubicBezTo>
                        <a:pt x="803" y="240"/>
                        <a:pt x="77" y="240"/>
                        <a:pt x="0" y="2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33" dirty="0">
                    <a:latin typeface="+mn-lt"/>
                    <a:sym typeface="+mn-lt"/>
                  </a:endParaRPr>
                </a:p>
              </p:txBody>
            </p:sp>
            <p:sp>
              <p:nvSpPr>
                <p:cNvPr id="29" name="Freeform 12">
                  <a:extLst>
                    <a:ext uri="{FF2B5EF4-FFF2-40B4-BE49-F238E27FC236}">
                      <a16:creationId xmlns:a16="http://schemas.microsoft.com/office/drawing/2014/main" xmlns="" id="{72528CE5-1CBA-4FA8-9336-A40B4AE89B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0463" y="2854325"/>
                  <a:ext cx="2238375" cy="2308225"/>
                </a:xfrm>
                <a:custGeom>
                  <a:avLst/>
                  <a:gdLst>
                    <a:gd name="T0" fmla="*/ 480 w 1240"/>
                    <a:gd name="T1" fmla="*/ 1280 h 1280"/>
                    <a:gd name="T2" fmla="*/ 480 w 1240"/>
                    <a:gd name="T3" fmla="*/ 1210 h 1280"/>
                    <a:gd name="T4" fmla="*/ 430 w 1240"/>
                    <a:gd name="T5" fmla="*/ 1161 h 1280"/>
                    <a:gd name="T6" fmla="*/ 372 w 1240"/>
                    <a:gd name="T7" fmla="*/ 1118 h 1280"/>
                    <a:gd name="T8" fmla="*/ 252 w 1240"/>
                    <a:gd name="T9" fmla="*/ 998 h 1280"/>
                    <a:gd name="T10" fmla="*/ 40 w 1240"/>
                    <a:gd name="T11" fmla="*/ 920 h 1280"/>
                    <a:gd name="T12" fmla="*/ 0 w 1240"/>
                    <a:gd name="T13" fmla="*/ 880 h 1280"/>
                    <a:gd name="T14" fmla="*/ 17 w 1240"/>
                    <a:gd name="T15" fmla="*/ 784 h 1280"/>
                    <a:gd name="T16" fmla="*/ 213 w 1240"/>
                    <a:gd name="T17" fmla="*/ 662 h 1280"/>
                    <a:gd name="T18" fmla="*/ 312 w 1240"/>
                    <a:gd name="T19" fmla="*/ 681 h 1280"/>
                    <a:gd name="T20" fmla="*/ 360 w 1240"/>
                    <a:gd name="T21" fmla="*/ 701 h 1280"/>
                    <a:gd name="T22" fmla="*/ 360 w 1240"/>
                    <a:gd name="T23" fmla="*/ 160 h 1280"/>
                    <a:gd name="T24" fmla="*/ 520 w 1240"/>
                    <a:gd name="T25" fmla="*/ 0 h 1280"/>
                    <a:gd name="T26" fmla="*/ 680 w 1240"/>
                    <a:gd name="T27" fmla="*/ 160 h 1280"/>
                    <a:gd name="T28" fmla="*/ 680 w 1240"/>
                    <a:gd name="T29" fmla="*/ 399 h 1280"/>
                    <a:gd name="T30" fmla="*/ 1096 w 1240"/>
                    <a:gd name="T31" fmla="*/ 503 h 1280"/>
                    <a:gd name="T32" fmla="*/ 1240 w 1240"/>
                    <a:gd name="T33" fmla="*/ 687 h 1280"/>
                    <a:gd name="T34" fmla="*/ 1240 w 1240"/>
                    <a:gd name="T35" fmla="*/ 840 h 1280"/>
                    <a:gd name="T36" fmla="*/ 1228 w 1240"/>
                    <a:gd name="T37" fmla="*/ 921 h 1280"/>
                    <a:gd name="T38" fmla="*/ 1154 w 1240"/>
                    <a:gd name="T39" fmla="*/ 1054 h 1280"/>
                    <a:gd name="T40" fmla="*/ 1120 w 1240"/>
                    <a:gd name="T41" fmla="*/ 1165 h 1280"/>
                    <a:gd name="T42" fmla="*/ 1120 w 1240"/>
                    <a:gd name="T43" fmla="*/ 1280 h 1280"/>
                    <a:gd name="T44" fmla="*/ 480 w 1240"/>
                    <a:gd name="T45" fmla="*/ 1280 h 1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240" h="1280">
                      <a:moveTo>
                        <a:pt x="480" y="1280"/>
                      </a:moveTo>
                      <a:cubicBezTo>
                        <a:pt x="480" y="1210"/>
                        <a:pt x="480" y="1210"/>
                        <a:pt x="480" y="1210"/>
                      </a:cubicBezTo>
                      <a:cubicBezTo>
                        <a:pt x="480" y="1192"/>
                        <a:pt x="456" y="1177"/>
                        <a:pt x="430" y="1161"/>
                      </a:cubicBezTo>
                      <a:cubicBezTo>
                        <a:pt x="410" y="1148"/>
                        <a:pt x="389" y="1136"/>
                        <a:pt x="372" y="1118"/>
                      </a:cubicBezTo>
                      <a:cubicBezTo>
                        <a:pt x="252" y="998"/>
                        <a:pt x="252" y="998"/>
                        <a:pt x="252" y="998"/>
                      </a:cubicBezTo>
                      <a:cubicBezTo>
                        <a:pt x="206" y="952"/>
                        <a:pt x="104" y="920"/>
                        <a:pt x="40" y="920"/>
                      </a:cubicBezTo>
                      <a:cubicBezTo>
                        <a:pt x="18" y="920"/>
                        <a:pt x="0" y="902"/>
                        <a:pt x="0" y="880"/>
                      </a:cubicBezTo>
                      <a:cubicBezTo>
                        <a:pt x="0" y="843"/>
                        <a:pt x="6" y="811"/>
                        <a:pt x="17" y="784"/>
                      </a:cubicBezTo>
                      <a:cubicBezTo>
                        <a:pt x="50" y="702"/>
                        <a:pt x="128" y="662"/>
                        <a:pt x="213" y="662"/>
                      </a:cubicBezTo>
                      <a:cubicBezTo>
                        <a:pt x="248" y="662"/>
                        <a:pt x="283" y="669"/>
                        <a:pt x="312" y="681"/>
                      </a:cubicBezTo>
                      <a:cubicBezTo>
                        <a:pt x="360" y="701"/>
                        <a:pt x="360" y="701"/>
                        <a:pt x="360" y="701"/>
                      </a:cubicBezTo>
                      <a:cubicBezTo>
                        <a:pt x="360" y="160"/>
                        <a:pt x="360" y="160"/>
                        <a:pt x="360" y="160"/>
                      </a:cubicBezTo>
                      <a:cubicBezTo>
                        <a:pt x="360" y="72"/>
                        <a:pt x="432" y="0"/>
                        <a:pt x="520" y="0"/>
                      </a:cubicBezTo>
                      <a:cubicBezTo>
                        <a:pt x="608" y="0"/>
                        <a:pt x="680" y="72"/>
                        <a:pt x="680" y="160"/>
                      </a:cubicBezTo>
                      <a:cubicBezTo>
                        <a:pt x="680" y="399"/>
                        <a:pt x="680" y="399"/>
                        <a:pt x="680" y="399"/>
                      </a:cubicBezTo>
                      <a:cubicBezTo>
                        <a:pt x="1096" y="503"/>
                        <a:pt x="1096" y="503"/>
                        <a:pt x="1096" y="503"/>
                      </a:cubicBezTo>
                      <a:cubicBezTo>
                        <a:pt x="1181" y="524"/>
                        <a:pt x="1240" y="599"/>
                        <a:pt x="1240" y="687"/>
                      </a:cubicBezTo>
                      <a:cubicBezTo>
                        <a:pt x="1240" y="840"/>
                        <a:pt x="1240" y="840"/>
                        <a:pt x="1240" y="840"/>
                      </a:cubicBezTo>
                      <a:cubicBezTo>
                        <a:pt x="1240" y="869"/>
                        <a:pt x="1236" y="896"/>
                        <a:pt x="1228" y="921"/>
                      </a:cubicBezTo>
                      <a:cubicBezTo>
                        <a:pt x="1214" y="970"/>
                        <a:pt x="1182" y="1012"/>
                        <a:pt x="1154" y="1054"/>
                      </a:cubicBezTo>
                      <a:cubicBezTo>
                        <a:pt x="1130" y="1089"/>
                        <a:pt x="1120" y="1124"/>
                        <a:pt x="1120" y="1165"/>
                      </a:cubicBezTo>
                      <a:cubicBezTo>
                        <a:pt x="1120" y="1280"/>
                        <a:pt x="1120" y="1280"/>
                        <a:pt x="1120" y="1280"/>
                      </a:cubicBezTo>
                      <a:lnTo>
                        <a:pt x="480" y="12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33" dirty="0">
                    <a:latin typeface="+mn-lt"/>
                    <a:sym typeface="+mn-lt"/>
                  </a:endParaRPr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E9E6EA44-52C6-49CE-AD0B-45B81EE598C9}"/>
                </a:ext>
              </a:extLst>
            </p:cNvPr>
            <p:cNvGrpSpPr>
              <a:grpSpLocks noChangeAspect="1"/>
            </p:cNvGrpSpPr>
            <p:nvPr/>
          </p:nvGrpSpPr>
          <p:grpSpPr>
            <a:xfrm rot="18727681">
              <a:off x="-462982" y="1772095"/>
              <a:ext cx="560729" cy="392972"/>
              <a:chOff x="1819276" y="3959226"/>
              <a:chExt cx="3470275" cy="2432050"/>
            </a:xfrm>
            <a:solidFill>
              <a:schemeClr val="accent6"/>
            </a:solidFill>
          </p:grpSpPr>
          <p:sp>
            <p:nvSpPr>
              <p:cNvPr id="17" name="Line 5">
                <a:extLst>
                  <a:ext uri="{FF2B5EF4-FFF2-40B4-BE49-F238E27FC236}">
                    <a16:creationId xmlns:a16="http://schemas.microsoft.com/office/drawing/2014/main" xmlns="" id="{D2C2800D-8001-4BC1-83C1-D4E06CA545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60738" y="4827588"/>
                <a:ext cx="0" cy="0"/>
              </a:xfrm>
              <a:prstGeom prst="lin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3" dirty="0">
                  <a:latin typeface="+mn-lt"/>
                  <a:sym typeface="+mn-lt"/>
                </a:endParaRPr>
              </a:p>
            </p:txBody>
          </p:sp>
          <p:sp>
            <p:nvSpPr>
              <p:cNvPr id="18" name="Line 6">
                <a:extLst>
                  <a:ext uri="{FF2B5EF4-FFF2-40B4-BE49-F238E27FC236}">
                    <a16:creationId xmlns:a16="http://schemas.microsoft.com/office/drawing/2014/main" xmlns="" id="{686CEF5B-18AD-4809-8FEB-D0F81A6A4F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60738" y="4827588"/>
                <a:ext cx="0" cy="0"/>
              </a:xfrm>
              <a:prstGeom prst="lin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3" dirty="0">
                  <a:latin typeface="+mn-lt"/>
                  <a:sym typeface="+mn-lt"/>
                </a:endParaRPr>
              </a:p>
            </p:txBody>
          </p:sp>
          <p:sp>
            <p:nvSpPr>
              <p:cNvPr id="19" name="Freeform 16">
                <a:extLst>
                  <a:ext uri="{FF2B5EF4-FFF2-40B4-BE49-F238E27FC236}">
                    <a16:creationId xmlns:a16="http://schemas.microsoft.com/office/drawing/2014/main" xmlns="" id="{1EB41D8B-5BDB-4321-ACDA-6B3FB954A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9276" y="3959226"/>
                <a:ext cx="2424113" cy="2432050"/>
              </a:xfrm>
              <a:custGeom>
                <a:avLst/>
                <a:gdLst>
                  <a:gd name="T0" fmla="*/ 1993 w 2154"/>
                  <a:gd name="T1" fmla="*/ 1199 h 2160"/>
                  <a:gd name="T2" fmla="*/ 1080 w 2154"/>
                  <a:gd name="T3" fmla="*/ 2000 h 2160"/>
                  <a:gd name="T4" fmla="*/ 160 w 2154"/>
                  <a:gd name="T5" fmla="*/ 1080 h 2160"/>
                  <a:gd name="T6" fmla="*/ 1080 w 2154"/>
                  <a:gd name="T7" fmla="*/ 160 h 2160"/>
                  <a:gd name="T8" fmla="*/ 1993 w 2154"/>
                  <a:gd name="T9" fmla="*/ 963 h 2160"/>
                  <a:gd name="T10" fmla="*/ 2154 w 2154"/>
                  <a:gd name="T11" fmla="*/ 963 h 2160"/>
                  <a:gd name="T12" fmla="*/ 1080 w 2154"/>
                  <a:gd name="T13" fmla="*/ 0 h 2160"/>
                  <a:gd name="T14" fmla="*/ 0 w 2154"/>
                  <a:gd name="T15" fmla="*/ 1080 h 2160"/>
                  <a:gd name="T16" fmla="*/ 1080 w 2154"/>
                  <a:gd name="T17" fmla="*/ 2160 h 2160"/>
                  <a:gd name="T18" fmla="*/ 2154 w 2154"/>
                  <a:gd name="T19" fmla="*/ 1199 h 2160"/>
                  <a:gd name="T20" fmla="*/ 1993 w 2154"/>
                  <a:gd name="T21" fmla="*/ 1199 h 2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54" h="2160">
                    <a:moveTo>
                      <a:pt x="1993" y="1199"/>
                    </a:moveTo>
                    <a:cubicBezTo>
                      <a:pt x="1934" y="1651"/>
                      <a:pt x="1548" y="2000"/>
                      <a:pt x="1080" y="2000"/>
                    </a:cubicBezTo>
                    <a:cubicBezTo>
                      <a:pt x="572" y="2000"/>
                      <a:pt x="160" y="1588"/>
                      <a:pt x="160" y="1080"/>
                    </a:cubicBezTo>
                    <a:cubicBezTo>
                      <a:pt x="160" y="572"/>
                      <a:pt x="572" y="160"/>
                      <a:pt x="1080" y="160"/>
                    </a:cubicBezTo>
                    <a:cubicBezTo>
                      <a:pt x="1549" y="160"/>
                      <a:pt x="1936" y="510"/>
                      <a:pt x="1993" y="963"/>
                    </a:cubicBezTo>
                    <a:cubicBezTo>
                      <a:pt x="2154" y="963"/>
                      <a:pt x="2154" y="963"/>
                      <a:pt x="2154" y="963"/>
                    </a:cubicBezTo>
                    <a:cubicBezTo>
                      <a:pt x="2096" y="422"/>
                      <a:pt x="1637" y="0"/>
                      <a:pt x="1080" y="0"/>
                    </a:cubicBezTo>
                    <a:cubicBezTo>
                      <a:pt x="484" y="0"/>
                      <a:pt x="0" y="484"/>
                      <a:pt x="0" y="1080"/>
                    </a:cubicBezTo>
                    <a:cubicBezTo>
                      <a:pt x="0" y="1676"/>
                      <a:pt x="484" y="2160"/>
                      <a:pt x="1080" y="2160"/>
                    </a:cubicBezTo>
                    <a:cubicBezTo>
                      <a:pt x="1637" y="2160"/>
                      <a:pt x="2095" y="1739"/>
                      <a:pt x="2154" y="1199"/>
                    </a:cubicBezTo>
                    <a:lnTo>
                      <a:pt x="1993" y="1199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3" dirty="0">
                  <a:latin typeface="+mn-lt"/>
                  <a:sym typeface="+mn-lt"/>
                </a:endParaRPr>
              </a:p>
            </p:txBody>
          </p:sp>
          <p:sp>
            <p:nvSpPr>
              <p:cNvPr id="20" name="Freeform 17">
                <a:extLst>
                  <a:ext uri="{FF2B5EF4-FFF2-40B4-BE49-F238E27FC236}">
                    <a16:creationId xmlns:a16="http://schemas.microsoft.com/office/drawing/2014/main" xmlns="" id="{DCB15062-587A-4F9A-9BDF-905312A6F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4888" y="4411663"/>
                <a:ext cx="1514475" cy="1525588"/>
              </a:xfrm>
              <a:custGeom>
                <a:avLst/>
                <a:gdLst>
                  <a:gd name="T0" fmla="*/ 1182 w 1345"/>
                  <a:gd name="T1" fmla="*/ 561 h 1356"/>
                  <a:gd name="T2" fmla="*/ 1345 w 1345"/>
                  <a:gd name="T3" fmla="*/ 561 h 1356"/>
                  <a:gd name="T4" fmla="*/ 678 w 1345"/>
                  <a:gd name="T5" fmla="*/ 0 h 1356"/>
                  <a:gd name="T6" fmla="*/ 0 w 1345"/>
                  <a:gd name="T7" fmla="*/ 678 h 1356"/>
                  <a:gd name="T8" fmla="*/ 678 w 1345"/>
                  <a:gd name="T9" fmla="*/ 1356 h 1356"/>
                  <a:gd name="T10" fmla="*/ 1345 w 1345"/>
                  <a:gd name="T11" fmla="*/ 797 h 1356"/>
                  <a:gd name="T12" fmla="*/ 1182 w 1345"/>
                  <a:gd name="T13" fmla="*/ 797 h 1356"/>
                  <a:gd name="T14" fmla="*/ 678 w 1345"/>
                  <a:gd name="T15" fmla="*/ 1196 h 1356"/>
                  <a:gd name="T16" fmla="*/ 160 w 1345"/>
                  <a:gd name="T17" fmla="*/ 678 h 1356"/>
                  <a:gd name="T18" fmla="*/ 678 w 1345"/>
                  <a:gd name="T19" fmla="*/ 160 h 1356"/>
                  <a:gd name="T20" fmla="*/ 1182 w 1345"/>
                  <a:gd name="T21" fmla="*/ 561 h 1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45" h="1356">
                    <a:moveTo>
                      <a:pt x="1182" y="561"/>
                    </a:moveTo>
                    <a:cubicBezTo>
                      <a:pt x="1345" y="561"/>
                      <a:pt x="1345" y="561"/>
                      <a:pt x="1345" y="561"/>
                    </a:cubicBezTo>
                    <a:cubicBezTo>
                      <a:pt x="1290" y="243"/>
                      <a:pt x="1012" y="0"/>
                      <a:pt x="678" y="0"/>
                    </a:cubicBezTo>
                    <a:cubicBezTo>
                      <a:pt x="303" y="0"/>
                      <a:pt x="0" y="304"/>
                      <a:pt x="0" y="678"/>
                    </a:cubicBezTo>
                    <a:cubicBezTo>
                      <a:pt x="0" y="1052"/>
                      <a:pt x="303" y="1356"/>
                      <a:pt x="678" y="1356"/>
                    </a:cubicBezTo>
                    <a:cubicBezTo>
                      <a:pt x="1011" y="1356"/>
                      <a:pt x="1289" y="1115"/>
                      <a:pt x="1345" y="797"/>
                    </a:cubicBezTo>
                    <a:cubicBezTo>
                      <a:pt x="1182" y="797"/>
                      <a:pt x="1182" y="797"/>
                      <a:pt x="1182" y="797"/>
                    </a:cubicBezTo>
                    <a:cubicBezTo>
                      <a:pt x="1128" y="1026"/>
                      <a:pt x="922" y="1196"/>
                      <a:pt x="678" y="1196"/>
                    </a:cubicBezTo>
                    <a:cubicBezTo>
                      <a:pt x="392" y="1196"/>
                      <a:pt x="160" y="964"/>
                      <a:pt x="160" y="678"/>
                    </a:cubicBezTo>
                    <a:cubicBezTo>
                      <a:pt x="160" y="392"/>
                      <a:pt x="392" y="160"/>
                      <a:pt x="678" y="160"/>
                    </a:cubicBezTo>
                    <a:cubicBezTo>
                      <a:pt x="923" y="160"/>
                      <a:pt x="1129" y="332"/>
                      <a:pt x="1182" y="56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3" dirty="0">
                  <a:latin typeface="+mn-lt"/>
                  <a:sym typeface="+mn-lt"/>
                </a:endParaRPr>
              </a:p>
            </p:txBody>
          </p:sp>
          <p:sp>
            <p:nvSpPr>
              <p:cNvPr id="21" name="Freeform 18">
                <a:extLst>
                  <a:ext uri="{FF2B5EF4-FFF2-40B4-BE49-F238E27FC236}">
                    <a16:creationId xmlns:a16="http://schemas.microsoft.com/office/drawing/2014/main" xmlns="" id="{E4AB83C3-EEBE-4812-B879-EA88B9069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5738" y="4862513"/>
                <a:ext cx="595313" cy="625475"/>
              </a:xfrm>
              <a:custGeom>
                <a:avLst/>
                <a:gdLst>
                  <a:gd name="T0" fmla="*/ 278 w 530"/>
                  <a:gd name="T1" fmla="*/ 160 h 556"/>
                  <a:gd name="T2" fmla="*/ 292 w 530"/>
                  <a:gd name="T3" fmla="*/ 161 h 556"/>
                  <a:gd name="T4" fmla="*/ 530 w 530"/>
                  <a:gd name="T5" fmla="*/ 161 h 556"/>
                  <a:gd name="T6" fmla="*/ 278 w 530"/>
                  <a:gd name="T7" fmla="*/ 0 h 556"/>
                  <a:gd name="T8" fmla="*/ 0 w 530"/>
                  <a:gd name="T9" fmla="*/ 278 h 556"/>
                  <a:gd name="T10" fmla="*/ 278 w 530"/>
                  <a:gd name="T11" fmla="*/ 556 h 556"/>
                  <a:gd name="T12" fmla="*/ 529 w 530"/>
                  <a:gd name="T13" fmla="*/ 397 h 556"/>
                  <a:gd name="T14" fmla="*/ 292 w 530"/>
                  <a:gd name="T15" fmla="*/ 397 h 556"/>
                  <a:gd name="T16" fmla="*/ 292 w 530"/>
                  <a:gd name="T17" fmla="*/ 395 h 556"/>
                  <a:gd name="T18" fmla="*/ 278 w 530"/>
                  <a:gd name="T19" fmla="*/ 396 h 556"/>
                  <a:gd name="T20" fmla="*/ 160 w 530"/>
                  <a:gd name="T21" fmla="*/ 278 h 556"/>
                  <a:gd name="T22" fmla="*/ 278 w 530"/>
                  <a:gd name="T23" fmla="*/ 16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30" h="556">
                    <a:moveTo>
                      <a:pt x="278" y="160"/>
                    </a:moveTo>
                    <a:cubicBezTo>
                      <a:pt x="283" y="160"/>
                      <a:pt x="287" y="161"/>
                      <a:pt x="292" y="161"/>
                    </a:cubicBezTo>
                    <a:cubicBezTo>
                      <a:pt x="530" y="161"/>
                      <a:pt x="530" y="161"/>
                      <a:pt x="530" y="161"/>
                    </a:cubicBezTo>
                    <a:cubicBezTo>
                      <a:pt x="485" y="66"/>
                      <a:pt x="389" y="0"/>
                      <a:pt x="278" y="0"/>
                    </a:cubicBezTo>
                    <a:cubicBezTo>
                      <a:pt x="124" y="0"/>
                      <a:pt x="0" y="125"/>
                      <a:pt x="0" y="278"/>
                    </a:cubicBezTo>
                    <a:cubicBezTo>
                      <a:pt x="0" y="432"/>
                      <a:pt x="124" y="556"/>
                      <a:pt x="278" y="556"/>
                    </a:cubicBezTo>
                    <a:cubicBezTo>
                      <a:pt x="388" y="556"/>
                      <a:pt x="484" y="491"/>
                      <a:pt x="529" y="397"/>
                    </a:cubicBezTo>
                    <a:cubicBezTo>
                      <a:pt x="292" y="397"/>
                      <a:pt x="292" y="397"/>
                      <a:pt x="292" y="397"/>
                    </a:cubicBezTo>
                    <a:cubicBezTo>
                      <a:pt x="292" y="395"/>
                      <a:pt x="292" y="395"/>
                      <a:pt x="292" y="395"/>
                    </a:cubicBezTo>
                    <a:cubicBezTo>
                      <a:pt x="287" y="395"/>
                      <a:pt x="283" y="396"/>
                      <a:pt x="278" y="396"/>
                    </a:cubicBezTo>
                    <a:cubicBezTo>
                      <a:pt x="213" y="396"/>
                      <a:pt x="160" y="343"/>
                      <a:pt x="160" y="278"/>
                    </a:cubicBezTo>
                    <a:cubicBezTo>
                      <a:pt x="160" y="213"/>
                      <a:pt x="213" y="160"/>
                      <a:pt x="278" y="16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3" dirty="0">
                  <a:latin typeface="+mn-lt"/>
                  <a:sym typeface="+mn-lt"/>
                </a:endParaRPr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xmlns="" id="{653B6665-613F-40E7-A3B8-2B09215668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4351" y="4745038"/>
                <a:ext cx="2235200" cy="858838"/>
              </a:xfrm>
              <a:custGeom>
                <a:avLst/>
                <a:gdLst>
                  <a:gd name="T0" fmla="*/ 1328 w 1408"/>
                  <a:gd name="T1" fmla="*/ 541 h 541"/>
                  <a:gd name="T2" fmla="*/ 1408 w 1408"/>
                  <a:gd name="T3" fmla="*/ 461 h 541"/>
                  <a:gd name="T4" fmla="*/ 1218 w 1408"/>
                  <a:gd name="T5" fmla="*/ 271 h 541"/>
                  <a:gd name="T6" fmla="*/ 1408 w 1408"/>
                  <a:gd name="T7" fmla="*/ 81 h 541"/>
                  <a:gd name="T8" fmla="*/ 1328 w 1408"/>
                  <a:gd name="T9" fmla="*/ 0 h 541"/>
                  <a:gd name="T10" fmla="*/ 1115 w 1408"/>
                  <a:gd name="T11" fmla="*/ 214 h 541"/>
                  <a:gd name="T12" fmla="*/ 1012 w 1408"/>
                  <a:gd name="T13" fmla="*/ 214 h 541"/>
                  <a:gd name="T14" fmla="*/ 1146 w 1408"/>
                  <a:gd name="T15" fmla="*/ 81 h 541"/>
                  <a:gd name="T16" fmla="*/ 1066 w 1408"/>
                  <a:gd name="T17" fmla="*/ 0 h 541"/>
                  <a:gd name="T18" fmla="*/ 852 w 1408"/>
                  <a:gd name="T19" fmla="*/ 214 h 541"/>
                  <a:gd name="T20" fmla="*/ 0 w 1408"/>
                  <a:gd name="T21" fmla="*/ 214 h 541"/>
                  <a:gd name="T22" fmla="*/ 0 w 1408"/>
                  <a:gd name="T23" fmla="*/ 327 h 541"/>
                  <a:gd name="T24" fmla="*/ 853 w 1408"/>
                  <a:gd name="T25" fmla="*/ 327 h 541"/>
                  <a:gd name="T26" fmla="*/ 1066 w 1408"/>
                  <a:gd name="T27" fmla="*/ 541 h 541"/>
                  <a:gd name="T28" fmla="*/ 1146 w 1408"/>
                  <a:gd name="T29" fmla="*/ 461 h 541"/>
                  <a:gd name="T30" fmla="*/ 1013 w 1408"/>
                  <a:gd name="T31" fmla="*/ 327 h 541"/>
                  <a:gd name="T32" fmla="*/ 1115 w 1408"/>
                  <a:gd name="T33" fmla="*/ 327 h 541"/>
                  <a:gd name="T34" fmla="*/ 1328 w 1408"/>
                  <a:gd name="T35" fmla="*/ 541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08" h="541">
                    <a:moveTo>
                      <a:pt x="1328" y="541"/>
                    </a:moveTo>
                    <a:lnTo>
                      <a:pt x="1408" y="461"/>
                    </a:lnTo>
                    <a:lnTo>
                      <a:pt x="1218" y="271"/>
                    </a:lnTo>
                    <a:lnTo>
                      <a:pt x="1408" y="81"/>
                    </a:lnTo>
                    <a:lnTo>
                      <a:pt x="1328" y="0"/>
                    </a:lnTo>
                    <a:lnTo>
                      <a:pt x="1115" y="214"/>
                    </a:lnTo>
                    <a:lnTo>
                      <a:pt x="1012" y="214"/>
                    </a:lnTo>
                    <a:lnTo>
                      <a:pt x="1146" y="81"/>
                    </a:lnTo>
                    <a:lnTo>
                      <a:pt x="1066" y="0"/>
                    </a:lnTo>
                    <a:lnTo>
                      <a:pt x="852" y="214"/>
                    </a:lnTo>
                    <a:lnTo>
                      <a:pt x="0" y="214"/>
                    </a:lnTo>
                    <a:lnTo>
                      <a:pt x="0" y="327"/>
                    </a:lnTo>
                    <a:lnTo>
                      <a:pt x="853" y="327"/>
                    </a:lnTo>
                    <a:lnTo>
                      <a:pt x="1066" y="541"/>
                    </a:lnTo>
                    <a:lnTo>
                      <a:pt x="1146" y="461"/>
                    </a:lnTo>
                    <a:lnTo>
                      <a:pt x="1013" y="327"/>
                    </a:lnTo>
                    <a:lnTo>
                      <a:pt x="1115" y="327"/>
                    </a:lnTo>
                    <a:lnTo>
                      <a:pt x="1328" y="54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3" dirty="0">
                  <a:latin typeface="+mn-lt"/>
                  <a:sym typeface="+mn-lt"/>
                </a:endParaRP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5EFE6C43-4D2F-496A-B1D5-01260FB9B3E2}"/>
              </a:ext>
            </a:extLst>
          </p:cNvPr>
          <p:cNvGrpSpPr/>
          <p:nvPr/>
        </p:nvGrpSpPr>
        <p:grpSpPr>
          <a:xfrm>
            <a:off x="3141600" y="1258260"/>
            <a:ext cx="8586746" cy="4982354"/>
            <a:chOff x="1614023" y="1615212"/>
            <a:chExt cx="10290985" cy="498235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5F5E9979-F55B-4495-8256-2E49A2CDE34A}"/>
                </a:ext>
              </a:extLst>
            </p:cNvPr>
            <p:cNvSpPr/>
            <p:nvPr/>
          </p:nvSpPr>
          <p:spPr>
            <a:xfrm>
              <a:off x="6960440" y="1615212"/>
              <a:ext cx="4944568" cy="4618657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6000" tIns="96000" rIns="96000" bIns="96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</a:pPr>
              <a:endParaRPr lang="en-US" sz="2000" b="0" dirty="0"/>
            </a:p>
          </p:txBody>
        </p:sp>
        <p:sp>
          <p:nvSpPr>
            <p:cNvPr id="6" name="Subtitle">
              <a:extLst>
                <a:ext uri="{FF2B5EF4-FFF2-40B4-BE49-F238E27FC236}">
                  <a16:creationId xmlns:a16="http://schemas.microsoft.com/office/drawing/2014/main" xmlns="" id="{1640222B-4C66-4D51-AF9F-54482A03C438}"/>
                </a:ext>
              </a:extLst>
            </p:cNvPr>
            <p:cNvSpPr txBox="1">
              <a:spLocks/>
            </p:cNvSpPr>
            <p:nvPr/>
          </p:nvSpPr>
          <p:spPr>
            <a:xfrm>
              <a:off x="1614023" y="1769988"/>
              <a:ext cx="5313422" cy="192873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ermitir la </a:t>
              </a: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olaboración y el aprendizaje mutuo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entre ciudades y, por lo tanto, facilitar la creación de </a:t>
              </a: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redes interregionales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. 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ermitir </a:t>
              </a: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rocesos formales de revisión por homólogos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que permitan mejorar el proceso de transformación digital y modernización industrial de las ciudades.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Impartir </a:t>
              </a: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formación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 a todas las ciudades sobre métodos y temas específicos a través de una plataforma centralizada.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7" name="Subtitle">
              <a:extLst>
                <a:ext uri="{FF2B5EF4-FFF2-40B4-BE49-F238E27FC236}">
                  <a16:creationId xmlns:a16="http://schemas.microsoft.com/office/drawing/2014/main" xmlns="" id="{47E4B727-E438-4F02-B195-BDBA935744CE}"/>
                </a:ext>
              </a:extLst>
            </p:cNvPr>
            <p:cNvSpPr txBox="1">
              <a:spLocks/>
            </p:cNvSpPr>
            <p:nvPr/>
          </p:nvSpPr>
          <p:spPr>
            <a:xfrm>
              <a:off x="1702597" y="3940428"/>
              <a:ext cx="5205608" cy="265713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resentación de planes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nte compañeros y revisión por homólogos de ciudades en la misma fase y en diferentes fases.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Trabajo en red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on otras ciudades modelo y con regiones y ciudades que ya han implementado las mejores prácticas.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Aprender de experiencias de primera mano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en oleadas anteriores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Compartir buenas prácticas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y cómo se aplican a las regiones y ciudades modelo. 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Formación metodológica </a:t>
              </a: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por parte de los preparadores.</a:t>
              </a:r>
              <a:endParaRPr lang="en-GB" b="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sp>
          <p:nvSpPr>
            <p:cNvPr id="9" name="Subtitle">
              <a:extLst>
                <a:ext uri="{FF2B5EF4-FFF2-40B4-BE49-F238E27FC236}">
                  <a16:creationId xmlns:a16="http://schemas.microsoft.com/office/drawing/2014/main" xmlns="" id="{6587A226-D580-49DE-8536-2770CB55300B}"/>
                </a:ext>
              </a:extLst>
            </p:cNvPr>
            <p:cNvSpPr txBox="1">
              <a:spLocks/>
            </p:cNvSpPr>
            <p:nvPr/>
          </p:nvSpPr>
          <p:spPr>
            <a:xfrm>
              <a:off x="7571343" y="3733369"/>
              <a:ext cx="4313740" cy="239296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Organización práctica de los seminarios de la academia por parte del equipo de gestión de proyectos 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Los próximos seminarios se organizarán en una de las Ciudades Digitales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Los seminarios serán moderados principalmente por los líderes del equipo de Digital City, con la asistencia de compañeros y expertos externos.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Deberías asistir a todos los seminarios de la Academia!</a:t>
              </a:r>
              <a:endParaRPr lang="en-GB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xmlns="" id="{DCB55998-BB82-42D6-9AD3-DDEAA8A834B6}"/>
                </a:ext>
              </a:extLst>
            </p:cNvPr>
            <p:cNvCxnSpPr/>
            <p:nvPr/>
          </p:nvCxnSpPr>
          <p:spPr>
            <a:xfrm>
              <a:off x="1702599" y="3698721"/>
              <a:ext cx="4992000" cy="0"/>
            </a:xfrm>
            <a:prstGeom prst="line">
              <a:avLst/>
            </a:prstGeom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xmlns="" id="{A15C4226-D523-40DC-9D4F-B02E2CC73368}"/>
                </a:ext>
              </a:extLst>
            </p:cNvPr>
            <p:cNvCxnSpPr/>
            <p:nvPr/>
          </p:nvCxnSpPr>
          <p:spPr>
            <a:xfrm>
              <a:off x="7060917" y="3698721"/>
              <a:ext cx="3988985" cy="0"/>
            </a:xfrm>
            <a:prstGeom prst="line">
              <a:avLst/>
            </a:prstGeom>
            <a:ln w="9525"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Subtitle">
              <a:extLst>
                <a:ext uri="{FF2B5EF4-FFF2-40B4-BE49-F238E27FC236}">
                  <a16:creationId xmlns:a16="http://schemas.microsoft.com/office/drawing/2014/main" xmlns="" id="{C402B6BB-E47A-4AF0-82DC-BDC87CBEADEB}"/>
                </a:ext>
              </a:extLst>
            </p:cNvPr>
            <p:cNvSpPr txBox="1">
              <a:spLocks/>
            </p:cNvSpPr>
            <p:nvPr/>
          </p:nvSpPr>
          <p:spPr>
            <a:xfrm>
              <a:off x="7591268" y="1759938"/>
              <a:ext cx="4313740" cy="1592744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4 seminarios 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1 seminario sólo para miembros de la primera fase (02/2018)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b="0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3 seminarios en los que participarán ambas fases (05/2018, 09/2018 y 01/2019)</a:t>
              </a:r>
            </a:p>
            <a:p>
              <a:pPr marL="152070" lvl="1" indent="-152070">
                <a:spcBef>
                  <a:spcPts val="533"/>
                </a:spcBef>
                <a:buSzPct val="100000"/>
                <a:buFont typeface="Arial"/>
                <a:buChar char="•"/>
              </a:pPr>
              <a:r>
                <a:rPr lang="es-ES" dirty="0">
                  <a:latin typeface="Helvetica" panose="020B0604020202020204" pitchFamily="34" charset="0"/>
                  <a:cs typeface="Helvetica" panose="020B0604020202020204" pitchFamily="34" charset="0"/>
                  <a:sym typeface="+mn-lt"/>
                </a:rPr>
                <a:t>S2: Mayo 2018 , S3: Septiembre 2019 , S4: Enero 2019</a:t>
              </a:r>
              <a:endParaRPr lang="en-GB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9EEE40C1-15A4-4F6C-8471-3329AD9514AC}"/>
              </a:ext>
            </a:extLst>
          </p:cNvPr>
          <p:cNvGrpSpPr/>
          <p:nvPr/>
        </p:nvGrpSpPr>
        <p:grpSpPr>
          <a:xfrm>
            <a:off x="7705074" y="1373891"/>
            <a:ext cx="407284" cy="3661185"/>
            <a:chOff x="12192000" y="1718856"/>
            <a:chExt cx="407284" cy="3661185"/>
          </a:xfrm>
        </p:grpSpPr>
        <p:sp>
          <p:nvSpPr>
            <p:cNvPr id="8" name="Subtitle">
              <a:extLst>
                <a:ext uri="{FF2B5EF4-FFF2-40B4-BE49-F238E27FC236}">
                  <a16:creationId xmlns:a16="http://schemas.microsoft.com/office/drawing/2014/main" xmlns="" id="{31650100-F1C6-46CE-A6E4-2C5FC85CFDC0}"/>
                </a:ext>
              </a:extLst>
            </p:cNvPr>
            <p:cNvSpPr txBox="1">
              <a:spLocks/>
            </p:cNvSpPr>
            <p:nvPr/>
          </p:nvSpPr>
          <p:spPr>
            <a:xfrm>
              <a:off x="12275640" y="2163832"/>
              <a:ext cx="240002" cy="150521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vert270" wrap="none" lIns="0" tIns="0" rIns="0" bIns="0" rtlCol="0" anchor="ctr">
              <a:spAutoFit/>
            </a:bodyPr>
            <a:lstStyle/>
            <a:p>
              <a:pPr algn="r">
                <a:lnSpc>
                  <a:spcPct val="90000"/>
                </a:lnSpc>
                <a:buSzPct val="100000"/>
              </a:pPr>
              <a:r>
                <a:rPr lang="en-GB" sz="1733" dirty="0">
                  <a:solidFill>
                    <a:schemeClr val="accent5">
                      <a:lumMod val="100000"/>
                    </a:schemeClr>
                  </a:solidFill>
                  <a:latin typeface="+mn-lt"/>
                  <a:sym typeface="+mn-lt"/>
                </a:rPr>
                <a:t>Planificación</a:t>
              </a:r>
              <a:r>
                <a:rPr lang="en-GB" sz="1733" baseline="30000" dirty="0">
                  <a:solidFill>
                    <a:schemeClr val="accent5">
                      <a:lumMod val="100000"/>
                    </a:schemeClr>
                  </a:solidFill>
                  <a:latin typeface="+mn-lt"/>
                  <a:sym typeface="+mn-lt"/>
                </a:rPr>
                <a:t>1)</a:t>
              </a:r>
              <a:endParaRPr lang="en-GB" sz="1733" dirty="0">
                <a:solidFill>
                  <a:schemeClr val="accent5">
                    <a:lumMod val="100000"/>
                  </a:schemeClr>
                </a:solidFill>
                <a:latin typeface="+mn-lt"/>
                <a:sym typeface="+mn-lt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432A6034-313D-4DB9-A3DD-2EB56C3D6CE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230428" y="1718856"/>
              <a:ext cx="330424" cy="382928"/>
            </a:xfrm>
            <a:custGeom>
              <a:avLst/>
              <a:gdLst>
                <a:gd name="T0" fmla="*/ 280 w 1760"/>
                <a:gd name="T1" fmla="*/ 0 h 2040"/>
                <a:gd name="T2" fmla="*/ 320 w 1760"/>
                <a:gd name="T3" fmla="*/ 120 h 2040"/>
                <a:gd name="T4" fmla="*/ 480 w 1760"/>
                <a:gd name="T5" fmla="*/ 40 h 2040"/>
                <a:gd name="T6" fmla="*/ 560 w 1760"/>
                <a:gd name="T7" fmla="*/ 40 h 2040"/>
                <a:gd name="T8" fmla="*/ 720 w 1760"/>
                <a:gd name="T9" fmla="*/ 120 h 2040"/>
                <a:gd name="T10" fmla="*/ 760 w 1760"/>
                <a:gd name="T11" fmla="*/ 0 h 2040"/>
                <a:gd name="T12" fmla="*/ 800 w 1760"/>
                <a:gd name="T13" fmla="*/ 120 h 2040"/>
                <a:gd name="T14" fmla="*/ 960 w 1760"/>
                <a:gd name="T15" fmla="*/ 40 h 2040"/>
                <a:gd name="T16" fmla="*/ 1040 w 1760"/>
                <a:gd name="T17" fmla="*/ 40 h 2040"/>
                <a:gd name="T18" fmla="*/ 1200 w 1760"/>
                <a:gd name="T19" fmla="*/ 120 h 2040"/>
                <a:gd name="T20" fmla="*/ 1240 w 1760"/>
                <a:gd name="T21" fmla="*/ 0 h 2040"/>
                <a:gd name="T22" fmla="*/ 1280 w 1760"/>
                <a:gd name="T23" fmla="*/ 120 h 2040"/>
                <a:gd name="T24" fmla="*/ 1440 w 1760"/>
                <a:gd name="T25" fmla="*/ 40 h 2040"/>
                <a:gd name="T26" fmla="*/ 1520 w 1760"/>
                <a:gd name="T27" fmla="*/ 40 h 2040"/>
                <a:gd name="T28" fmla="*/ 1640 w 1760"/>
                <a:gd name="T29" fmla="*/ 120 h 2040"/>
                <a:gd name="T30" fmla="*/ 1760 w 1760"/>
                <a:gd name="T31" fmla="*/ 680 h 2040"/>
                <a:gd name="T32" fmla="*/ 0 w 1760"/>
                <a:gd name="T33" fmla="*/ 240 h 2040"/>
                <a:gd name="T34" fmla="*/ 240 w 1760"/>
                <a:gd name="T35" fmla="*/ 120 h 2040"/>
                <a:gd name="T36" fmla="*/ 1760 w 1760"/>
                <a:gd name="T37" fmla="*/ 760 h 2040"/>
                <a:gd name="T38" fmla="*/ 0 w 1760"/>
                <a:gd name="T39" fmla="*/ 2040 h 2040"/>
                <a:gd name="T40" fmla="*/ 1760 w 1760"/>
                <a:gd name="T41" fmla="*/ 760 h 2040"/>
                <a:gd name="T42" fmla="*/ 240 w 1760"/>
                <a:gd name="T43" fmla="*/ 120 h 2040"/>
                <a:gd name="T44" fmla="*/ 200 w 1760"/>
                <a:gd name="T45" fmla="*/ 320 h 2040"/>
                <a:gd name="T46" fmla="*/ 360 w 1760"/>
                <a:gd name="T47" fmla="*/ 320 h 2040"/>
                <a:gd name="T48" fmla="*/ 320 w 1760"/>
                <a:gd name="T49" fmla="*/ 120 h 2040"/>
                <a:gd name="T50" fmla="*/ 480 w 1760"/>
                <a:gd name="T51" fmla="*/ 251 h 2040"/>
                <a:gd name="T52" fmla="*/ 520 w 1760"/>
                <a:gd name="T53" fmla="*/ 400 h 2040"/>
                <a:gd name="T54" fmla="*/ 560 w 1760"/>
                <a:gd name="T55" fmla="*/ 251 h 2040"/>
                <a:gd name="T56" fmla="*/ 480 w 1760"/>
                <a:gd name="T57" fmla="*/ 120 h 2040"/>
                <a:gd name="T58" fmla="*/ 720 w 1760"/>
                <a:gd name="T59" fmla="*/ 251 h 2040"/>
                <a:gd name="T60" fmla="*/ 760 w 1760"/>
                <a:gd name="T61" fmla="*/ 400 h 2040"/>
                <a:gd name="T62" fmla="*/ 800 w 1760"/>
                <a:gd name="T63" fmla="*/ 251 h 2040"/>
                <a:gd name="T64" fmla="*/ 720 w 1760"/>
                <a:gd name="T65" fmla="*/ 120 h 2040"/>
                <a:gd name="T66" fmla="*/ 960 w 1760"/>
                <a:gd name="T67" fmla="*/ 251 h 2040"/>
                <a:gd name="T68" fmla="*/ 1000 w 1760"/>
                <a:gd name="T69" fmla="*/ 400 h 2040"/>
                <a:gd name="T70" fmla="*/ 1040 w 1760"/>
                <a:gd name="T71" fmla="*/ 251 h 2040"/>
                <a:gd name="T72" fmla="*/ 960 w 1760"/>
                <a:gd name="T73" fmla="*/ 120 h 2040"/>
                <a:gd name="T74" fmla="*/ 1200 w 1760"/>
                <a:gd name="T75" fmla="*/ 251 h 2040"/>
                <a:gd name="T76" fmla="*/ 1240 w 1760"/>
                <a:gd name="T77" fmla="*/ 400 h 2040"/>
                <a:gd name="T78" fmla="*/ 1280 w 1760"/>
                <a:gd name="T79" fmla="*/ 251 h 2040"/>
                <a:gd name="T80" fmla="*/ 1200 w 1760"/>
                <a:gd name="T81" fmla="*/ 120 h 2040"/>
                <a:gd name="T82" fmla="*/ 1440 w 1760"/>
                <a:gd name="T83" fmla="*/ 251 h 2040"/>
                <a:gd name="T84" fmla="*/ 1480 w 1760"/>
                <a:gd name="T85" fmla="*/ 400 h 2040"/>
                <a:gd name="T86" fmla="*/ 1520 w 1760"/>
                <a:gd name="T87" fmla="*/ 251 h 2040"/>
                <a:gd name="T88" fmla="*/ 1440 w 1760"/>
                <a:gd name="T89" fmla="*/ 120 h 2040"/>
                <a:gd name="T90" fmla="*/ 600 w 1760"/>
                <a:gd name="T91" fmla="*/ 1080 h 2040"/>
                <a:gd name="T92" fmla="*/ 1080 w 1760"/>
                <a:gd name="T93" fmla="*/ 1117 h 2040"/>
                <a:gd name="T94" fmla="*/ 831 w 1760"/>
                <a:gd name="T95" fmla="*/ 1430 h 2040"/>
                <a:gd name="T96" fmla="*/ 760 w 1760"/>
                <a:gd name="T97" fmla="*/ 1720 h 2040"/>
                <a:gd name="T98" fmla="*/ 840 w 1760"/>
                <a:gd name="T99" fmla="*/ 1600 h 2040"/>
                <a:gd name="T100" fmla="*/ 1089 w 1760"/>
                <a:gd name="T101" fmla="*/ 1287 h 2040"/>
                <a:gd name="T102" fmla="*/ 1160 w 1760"/>
                <a:gd name="T103" fmla="*/ 1000 h 2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60" h="2040">
                  <a:moveTo>
                    <a:pt x="240" y="40"/>
                  </a:moveTo>
                  <a:cubicBezTo>
                    <a:pt x="240" y="18"/>
                    <a:pt x="258" y="0"/>
                    <a:pt x="280" y="0"/>
                  </a:cubicBezTo>
                  <a:cubicBezTo>
                    <a:pt x="302" y="0"/>
                    <a:pt x="320" y="18"/>
                    <a:pt x="320" y="40"/>
                  </a:cubicBezTo>
                  <a:cubicBezTo>
                    <a:pt x="320" y="120"/>
                    <a:pt x="320" y="120"/>
                    <a:pt x="320" y="120"/>
                  </a:cubicBezTo>
                  <a:cubicBezTo>
                    <a:pt x="480" y="120"/>
                    <a:pt x="480" y="120"/>
                    <a:pt x="480" y="120"/>
                  </a:cubicBezTo>
                  <a:cubicBezTo>
                    <a:pt x="480" y="40"/>
                    <a:pt x="480" y="40"/>
                    <a:pt x="480" y="40"/>
                  </a:cubicBezTo>
                  <a:cubicBezTo>
                    <a:pt x="480" y="18"/>
                    <a:pt x="498" y="0"/>
                    <a:pt x="520" y="0"/>
                  </a:cubicBezTo>
                  <a:cubicBezTo>
                    <a:pt x="542" y="0"/>
                    <a:pt x="560" y="18"/>
                    <a:pt x="560" y="40"/>
                  </a:cubicBezTo>
                  <a:cubicBezTo>
                    <a:pt x="560" y="120"/>
                    <a:pt x="560" y="120"/>
                    <a:pt x="560" y="120"/>
                  </a:cubicBezTo>
                  <a:cubicBezTo>
                    <a:pt x="720" y="120"/>
                    <a:pt x="720" y="120"/>
                    <a:pt x="720" y="120"/>
                  </a:cubicBezTo>
                  <a:cubicBezTo>
                    <a:pt x="720" y="40"/>
                    <a:pt x="720" y="40"/>
                    <a:pt x="720" y="40"/>
                  </a:cubicBezTo>
                  <a:cubicBezTo>
                    <a:pt x="720" y="18"/>
                    <a:pt x="738" y="0"/>
                    <a:pt x="760" y="0"/>
                  </a:cubicBezTo>
                  <a:cubicBezTo>
                    <a:pt x="782" y="0"/>
                    <a:pt x="800" y="18"/>
                    <a:pt x="800" y="40"/>
                  </a:cubicBezTo>
                  <a:cubicBezTo>
                    <a:pt x="800" y="120"/>
                    <a:pt x="800" y="120"/>
                    <a:pt x="800" y="120"/>
                  </a:cubicBezTo>
                  <a:cubicBezTo>
                    <a:pt x="960" y="120"/>
                    <a:pt x="960" y="120"/>
                    <a:pt x="960" y="120"/>
                  </a:cubicBezTo>
                  <a:cubicBezTo>
                    <a:pt x="960" y="40"/>
                    <a:pt x="960" y="40"/>
                    <a:pt x="960" y="40"/>
                  </a:cubicBezTo>
                  <a:cubicBezTo>
                    <a:pt x="960" y="18"/>
                    <a:pt x="978" y="0"/>
                    <a:pt x="1000" y="0"/>
                  </a:cubicBezTo>
                  <a:cubicBezTo>
                    <a:pt x="1022" y="0"/>
                    <a:pt x="1040" y="18"/>
                    <a:pt x="1040" y="40"/>
                  </a:cubicBezTo>
                  <a:cubicBezTo>
                    <a:pt x="1040" y="120"/>
                    <a:pt x="1040" y="120"/>
                    <a:pt x="1040" y="120"/>
                  </a:cubicBezTo>
                  <a:cubicBezTo>
                    <a:pt x="1200" y="120"/>
                    <a:pt x="1200" y="120"/>
                    <a:pt x="1200" y="120"/>
                  </a:cubicBezTo>
                  <a:cubicBezTo>
                    <a:pt x="1200" y="40"/>
                    <a:pt x="1200" y="40"/>
                    <a:pt x="1200" y="40"/>
                  </a:cubicBezTo>
                  <a:cubicBezTo>
                    <a:pt x="1200" y="18"/>
                    <a:pt x="1218" y="0"/>
                    <a:pt x="1240" y="0"/>
                  </a:cubicBezTo>
                  <a:cubicBezTo>
                    <a:pt x="1262" y="0"/>
                    <a:pt x="1280" y="18"/>
                    <a:pt x="1280" y="40"/>
                  </a:cubicBezTo>
                  <a:cubicBezTo>
                    <a:pt x="1280" y="120"/>
                    <a:pt x="1280" y="120"/>
                    <a:pt x="1280" y="120"/>
                  </a:cubicBezTo>
                  <a:cubicBezTo>
                    <a:pt x="1440" y="120"/>
                    <a:pt x="1440" y="120"/>
                    <a:pt x="1440" y="120"/>
                  </a:cubicBezTo>
                  <a:cubicBezTo>
                    <a:pt x="1440" y="40"/>
                    <a:pt x="1440" y="40"/>
                    <a:pt x="1440" y="40"/>
                  </a:cubicBezTo>
                  <a:cubicBezTo>
                    <a:pt x="1440" y="18"/>
                    <a:pt x="1458" y="0"/>
                    <a:pt x="1480" y="0"/>
                  </a:cubicBezTo>
                  <a:cubicBezTo>
                    <a:pt x="1502" y="0"/>
                    <a:pt x="1520" y="18"/>
                    <a:pt x="1520" y="40"/>
                  </a:cubicBezTo>
                  <a:cubicBezTo>
                    <a:pt x="1520" y="120"/>
                    <a:pt x="1520" y="120"/>
                    <a:pt x="1520" y="120"/>
                  </a:cubicBezTo>
                  <a:cubicBezTo>
                    <a:pt x="1640" y="120"/>
                    <a:pt x="1640" y="120"/>
                    <a:pt x="1640" y="120"/>
                  </a:cubicBezTo>
                  <a:cubicBezTo>
                    <a:pt x="1706" y="120"/>
                    <a:pt x="1760" y="174"/>
                    <a:pt x="1760" y="240"/>
                  </a:cubicBezTo>
                  <a:cubicBezTo>
                    <a:pt x="1760" y="680"/>
                    <a:pt x="1760" y="680"/>
                    <a:pt x="1760" y="680"/>
                  </a:cubicBezTo>
                  <a:cubicBezTo>
                    <a:pt x="0" y="680"/>
                    <a:pt x="0" y="680"/>
                    <a:pt x="0" y="680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0" y="174"/>
                    <a:pt x="54" y="120"/>
                    <a:pt x="120" y="120"/>
                  </a:cubicBezTo>
                  <a:cubicBezTo>
                    <a:pt x="240" y="120"/>
                    <a:pt x="240" y="120"/>
                    <a:pt x="240" y="120"/>
                  </a:cubicBezTo>
                  <a:lnTo>
                    <a:pt x="240" y="40"/>
                  </a:lnTo>
                  <a:close/>
                  <a:moveTo>
                    <a:pt x="1760" y="760"/>
                  </a:moveTo>
                  <a:cubicBezTo>
                    <a:pt x="1760" y="2040"/>
                    <a:pt x="1760" y="2040"/>
                    <a:pt x="1760" y="2040"/>
                  </a:cubicBezTo>
                  <a:cubicBezTo>
                    <a:pt x="0" y="2040"/>
                    <a:pt x="0" y="2040"/>
                    <a:pt x="0" y="2040"/>
                  </a:cubicBezTo>
                  <a:cubicBezTo>
                    <a:pt x="0" y="760"/>
                    <a:pt x="0" y="760"/>
                    <a:pt x="0" y="760"/>
                  </a:cubicBezTo>
                  <a:lnTo>
                    <a:pt x="1760" y="760"/>
                  </a:lnTo>
                  <a:close/>
                  <a:moveTo>
                    <a:pt x="320" y="120"/>
                  </a:moveTo>
                  <a:cubicBezTo>
                    <a:pt x="240" y="120"/>
                    <a:pt x="240" y="120"/>
                    <a:pt x="240" y="120"/>
                  </a:cubicBezTo>
                  <a:cubicBezTo>
                    <a:pt x="240" y="251"/>
                    <a:pt x="240" y="251"/>
                    <a:pt x="240" y="251"/>
                  </a:cubicBezTo>
                  <a:cubicBezTo>
                    <a:pt x="216" y="264"/>
                    <a:pt x="200" y="290"/>
                    <a:pt x="200" y="320"/>
                  </a:cubicBezTo>
                  <a:cubicBezTo>
                    <a:pt x="200" y="364"/>
                    <a:pt x="236" y="400"/>
                    <a:pt x="280" y="400"/>
                  </a:cubicBezTo>
                  <a:cubicBezTo>
                    <a:pt x="324" y="400"/>
                    <a:pt x="360" y="364"/>
                    <a:pt x="360" y="320"/>
                  </a:cubicBezTo>
                  <a:cubicBezTo>
                    <a:pt x="360" y="290"/>
                    <a:pt x="344" y="264"/>
                    <a:pt x="320" y="251"/>
                  </a:cubicBezTo>
                  <a:lnTo>
                    <a:pt x="320" y="120"/>
                  </a:lnTo>
                  <a:close/>
                  <a:moveTo>
                    <a:pt x="480" y="120"/>
                  </a:moveTo>
                  <a:cubicBezTo>
                    <a:pt x="480" y="251"/>
                    <a:pt x="480" y="251"/>
                    <a:pt x="480" y="251"/>
                  </a:cubicBezTo>
                  <a:cubicBezTo>
                    <a:pt x="456" y="264"/>
                    <a:pt x="440" y="290"/>
                    <a:pt x="440" y="320"/>
                  </a:cubicBezTo>
                  <a:cubicBezTo>
                    <a:pt x="440" y="364"/>
                    <a:pt x="476" y="400"/>
                    <a:pt x="520" y="400"/>
                  </a:cubicBezTo>
                  <a:cubicBezTo>
                    <a:pt x="564" y="400"/>
                    <a:pt x="600" y="364"/>
                    <a:pt x="600" y="320"/>
                  </a:cubicBezTo>
                  <a:cubicBezTo>
                    <a:pt x="600" y="290"/>
                    <a:pt x="584" y="264"/>
                    <a:pt x="560" y="251"/>
                  </a:cubicBezTo>
                  <a:cubicBezTo>
                    <a:pt x="560" y="120"/>
                    <a:pt x="560" y="120"/>
                    <a:pt x="560" y="120"/>
                  </a:cubicBezTo>
                  <a:lnTo>
                    <a:pt x="480" y="120"/>
                  </a:lnTo>
                  <a:close/>
                  <a:moveTo>
                    <a:pt x="720" y="120"/>
                  </a:moveTo>
                  <a:cubicBezTo>
                    <a:pt x="720" y="251"/>
                    <a:pt x="720" y="251"/>
                    <a:pt x="720" y="251"/>
                  </a:cubicBezTo>
                  <a:cubicBezTo>
                    <a:pt x="696" y="264"/>
                    <a:pt x="680" y="290"/>
                    <a:pt x="680" y="320"/>
                  </a:cubicBezTo>
                  <a:cubicBezTo>
                    <a:pt x="680" y="364"/>
                    <a:pt x="716" y="400"/>
                    <a:pt x="760" y="400"/>
                  </a:cubicBezTo>
                  <a:cubicBezTo>
                    <a:pt x="804" y="400"/>
                    <a:pt x="840" y="364"/>
                    <a:pt x="840" y="320"/>
                  </a:cubicBezTo>
                  <a:cubicBezTo>
                    <a:pt x="840" y="290"/>
                    <a:pt x="824" y="264"/>
                    <a:pt x="800" y="251"/>
                  </a:cubicBezTo>
                  <a:cubicBezTo>
                    <a:pt x="800" y="120"/>
                    <a:pt x="800" y="120"/>
                    <a:pt x="800" y="120"/>
                  </a:cubicBezTo>
                  <a:lnTo>
                    <a:pt x="720" y="120"/>
                  </a:lnTo>
                  <a:close/>
                  <a:moveTo>
                    <a:pt x="960" y="120"/>
                  </a:moveTo>
                  <a:cubicBezTo>
                    <a:pt x="960" y="251"/>
                    <a:pt x="960" y="251"/>
                    <a:pt x="960" y="251"/>
                  </a:cubicBezTo>
                  <a:cubicBezTo>
                    <a:pt x="936" y="264"/>
                    <a:pt x="920" y="290"/>
                    <a:pt x="920" y="320"/>
                  </a:cubicBezTo>
                  <a:cubicBezTo>
                    <a:pt x="920" y="364"/>
                    <a:pt x="956" y="400"/>
                    <a:pt x="1000" y="400"/>
                  </a:cubicBezTo>
                  <a:cubicBezTo>
                    <a:pt x="1044" y="400"/>
                    <a:pt x="1080" y="364"/>
                    <a:pt x="1080" y="320"/>
                  </a:cubicBezTo>
                  <a:cubicBezTo>
                    <a:pt x="1080" y="290"/>
                    <a:pt x="1064" y="264"/>
                    <a:pt x="1040" y="251"/>
                  </a:cubicBezTo>
                  <a:cubicBezTo>
                    <a:pt x="1040" y="120"/>
                    <a:pt x="1040" y="120"/>
                    <a:pt x="1040" y="120"/>
                  </a:cubicBezTo>
                  <a:lnTo>
                    <a:pt x="960" y="120"/>
                  </a:lnTo>
                  <a:close/>
                  <a:moveTo>
                    <a:pt x="1200" y="120"/>
                  </a:moveTo>
                  <a:cubicBezTo>
                    <a:pt x="1200" y="251"/>
                    <a:pt x="1200" y="251"/>
                    <a:pt x="1200" y="251"/>
                  </a:cubicBezTo>
                  <a:cubicBezTo>
                    <a:pt x="1176" y="264"/>
                    <a:pt x="1160" y="290"/>
                    <a:pt x="1160" y="320"/>
                  </a:cubicBezTo>
                  <a:cubicBezTo>
                    <a:pt x="1160" y="364"/>
                    <a:pt x="1196" y="400"/>
                    <a:pt x="1240" y="400"/>
                  </a:cubicBezTo>
                  <a:cubicBezTo>
                    <a:pt x="1284" y="400"/>
                    <a:pt x="1320" y="364"/>
                    <a:pt x="1320" y="320"/>
                  </a:cubicBezTo>
                  <a:cubicBezTo>
                    <a:pt x="1320" y="290"/>
                    <a:pt x="1304" y="264"/>
                    <a:pt x="1280" y="251"/>
                  </a:cubicBezTo>
                  <a:cubicBezTo>
                    <a:pt x="1280" y="120"/>
                    <a:pt x="1280" y="120"/>
                    <a:pt x="1280" y="120"/>
                  </a:cubicBezTo>
                  <a:lnTo>
                    <a:pt x="1200" y="120"/>
                  </a:lnTo>
                  <a:close/>
                  <a:moveTo>
                    <a:pt x="1440" y="120"/>
                  </a:moveTo>
                  <a:cubicBezTo>
                    <a:pt x="1440" y="251"/>
                    <a:pt x="1440" y="251"/>
                    <a:pt x="1440" y="251"/>
                  </a:cubicBezTo>
                  <a:cubicBezTo>
                    <a:pt x="1416" y="264"/>
                    <a:pt x="1400" y="290"/>
                    <a:pt x="1400" y="320"/>
                  </a:cubicBezTo>
                  <a:cubicBezTo>
                    <a:pt x="1400" y="364"/>
                    <a:pt x="1436" y="400"/>
                    <a:pt x="1480" y="400"/>
                  </a:cubicBezTo>
                  <a:cubicBezTo>
                    <a:pt x="1524" y="400"/>
                    <a:pt x="1560" y="364"/>
                    <a:pt x="1560" y="320"/>
                  </a:cubicBezTo>
                  <a:cubicBezTo>
                    <a:pt x="1560" y="290"/>
                    <a:pt x="1544" y="264"/>
                    <a:pt x="1520" y="251"/>
                  </a:cubicBezTo>
                  <a:cubicBezTo>
                    <a:pt x="1520" y="120"/>
                    <a:pt x="1520" y="120"/>
                    <a:pt x="1520" y="120"/>
                  </a:cubicBezTo>
                  <a:lnTo>
                    <a:pt x="1440" y="120"/>
                  </a:lnTo>
                  <a:close/>
                  <a:moveTo>
                    <a:pt x="600" y="1000"/>
                  </a:moveTo>
                  <a:cubicBezTo>
                    <a:pt x="600" y="1080"/>
                    <a:pt x="600" y="1080"/>
                    <a:pt x="600" y="1080"/>
                  </a:cubicBezTo>
                  <a:cubicBezTo>
                    <a:pt x="1080" y="1080"/>
                    <a:pt x="1080" y="1080"/>
                    <a:pt x="1080" y="1080"/>
                  </a:cubicBezTo>
                  <a:cubicBezTo>
                    <a:pt x="1080" y="1117"/>
                    <a:pt x="1080" y="1117"/>
                    <a:pt x="1080" y="1117"/>
                  </a:cubicBezTo>
                  <a:cubicBezTo>
                    <a:pt x="1080" y="1162"/>
                    <a:pt x="1065" y="1199"/>
                    <a:pt x="1034" y="1230"/>
                  </a:cubicBezTo>
                  <a:cubicBezTo>
                    <a:pt x="831" y="1430"/>
                    <a:pt x="831" y="1430"/>
                    <a:pt x="831" y="1430"/>
                  </a:cubicBezTo>
                  <a:cubicBezTo>
                    <a:pt x="784" y="1476"/>
                    <a:pt x="760" y="1534"/>
                    <a:pt x="760" y="1600"/>
                  </a:cubicBezTo>
                  <a:cubicBezTo>
                    <a:pt x="760" y="1720"/>
                    <a:pt x="760" y="1720"/>
                    <a:pt x="760" y="1720"/>
                  </a:cubicBezTo>
                  <a:cubicBezTo>
                    <a:pt x="840" y="1720"/>
                    <a:pt x="840" y="1720"/>
                    <a:pt x="840" y="1720"/>
                  </a:cubicBezTo>
                  <a:cubicBezTo>
                    <a:pt x="840" y="1600"/>
                    <a:pt x="840" y="1600"/>
                    <a:pt x="840" y="1600"/>
                  </a:cubicBezTo>
                  <a:cubicBezTo>
                    <a:pt x="840" y="1556"/>
                    <a:pt x="855" y="1518"/>
                    <a:pt x="886" y="1487"/>
                  </a:cubicBezTo>
                  <a:cubicBezTo>
                    <a:pt x="1089" y="1287"/>
                    <a:pt x="1089" y="1287"/>
                    <a:pt x="1089" y="1287"/>
                  </a:cubicBezTo>
                  <a:cubicBezTo>
                    <a:pt x="1136" y="1241"/>
                    <a:pt x="1160" y="1183"/>
                    <a:pt x="1160" y="1117"/>
                  </a:cubicBezTo>
                  <a:cubicBezTo>
                    <a:pt x="1160" y="1000"/>
                    <a:pt x="1160" y="1000"/>
                    <a:pt x="1160" y="1000"/>
                  </a:cubicBezTo>
                  <a:lnTo>
                    <a:pt x="600" y="100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1733" dirty="0">
                <a:latin typeface="+mn-lt"/>
                <a:sym typeface="+mn-lt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xmlns="" id="{30EDDC82-7BB6-4CF5-93CE-392F0DB4B925}"/>
                </a:ext>
              </a:extLst>
            </p:cNvPr>
            <p:cNvGrpSpPr/>
            <p:nvPr/>
          </p:nvGrpSpPr>
          <p:grpSpPr>
            <a:xfrm>
              <a:off x="12192000" y="3940429"/>
              <a:ext cx="407284" cy="1439612"/>
              <a:chOff x="5674761" y="3623108"/>
              <a:chExt cx="305463" cy="1079709"/>
            </a:xfrm>
          </p:grpSpPr>
          <p:sp>
            <p:nvSpPr>
              <p:cNvPr id="23" name="Subtitle">
                <a:extLst>
                  <a:ext uri="{FF2B5EF4-FFF2-40B4-BE49-F238E27FC236}">
                    <a16:creationId xmlns:a16="http://schemas.microsoft.com/office/drawing/2014/main" xmlns="" id="{42C51F2D-EDE0-4C45-AF75-DBCF73EC553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37492" y="3969443"/>
                <a:ext cx="180002" cy="733374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vert270" wrap="none" lIns="0" tIns="0" rIns="0" bIns="0" rtlCol="0" anchor="ctr">
                <a:spAutoFit/>
              </a:bodyPr>
              <a:lstStyle/>
              <a:p>
                <a:pPr algn="r">
                  <a:lnSpc>
                    <a:spcPct val="90000"/>
                  </a:lnSpc>
                  <a:buSzPct val="100000"/>
                </a:pPr>
                <a:r>
                  <a:rPr lang="en-GB" sz="1733" dirty="0" err="1">
                    <a:solidFill>
                      <a:schemeClr val="accent5">
                        <a:lumMod val="100000"/>
                      </a:schemeClr>
                    </a:solidFill>
                    <a:latin typeface="+mn-lt"/>
                    <a:sym typeface="+mn-lt"/>
                  </a:rPr>
                  <a:t>Logística</a:t>
                </a:r>
                <a:endParaRPr lang="en-GB" sz="1733" dirty="0">
                  <a:solidFill>
                    <a:schemeClr val="accent5">
                      <a:lumMod val="100000"/>
                    </a:schemeClr>
                  </a:solidFill>
                  <a:latin typeface="+mn-lt"/>
                  <a:sym typeface="+mn-lt"/>
                </a:endParaRPr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xmlns="" id="{A4B86D58-E911-4FF5-8045-CEDD090C1DA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674761" y="3623108"/>
                <a:ext cx="305463" cy="305287"/>
              </a:xfrm>
              <a:custGeom>
                <a:avLst/>
                <a:gdLst>
                  <a:gd name="T0" fmla="*/ 640 w 1920"/>
                  <a:gd name="T1" fmla="*/ 291 h 1920"/>
                  <a:gd name="T2" fmla="*/ 1051 w 1920"/>
                  <a:gd name="T3" fmla="*/ 350 h 1920"/>
                  <a:gd name="T4" fmla="*/ 1040 w 1920"/>
                  <a:gd name="T5" fmla="*/ 429 h 1920"/>
                  <a:gd name="T6" fmla="*/ 629 w 1920"/>
                  <a:gd name="T7" fmla="*/ 370 h 1920"/>
                  <a:gd name="T8" fmla="*/ 640 w 1920"/>
                  <a:gd name="T9" fmla="*/ 291 h 1920"/>
                  <a:gd name="T10" fmla="*/ 520 w 1920"/>
                  <a:gd name="T11" fmla="*/ 1360 h 1920"/>
                  <a:gd name="T12" fmla="*/ 800 w 1920"/>
                  <a:gd name="T13" fmla="*/ 1640 h 1920"/>
                  <a:gd name="T14" fmla="*/ 520 w 1920"/>
                  <a:gd name="T15" fmla="*/ 1920 h 1920"/>
                  <a:gd name="T16" fmla="*/ 240 w 1920"/>
                  <a:gd name="T17" fmla="*/ 1640 h 1920"/>
                  <a:gd name="T18" fmla="*/ 520 w 1920"/>
                  <a:gd name="T19" fmla="*/ 1360 h 1920"/>
                  <a:gd name="T20" fmla="*/ 1640 w 1920"/>
                  <a:gd name="T21" fmla="*/ 1200 h 1920"/>
                  <a:gd name="T22" fmla="*/ 1920 w 1920"/>
                  <a:gd name="T23" fmla="*/ 1480 h 1920"/>
                  <a:gd name="T24" fmla="*/ 1640 w 1920"/>
                  <a:gd name="T25" fmla="*/ 1760 h 1920"/>
                  <a:gd name="T26" fmla="*/ 1360 w 1920"/>
                  <a:gd name="T27" fmla="*/ 1480 h 1920"/>
                  <a:gd name="T28" fmla="*/ 1640 w 1920"/>
                  <a:gd name="T29" fmla="*/ 1200 h 1920"/>
                  <a:gd name="T30" fmla="*/ 1400 w 1920"/>
                  <a:gd name="T31" fmla="*/ 160 h 1920"/>
                  <a:gd name="T32" fmla="*/ 1680 w 1920"/>
                  <a:gd name="T33" fmla="*/ 440 h 1920"/>
                  <a:gd name="T34" fmla="*/ 1400 w 1920"/>
                  <a:gd name="T35" fmla="*/ 720 h 1920"/>
                  <a:gd name="T36" fmla="*/ 1120 w 1920"/>
                  <a:gd name="T37" fmla="*/ 440 h 1920"/>
                  <a:gd name="T38" fmla="*/ 1400 w 1920"/>
                  <a:gd name="T39" fmla="*/ 160 h 1920"/>
                  <a:gd name="T40" fmla="*/ 280 w 1920"/>
                  <a:gd name="T41" fmla="*/ 0 h 1920"/>
                  <a:gd name="T42" fmla="*/ 560 w 1920"/>
                  <a:gd name="T43" fmla="*/ 280 h 1920"/>
                  <a:gd name="T44" fmla="*/ 280 w 1920"/>
                  <a:gd name="T45" fmla="*/ 560 h 1920"/>
                  <a:gd name="T46" fmla="*/ 0 w 1920"/>
                  <a:gd name="T47" fmla="*/ 280 h 1920"/>
                  <a:gd name="T48" fmla="*/ 280 w 1920"/>
                  <a:gd name="T49" fmla="*/ 0 h 1920"/>
                  <a:gd name="T50" fmla="*/ 1519 w 1920"/>
                  <a:gd name="T51" fmla="*/ 780 h 1920"/>
                  <a:gd name="T52" fmla="*/ 1598 w 1920"/>
                  <a:gd name="T53" fmla="*/ 1122 h 1920"/>
                  <a:gd name="T54" fmla="*/ 1521 w 1920"/>
                  <a:gd name="T55" fmla="*/ 1140 h 1920"/>
                  <a:gd name="T56" fmla="*/ 1442 w 1920"/>
                  <a:gd name="T57" fmla="*/ 798 h 1920"/>
                  <a:gd name="T58" fmla="*/ 1519 w 1920"/>
                  <a:gd name="T59" fmla="*/ 780 h 1920"/>
                  <a:gd name="T60" fmla="*/ 1220 w 1920"/>
                  <a:gd name="T61" fmla="*/ 752 h 1920"/>
                  <a:gd name="T62" fmla="*/ 764 w 1920"/>
                  <a:gd name="T63" fmla="*/ 1375 h 1920"/>
                  <a:gd name="T64" fmla="*/ 700 w 1920"/>
                  <a:gd name="T65" fmla="*/ 1328 h 1920"/>
                  <a:gd name="T66" fmla="*/ 1156 w 1920"/>
                  <a:gd name="T67" fmla="*/ 705 h 1920"/>
                  <a:gd name="T68" fmla="*/ 1220 w 1920"/>
                  <a:gd name="T69" fmla="*/ 752 h 1920"/>
                  <a:gd name="T70" fmla="*/ 869 w 1920"/>
                  <a:gd name="T71" fmla="*/ 1550 h 1920"/>
                  <a:gd name="T72" fmla="*/ 1280 w 1920"/>
                  <a:gd name="T73" fmla="*/ 1491 h 1920"/>
                  <a:gd name="T74" fmla="*/ 1291 w 1920"/>
                  <a:gd name="T75" fmla="*/ 1570 h 1920"/>
                  <a:gd name="T76" fmla="*/ 880 w 1920"/>
                  <a:gd name="T77" fmla="*/ 1629 h 1920"/>
                  <a:gd name="T78" fmla="*/ 869 w 1920"/>
                  <a:gd name="T79" fmla="*/ 1550 h 1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920" h="1920">
                    <a:moveTo>
                      <a:pt x="640" y="291"/>
                    </a:moveTo>
                    <a:cubicBezTo>
                      <a:pt x="1051" y="350"/>
                      <a:pt x="1051" y="350"/>
                      <a:pt x="1051" y="350"/>
                    </a:cubicBezTo>
                    <a:cubicBezTo>
                      <a:pt x="1045" y="375"/>
                      <a:pt x="1041" y="402"/>
                      <a:pt x="1040" y="429"/>
                    </a:cubicBezTo>
                    <a:cubicBezTo>
                      <a:pt x="629" y="370"/>
                      <a:pt x="629" y="370"/>
                      <a:pt x="629" y="370"/>
                    </a:cubicBezTo>
                    <a:cubicBezTo>
                      <a:pt x="635" y="345"/>
                      <a:pt x="639" y="318"/>
                      <a:pt x="640" y="291"/>
                    </a:cubicBezTo>
                    <a:close/>
                    <a:moveTo>
                      <a:pt x="520" y="1360"/>
                    </a:moveTo>
                    <a:cubicBezTo>
                      <a:pt x="675" y="1360"/>
                      <a:pt x="800" y="1485"/>
                      <a:pt x="800" y="1640"/>
                    </a:cubicBezTo>
                    <a:cubicBezTo>
                      <a:pt x="800" y="1795"/>
                      <a:pt x="675" y="1920"/>
                      <a:pt x="520" y="1920"/>
                    </a:cubicBezTo>
                    <a:cubicBezTo>
                      <a:pt x="365" y="1920"/>
                      <a:pt x="240" y="1795"/>
                      <a:pt x="240" y="1640"/>
                    </a:cubicBezTo>
                    <a:cubicBezTo>
                      <a:pt x="240" y="1485"/>
                      <a:pt x="365" y="1360"/>
                      <a:pt x="520" y="1360"/>
                    </a:cubicBezTo>
                    <a:close/>
                    <a:moveTo>
                      <a:pt x="1640" y="1200"/>
                    </a:moveTo>
                    <a:cubicBezTo>
                      <a:pt x="1795" y="1200"/>
                      <a:pt x="1920" y="1325"/>
                      <a:pt x="1920" y="1480"/>
                    </a:cubicBezTo>
                    <a:cubicBezTo>
                      <a:pt x="1920" y="1635"/>
                      <a:pt x="1795" y="1760"/>
                      <a:pt x="1640" y="1760"/>
                    </a:cubicBezTo>
                    <a:cubicBezTo>
                      <a:pt x="1485" y="1760"/>
                      <a:pt x="1360" y="1635"/>
                      <a:pt x="1360" y="1480"/>
                    </a:cubicBezTo>
                    <a:cubicBezTo>
                      <a:pt x="1360" y="1325"/>
                      <a:pt x="1485" y="1200"/>
                      <a:pt x="1640" y="1200"/>
                    </a:cubicBezTo>
                    <a:close/>
                    <a:moveTo>
                      <a:pt x="1400" y="160"/>
                    </a:moveTo>
                    <a:cubicBezTo>
                      <a:pt x="1555" y="160"/>
                      <a:pt x="1680" y="285"/>
                      <a:pt x="1680" y="440"/>
                    </a:cubicBezTo>
                    <a:cubicBezTo>
                      <a:pt x="1680" y="595"/>
                      <a:pt x="1555" y="720"/>
                      <a:pt x="1400" y="720"/>
                    </a:cubicBezTo>
                    <a:cubicBezTo>
                      <a:pt x="1245" y="720"/>
                      <a:pt x="1120" y="595"/>
                      <a:pt x="1120" y="440"/>
                    </a:cubicBezTo>
                    <a:cubicBezTo>
                      <a:pt x="1120" y="285"/>
                      <a:pt x="1245" y="160"/>
                      <a:pt x="1400" y="160"/>
                    </a:cubicBezTo>
                    <a:close/>
                    <a:moveTo>
                      <a:pt x="280" y="0"/>
                    </a:moveTo>
                    <a:cubicBezTo>
                      <a:pt x="435" y="0"/>
                      <a:pt x="560" y="125"/>
                      <a:pt x="560" y="280"/>
                    </a:cubicBezTo>
                    <a:cubicBezTo>
                      <a:pt x="560" y="435"/>
                      <a:pt x="435" y="560"/>
                      <a:pt x="280" y="560"/>
                    </a:cubicBezTo>
                    <a:cubicBezTo>
                      <a:pt x="125" y="560"/>
                      <a:pt x="0" y="435"/>
                      <a:pt x="0" y="280"/>
                    </a:cubicBezTo>
                    <a:cubicBezTo>
                      <a:pt x="0" y="125"/>
                      <a:pt x="125" y="0"/>
                      <a:pt x="280" y="0"/>
                    </a:cubicBezTo>
                    <a:close/>
                    <a:moveTo>
                      <a:pt x="1519" y="780"/>
                    </a:moveTo>
                    <a:cubicBezTo>
                      <a:pt x="1598" y="1122"/>
                      <a:pt x="1598" y="1122"/>
                      <a:pt x="1598" y="1122"/>
                    </a:cubicBezTo>
                    <a:cubicBezTo>
                      <a:pt x="1572" y="1126"/>
                      <a:pt x="1546" y="1132"/>
                      <a:pt x="1521" y="1140"/>
                    </a:cubicBezTo>
                    <a:cubicBezTo>
                      <a:pt x="1442" y="798"/>
                      <a:pt x="1442" y="798"/>
                      <a:pt x="1442" y="798"/>
                    </a:cubicBezTo>
                    <a:cubicBezTo>
                      <a:pt x="1468" y="794"/>
                      <a:pt x="1494" y="788"/>
                      <a:pt x="1519" y="780"/>
                    </a:cubicBezTo>
                    <a:close/>
                    <a:moveTo>
                      <a:pt x="1220" y="752"/>
                    </a:moveTo>
                    <a:cubicBezTo>
                      <a:pt x="764" y="1375"/>
                      <a:pt x="764" y="1375"/>
                      <a:pt x="764" y="1375"/>
                    </a:cubicBezTo>
                    <a:cubicBezTo>
                      <a:pt x="744" y="1357"/>
                      <a:pt x="723" y="1341"/>
                      <a:pt x="700" y="1328"/>
                    </a:cubicBezTo>
                    <a:cubicBezTo>
                      <a:pt x="1156" y="705"/>
                      <a:pt x="1156" y="705"/>
                      <a:pt x="1156" y="705"/>
                    </a:cubicBezTo>
                    <a:cubicBezTo>
                      <a:pt x="1176" y="723"/>
                      <a:pt x="1197" y="739"/>
                      <a:pt x="1220" y="752"/>
                    </a:cubicBezTo>
                    <a:close/>
                    <a:moveTo>
                      <a:pt x="869" y="1550"/>
                    </a:moveTo>
                    <a:cubicBezTo>
                      <a:pt x="1280" y="1491"/>
                      <a:pt x="1280" y="1491"/>
                      <a:pt x="1280" y="1491"/>
                    </a:cubicBezTo>
                    <a:cubicBezTo>
                      <a:pt x="1281" y="1518"/>
                      <a:pt x="1285" y="1545"/>
                      <a:pt x="1291" y="1570"/>
                    </a:cubicBezTo>
                    <a:cubicBezTo>
                      <a:pt x="880" y="1629"/>
                      <a:pt x="880" y="1629"/>
                      <a:pt x="880" y="1629"/>
                    </a:cubicBezTo>
                    <a:cubicBezTo>
                      <a:pt x="879" y="1602"/>
                      <a:pt x="875" y="1575"/>
                      <a:pt x="869" y="155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33" dirty="0">
                  <a:latin typeface="+mn-lt"/>
                  <a:sym typeface="+mn-lt"/>
                </a:endParaRPr>
              </a:p>
            </p:txBody>
          </p:sp>
        </p:grpSp>
      </p:grpSp>
      <p:sp>
        <p:nvSpPr>
          <p:cNvPr id="34" name="Subtitle">
            <a:extLst>
              <a:ext uri="{FF2B5EF4-FFF2-40B4-BE49-F238E27FC236}">
                <a16:creationId xmlns:a16="http://schemas.microsoft.com/office/drawing/2014/main" xmlns="" id="{C05DE07C-A8DE-4F45-BF18-2918DD4781A1}"/>
              </a:ext>
            </a:extLst>
          </p:cNvPr>
          <p:cNvSpPr txBox="1">
            <a:spLocks/>
          </p:cNvSpPr>
          <p:nvPr/>
        </p:nvSpPr>
        <p:spPr>
          <a:xfrm>
            <a:off x="2820927" y="510364"/>
            <a:ext cx="9009929" cy="5262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os seminarios </a:t>
            </a:r>
            <a:r>
              <a:rPr lang="es-ES" sz="1900" b="0" dirty="0" smtClean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tendrán </a:t>
            </a:r>
            <a:r>
              <a:rPr lang="es-ES" sz="1900" b="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lugar al principio y al final de cada fase del itinerario, y facilitarán el aprendizaje mutuo entre las ciudades. </a:t>
            </a:r>
            <a:endParaRPr lang="en-US" sz="1900" b="0" dirty="0">
              <a:solidFill>
                <a:schemeClr val="accent2"/>
              </a:solidFill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5774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68183C1-0F03-4E16-B466-4AC392AAD9A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509588"/>
            <a:ext cx="2303463" cy="749300"/>
          </a:xfrm>
        </p:spPr>
        <p:txBody>
          <a:bodyPr/>
          <a:lstStyle/>
          <a:p>
            <a:r>
              <a:rPr lang="fr-BE" b="1" dirty="0">
                <a:latin typeface="Helvetica" panose="020B0604020202020204" pitchFamily="34" charset="0"/>
                <a:cs typeface="Helvetica" panose="020B0604020202020204" pitchFamily="34" charset="0"/>
              </a:rPr>
              <a:t>Session 5: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xmlns="" id="{EB2886F9-DD5D-4539-A3DF-196A61CF7B2A}"/>
              </a:ext>
            </a:extLst>
          </p:cNvPr>
          <p:cNvSpPr txBox="1">
            <a:spLocks/>
          </p:cNvSpPr>
          <p:nvPr/>
        </p:nvSpPr>
        <p:spPr>
          <a:xfrm>
            <a:off x="217427" y="660768"/>
            <a:ext cx="9009929" cy="26802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900" b="0" dirty="0" err="1" smtClean="0">
                <a:latin typeface="+mn-lt"/>
                <a:sym typeface="+mn-lt"/>
              </a:rPr>
              <a:t>Calendario</a:t>
            </a:r>
            <a:r>
              <a:rPr lang="en-US" sz="1900" b="0" dirty="0" smtClean="0">
                <a:latin typeface="+mn-lt"/>
                <a:sym typeface="+mn-lt"/>
              </a:rPr>
              <a:t> en 2 </a:t>
            </a:r>
            <a:r>
              <a:rPr lang="en-US" sz="1900" b="0" dirty="0" err="1" smtClean="0">
                <a:latin typeface="+mn-lt"/>
                <a:sym typeface="+mn-lt"/>
              </a:rPr>
              <a:t>fases</a:t>
            </a:r>
            <a:endParaRPr lang="en-US" sz="1900" b="0" dirty="0">
              <a:latin typeface="+mn-lt"/>
              <a:sym typeface="+mn-lt"/>
            </a:endParaRPr>
          </a:p>
        </p:txBody>
      </p:sp>
      <p:pic>
        <p:nvPicPr>
          <p:cNvPr id="10" name="Image 5">
            <a:extLst>
              <a:ext uri="{FF2B5EF4-FFF2-40B4-BE49-F238E27FC236}">
                <a16:creationId xmlns:a16="http://schemas.microsoft.com/office/drawing/2014/main" xmlns="" id="{76B5D94F-6E8E-4219-AAAA-2418299C7229}"/>
              </a:ext>
            </a:extLst>
          </p:cNvPr>
          <p:cNvPicPr>
            <a:picLocks noChangeAspect="1"/>
          </p:cNvPicPr>
          <p:nvPr/>
        </p:nvPicPr>
        <p:blipFill>
          <a:blip r:embed="rId2">
            <a:grayscl/>
          </a:blip>
          <a:stretch>
            <a:fillRect/>
          </a:stretch>
        </p:blipFill>
        <p:spPr>
          <a:xfrm>
            <a:off x="3099876" y="6279477"/>
            <a:ext cx="313398" cy="260747"/>
          </a:xfrm>
          <a:prstGeom prst="rect">
            <a:avLst/>
          </a:prstGeom>
        </p:spPr>
      </p:pic>
      <p:pic>
        <p:nvPicPr>
          <p:cNvPr id="11" name="Image 7">
            <a:extLst>
              <a:ext uri="{FF2B5EF4-FFF2-40B4-BE49-F238E27FC236}">
                <a16:creationId xmlns:a16="http://schemas.microsoft.com/office/drawing/2014/main" xmlns="" id="{E1A935B8-1EC7-4B37-BF13-BFBCDC219806}"/>
              </a:ext>
            </a:extLst>
          </p:cNvPr>
          <p:cNvPicPr>
            <a:picLocks noChangeAspect="1"/>
          </p:cNvPicPr>
          <p:nvPr/>
        </p:nvPicPr>
        <p:blipFill>
          <a:blip r:embed="rId2">
            <a:grayscl/>
          </a:blip>
          <a:stretch>
            <a:fillRect/>
          </a:stretch>
        </p:blipFill>
        <p:spPr>
          <a:xfrm>
            <a:off x="3099876" y="5786110"/>
            <a:ext cx="313398" cy="260747"/>
          </a:xfrm>
          <a:prstGeom prst="rect">
            <a:avLst/>
          </a:prstGeom>
        </p:spPr>
      </p:pic>
      <p:sp>
        <p:nvSpPr>
          <p:cNvPr id="12" name="Titre 2">
            <a:extLst>
              <a:ext uri="{FF2B5EF4-FFF2-40B4-BE49-F238E27FC236}">
                <a16:creationId xmlns:a16="http://schemas.microsoft.com/office/drawing/2014/main" xmlns="" id="{C864F513-0C18-456F-B4DE-45DC54DF9208}"/>
              </a:ext>
            </a:extLst>
          </p:cNvPr>
          <p:cNvSpPr txBox="1">
            <a:spLocks/>
          </p:cNvSpPr>
          <p:nvPr/>
        </p:nvSpPr>
        <p:spPr>
          <a:xfrm>
            <a:off x="3612088" y="6322132"/>
            <a:ext cx="445684" cy="21809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7764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00" b="1" i="0" u="none" strike="noStrike" kern="1200" cap="none" baseline="0" noProof="0" dirty="0">
                <a:solidFill>
                  <a:srgbClr val="000000"/>
                </a:solidFill>
                <a:latin typeface="Helvetica" charset="0"/>
                <a:ea typeface="+mj-ea"/>
                <a:cs typeface="Helvetica" charset="0"/>
                <a:sym typeface="Arial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1000" b="0" dirty="0" err="1"/>
              <a:t>Wave</a:t>
            </a:r>
            <a:r>
              <a:rPr lang="fr-FR" sz="1000" b="0" dirty="0"/>
              <a:t> 2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5CD0DDA7-BE1E-4827-BFCD-88270902B6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6072" y="6266040"/>
            <a:ext cx="695612" cy="432637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xmlns="" id="{641FF635-9B69-471A-B0A1-B4FA105244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6072" y="5639112"/>
            <a:ext cx="695612" cy="506803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6B9839B1-BE0B-A648-9864-9860F14413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287562"/>
            <a:ext cx="12192000" cy="3887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0419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melsgBUePgy_NUQgn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COLOR" val="6"/>
  <p:tag name="FONTCOLORRGB" val="0"/>
  <p:tag name="FONTCOLOROBJECTTHEMECOLOR" val="13"/>
  <p:tag name="FONTCOLORTINTSHADE" val="0"/>
  <p:tag name="FONTCOLORTYPE" val="2"/>
  <p:tag name="LINECOLOR" val="6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4_RB_PPT">
  <a:themeElements>
    <a:clrScheme name="Custom 5">
      <a:dk1>
        <a:srgbClr val="000000"/>
      </a:dk1>
      <a:lt1>
        <a:srgbClr val="FFFFFF"/>
      </a:lt1>
      <a:dk2>
        <a:srgbClr val="535353"/>
      </a:dk2>
      <a:lt2>
        <a:srgbClr val="46B48E"/>
      </a:lt2>
      <a:accent1>
        <a:srgbClr val="FFFFFF"/>
      </a:accent1>
      <a:accent2>
        <a:srgbClr val="A7A7A7"/>
      </a:accent2>
      <a:accent3>
        <a:srgbClr val="535353"/>
      </a:accent3>
      <a:accent4>
        <a:srgbClr val="8F6024"/>
      </a:accent4>
      <a:accent5>
        <a:srgbClr val="78909C"/>
      </a:accent5>
      <a:accent6>
        <a:srgbClr val="0097A7"/>
      </a:accent6>
      <a:hlink>
        <a:srgbClr val="EEFF41"/>
      </a:hlink>
      <a:folHlink>
        <a:srgbClr val="FFAB40"/>
      </a:folHlink>
    </a:clrScheme>
    <a:fontScheme name="RBfont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3"/>
          </a:solidFill>
        </a:ln>
        <a:effectLst/>
      </a:spPr>
      <a:bodyPr lIns="72000" tIns="72000" rIns="72000" bIns="72000" rtlCol="0" anchor="t" anchorCtr="0">
        <a:noAutofit/>
      </a:bodyPr>
      <a:lstStyle>
        <a:defPPr algn="l">
          <a:lnSpc>
            <a:spcPct val="90000"/>
          </a:lnSpc>
          <a:spcBef>
            <a:spcPts val="400"/>
          </a:spcBef>
          <a:defRPr sz="1500" b="0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vert="horz" wrap="square" lIns="0" tIns="0" rIns="0" bIns="0" rtlCol="0">
        <a:spAutoFit/>
      </a:bodyPr>
      <a:lstStyle>
        <a:defPPr>
          <a:lnSpc>
            <a:spcPct val="90000"/>
          </a:lnSpc>
          <a:buClr>
            <a:schemeClr val="tx1"/>
          </a:buClr>
          <a:buSzPct val="100000"/>
          <a:defRPr sz="1300" b="1" dirty="0" smtClean="0">
            <a:latin typeface="+mn-lt"/>
            <a:cs typeface="+mn-cs"/>
            <a:sym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EASME.potx" id="{D309FD70-F9BF-4653-BF13-93C1022AA744}" vid="{08AA732D-915D-4900-8363-E7E05A6C5F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ASME</Template>
  <TotalTime>5411</TotalTime>
  <Words>2548</Words>
  <Application>Microsoft Macintosh PowerPoint</Application>
  <PresentationFormat>Custom</PresentationFormat>
  <Paragraphs>315</Paragraphs>
  <Slides>1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A4_RB_PPT</vt:lpstr>
      <vt:lpstr>think-cell Slide</vt:lpstr>
      <vt:lpstr>The European Commission's Digital Cities Challenge</vt:lpstr>
      <vt:lpstr> </vt:lpstr>
      <vt:lpstr>PowerPoint Presentation</vt:lpstr>
      <vt:lpstr>PowerPoint Presentation</vt:lpstr>
      <vt:lpstr>PowerPoint Presentation</vt:lpstr>
      <vt:lpstr>PowerPoint Presentation</vt:lpstr>
      <vt:lpstr>Sesión 5:</vt:lpstr>
      <vt:lpstr>Sesión 5:</vt:lpstr>
      <vt:lpstr>Session 5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Roland Berger Strategy Consultant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uropean Commission's Digital Cities Challenge</dc:title>
  <dc:creator>Risopoulos, Paul</dc:creator>
  <cp:lastModifiedBy>Josefina Lopez</cp:lastModifiedBy>
  <cp:revision>690</cp:revision>
  <cp:lastPrinted>2018-02-14T15:39:44Z</cp:lastPrinted>
  <dcterms:created xsi:type="dcterms:W3CDTF">2018-02-13T15:45:20Z</dcterms:created>
  <dcterms:modified xsi:type="dcterms:W3CDTF">2018-03-23T08:41:39Z</dcterms:modified>
</cp:coreProperties>
</file>